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6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7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8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9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0.xml" ContentType="application/vnd.openxmlformats-officedocument.theme+xml"/>
  <Override PartName="/ppt/slideLayouts/slideLayout172.xml" ContentType="application/vnd.openxmlformats-officedocument.presentationml.slideLayout+xml"/>
  <Override PartName="/ppt/theme/theme11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12.xml" ContentType="application/vnd.openxmlformats-officedocument.them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3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4" r:id="rId4"/>
    <p:sldMasterId id="2147484013" r:id="rId5"/>
    <p:sldMasterId id="2147483766" r:id="rId6"/>
    <p:sldMasterId id="2147483772" r:id="rId7"/>
    <p:sldMasterId id="2147483775" r:id="rId8"/>
    <p:sldMasterId id="2147483782" r:id="rId9"/>
    <p:sldMasterId id="2147483790" r:id="rId10"/>
    <p:sldMasterId id="2147483789" r:id="rId11"/>
    <p:sldMasterId id="2147483798" r:id="rId12"/>
    <p:sldMasterId id="2147483795" r:id="rId13"/>
    <p:sldMasterId id="2147484015" r:id="rId14"/>
    <p:sldMasterId id="2147483797" r:id="rId15"/>
    <p:sldMasterId id="2147483765" r:id="rId16"/>
    <p:sldMasterId id="2147483777" r:id="rId17"/>
  </p:sldMasterIdLst>
  <p:notesMasterIdLst>
    <p:notesMasterId r:id="rId85"/>
  </p:notesMasterIdLst>
  <p:sldIdLst>
    <p:sldId id="258" r:id="rId18"/>
    <p:sldId id="284" r:id="rId19"/>
    <p:sldId id="297" r:id="rId20"/>
    <p:sldId id="288" r:id="rId21"/>
    <p:sldId id="292" r:id="rId22"/>
    <p:sldId id="351" r:id="rId23"/>
    <p:sldId id="332" r:id="rId24"/>
    <p:sldId id="356" r:id="rId25"/>
    <p:sldId id="393" r:id="rId26"/>
    <p:sldId id="445" r:id="rId27"/>
    <p:sldId id="395" r:id="rId28"/>
    <p:sldId id="396" r:id="rId29"/>
    <p:sldId id="359" r:id="rId30"/>
    <p:sldId id="394" r:id="rId31"/>
    <p:sldId id="404" r:id="rId32"/>
    <p:sldId id="398" r:id="rId33"/>
    <p:sldId id="399" r:id="rId34"/>
    <p:sldId id="402" r:id="rId35"/>
    <p:sldId id="403" r:id="rId36"/>
    <p:sldId id="400" r:id="rId37"/>
    <p:sldId id="401" r:id="rId38"/>
    <p:sldId id="406" r:id="rId39"/>
    <p:sldId id="407" r:id="rId40"/>
    <p:sldId id="408" r:id="rId41"/>
    <p:sldId id="409" r:id="rId42"/>
    <p:sldId id="410" r:id="rId43"/>
    <p:sldId id="415" r:id="rId44"/>
    <p:sldId id="385" r:id="rId45"/>
    <p:sldId id="411" r:id="rId46"/>
    <p:sldId id="412" r:id="rId47"/>
    <p:sldId id="416" r:id="rId48"/>
    <p:sldId id="417" r:id="rId49"/>
    <p:sldId id="418" r:id="rId50"/>
    <p:sldId id="390" r:id="rId51"/>
    <p:sldId id="369" r:id="rId52"/>
    <p:sldId id="419" r:id="rId53"/>
    <p:sldId id="420" r:id="rId54"/>
    <p:sldId id="421" r:id="rId55"/>
    <p:sldId id="422" r:id="rId56"/>
    <p:sldId id="423" r:id="rId57"/>
    <p:sldId id="426" r:id="rId58"/>
    <p:sldId id="424" r:id="rId59"/>
    <p:sldId id="373" r:id="rId60"/>
    <p:sldId id="427" r:id="rId61"/>
    <p:sldId id="428" r:id="rId62"/>
    <p:sldId id="429" r:id="rId63"/>
    <p:sldId id="430" r:id="rId64"/>
    <p:sldId id="431" r:id="rId65"/>
    <p:sldId id="446" r:id="rId66"/>
    <p:sldId id="316" r:id="rId67"/>
    <p:sldId id="434" r:id="rId68"/>
    <p:sldId id="435" r:id="rId69"/>
    <p:sldId id="436" r:id="rId70"/>
    <p:sldId id="439" r:id="rId71"/>
    <p:sldId id="440" r:id="rId72"/>
    <p:sldId id="325" r:id="rId73"/>
    <p:sldId id="433" r:id="rId74"/>
    <p:sldId id="441" r:id="rId75"/>
    <p:sldId id="442" r:id="rId76"/>
    <p:sldId id="443" r:id="rId77"/>
    <p:sldId id="444" r:id="rId78"/>
    <p:sldId id="319" r:id="rId79"/>
    <p:sldId id="397" r:id="rId80"/>
    <p:sldId id="383" r:id="rId81"/>
    <p:sldId id="384" r:id="rId82"/>
    <p:sldId id="320" r:id="rId83"/>
    <p:sldId id="321" r:id="rId84"/>
  </p:sldIdLst>
  <p:sldSz cx="12192000" cy="6858000"/>
  <p:notesSz cx="6858000" cy="9144000"/>
  <p:custDataLst>
    <p:tags r:id="rId86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06FF744-F591-FD0D-7854-3F4FDB8467AF}" name="Hans Gelissen (DHL SSC Maastricht)" initials="HG(SM" userId="S::hans.gelissen@dhl.com::1afa8510-4eed-4b73-a29e-678838cd8acd" providerId="AD"/>
  <p188:author id="{3DD3669C-276A-9A36-BA63-9779AC117A24}" name="Bente De Rijke (DHL SSC Maastricht)" initials="BDR(SM" userId="S::bente.derijke@dhl.com::475646eb-b23c-43c0-b2ae-71e1fde9b74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EEF"/>
    <a:srgbClr val="D2EEFC"/>
    <a:srgbClr val="FFFFFF"/>
    <a:srgbClr val="FFFDF3"/>
    <a:srgbClr val="FFFFCC"/>
    <a:srgbClr val="FFF7E1"/>
    <a:srgbClr val="FFC000"/>
    <a:srgbClr val="BF3B4B"/>
    <a:srgbClr val="DB8993"/>
    <a:srgbClr val="7395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F085A3-388B-AD8F-210B-F966C6D0FA71}" v="1" dt="2023-08-30T11:56:25.489"/>
    <p1510:client id="{FFE3EA4A-5751-4756-84D3-D420262602A2}" v="32" dt="2023-06-27T09:41:56.105"/>
  </p1510:revLst>
</p1510:revInfo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145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402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9.xml"/><Relationship Id="rId21" Type="http://schemas.openxmlformats.org/officeDocument/2006/relationships/slide" Target="slides/slide4.xml"/><Relationship Id="rId42" Type="http://schemas.openxmlformats.org/officeDocument/2006/relationships/slide" Target="slides/slide25.xml"/><Relationship Id="rId47" Type="http://schemas.openxmlformats.org/officeDocument/2006/relationships/slide" Target="slides/slide30.xml"/><Relationship Id="rId63" Type="http://schemas.openxmlformats.org/officeDocument/2006/relationships/slide" Target="slides/slide46.xml"/><Relationship Id="rId68" Type="http://schemas.openxmlformats.org/officeDocument/2006/relationships/slide" Target="slides/slide51.xml"/><Relationship Id="rId84" Type="http://schemas.openxmlformats.org/officeDocument/2006/relationships/slide" Target="slides/slide67.xml"/><Relationship Id="rId89" Type="http://schemas.openxmlformats.org/officeDocument/2006/relationships/theme" Target="theme/theme1.xml"/><Relationship Id="rId16" Type="http://schemas.openxmlformats.org/officeDocument/2006/relationships/slideMaster" Target="slideMasters/slideMaster13.xml"/><Relationship Id="rId11" Type="http://schemas.openxmlformats.org/officeDocument/2006/relationships/slideMaster" Target="slideMasters/slideMaster8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53" Type="http://schemas.openxmlformats.org/officeDocument/2006/relationships/slide" Target="slides/slide36.xml"/><Relationship Id="rId58" Type="http://schemas.openxmlformats.org/officeDocument/2006/relationships/slide" Target="slides/slide41.xml"/><Relationship Id="rId74" Type="http://schemas.openxmlformats.org/officeDocument/2006/relationships/slide" Target="slides/slide57.xml"/><Relationship Id="rId79" Type="http://schemas.openxmlformats.org/officeDocument/2006/relationships/slide" Target="slides/slide62.xml"/><Relationship Id="rId5" Type="http://schemas.openxmlformats.org/officeDocument/2006/relationships/slideMaster" Target="slideMasters/slideMaster2.xml"/><Relationship Id="rId90" Type="http://schemas.openxmlformats.org/officeDocument/2006/relationships/tableStyles" Target="tableStyles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43" Type="http://schemas.openxmlformats.org/officeDocument/2006/relationships/slide" Target="slides/slide26.xml"/><Relationship Id="rId48" Type="http://schemas.openxmlformats.org/officeDocument/2006/relationships/slide" Target="slides/slide31.xml"/><Relationship Id="rId64" Type="http://schemas.openxmlformats.org/officeDocument/2006/relationships/slide" Target="slides/slide47.xml"/><Relationship Id="rId69" Type="http://schemas.openxmlformats.org/officeDocument/2006/relationships/slide" Target="slides/slide52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4.xml"/><Relationship Id="rId72" Type="http://schemas.openxmlformats.org/officeDocument/2006/relationships/slide" Target="slides/slide55.xml"/><Relationship Id="rId80" Type="http://schemas.openxmlformats.org/officeDocument/2006/relationships/slide" Target="slides/slide63.xml"/><Relationship Id="rId85" Type="http://schemas.openxmlformats.org/officeDocument/2006/relationships/notesMaster" Target="notesMasters/notesMaster1.xml"/><Relationship Id="rId93" Type="http://schemas.microsoft.com/office/2018/10/relationships/authors" Target="author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slide" Target="slides/slide29.xml"/><Relationship Id="rId59" Type="http://schemas.openxmlformats.org/officeDocument/2006/relationships/slide" Target="slides/slide42.xml"/><Relationship Id="rId67" Type="http://schemas.openxmlformats.org/officeDocument/2006/relationships/slide" Target="slides/slide50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54" Type="http://schemas.openxmlformats.org/officeDocument/2006/relationships/slide" Target="slides/slide37.xml"/><Relationship Id="rId62" Type="http://schemas.openxmlformats.org/officeDocument/2006/relationships/slide" Target="slides/slide45.xml"/><Relationship Id="rId70" Type="http://schemas.openxmlformats.org/officeDocument/2006/relationships/slide" Target="slides/slide53.xml"/><Relationship Id="rId75" Type="http://schemas.openxmlformats.org/officeDocument/2006/relationships/slide" Target="slides/slide58.xml"/><Relationship Id="rId83" Type="http://schemas.openxmlformats.org/officeDocument/2006/relationships/slide" Target="slides/slide66.xml"/><Relationship Id="rId88" Type="http://schemas.openxmlformats.org/officeDocument/2006/relationships/viewProps" Target="viewProps.xml"/><Relationship Id="rId9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slide" Target="slides/slide32.xml"/><Relationship Id="rId57" Type="http://schemas.openxmlformats.org/officeDocument/2006/relationships/slide" Target="slides/slide40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slide" Target="slides/slide35.xml"/><Relationship Id="rId60" Type="http://schemas.openxmlformats.org/officeDocument/2006/relationships/slide" Target="slides/slide43.xml"/><Relationship Id="rId65" Type="http://schemas.openxmlformats.org/officeDocument/2006/relationships/slide" Target="slides/slide48.xml"/><Relationship Id="rId73" Type="http://schemas.openxmlformats.org/officeDocument/2006/relationships/slide" Target="slides/slide56.xml"/><Relationship Id="rId78" Type="http://schemas.openxmlformats.org/officeDocument/2006/relationships/slide" Target="slides/slide61.xml"/><Relationship Id="rId81" Type="http://schemas.openxmlformats.org/officeDocument/2006/relationships/slide" Target="slides/slide64.xml"/><Relationship Id="rId86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39" Type="http://schemas.openxmlformats.org/officeDocument/2006/relationships/slide" Target="slides/slide22.xml"/><Relationship Id="rId34" Type="http://schemas.openxmlformats.org/officeDocument/2006/relationships/slide" Target="slides/slide17.xml"/><Relationship Id="rId50" Type="http://schemas.openxmlformats.org/officeDocument/2006/relationships/slide" Target="slides/slide33.xml"/><Relationship Id="rId55" Type="http://schemas.openxmlformats.org/officeDocument/2006/relationships/slide" Target="slides/slide38.xml"/><Relationship Id="rId76" Type="http://schemas.openxmlformats.org/officeDocument/2006/relationships/slide" Target="slides/slide59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54.xml"/><Relationship Id="rId92" Type="http://schemas.microsoft.com/office/2015/10/relationships/revisionInfo" Target="revisionInfo.xml"/><Relationship Id="rId2" Type="http://schemas.openxmlformats.org/officeDocument/2006/relationships/customXml" Target="../customXml/item2.xml"/><Relationship Id="rId29" Type="http://schemas.openxmlformats.org/officeDocument/2006/relationships/slide" Target="slides/slide12.xml"/><Relationship Id="rId24" Type="http://schemas.openxmlformats.org/officeDocument/2006/relationships/slide" Target="slides/slide7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66" Type="http://schemas.openxmlformats.org/officeDocument/2006/relationships/slide" Target="slides/slide49.xml"/><Relationship Id="rId87" Type="http://schemas.openxmlformats.org/officeDocument/2006/relationships/presProps" Target="presProps.xml"/><Relationship Id="rId61" Type="http://schemas.openxmlformats.org/officeDocument/2006/relationships/slide" Target="slides/slide44.xml"/><Relationship Id="rId82" Type="http://schemas.openxmlformats.org/officeDocument/2006/relationships/slide" Target="slides/slide65.xml"/><Relationship Id="rId19" Type="http://schemas.openxmlformats.org/officeDocument/2006/relationships/slide" Target="slides/slide2.xml"/><Relationship Id="rId14" Type="http://schemas.openxmlformats.org/officeDocument/2006/relationships/slideMaster" Target="slideMasters/slideMaster11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56" Type="http://schemas.openxmlformats.org/officeDocument/2006/relationships/slide" Target="slides/slide39.xml"/><Relationship Id="rId77" Type="http://schemas.openxmlformats.org/officeDocument/2006/relationships/slide" Target="slides/slide6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s Gelissen (DHL SSC Maastricht)" userId="1afa8510-4eed-4b73-a29e-678838cd8acd" providerId="ADAL" clId="{F3A22D4D-2B68-4909-BFE7-4E46D0708FA9}"/>
    <pc:docChg chg="undo redo custSel addSld delSld modSld sldOrd modMainMaster">
      <pc:chgData name="Hans Gelissen (DHL SSC Maastricht)" userId="1afa8510-4eed-4b73-a29e-678838cd8acd" providerId="ADAL" clId="{F3A22D4D-2B68-4909-BFE7-4E46D0708FA9}" dt="2023-05-16T09:23:05.038" v="10748" actId="20577"/>
      <pc:docMkLst>
        <pc:docMk/>
      </pc:docMkLst>
      <pc:sldChg chg="addSp delSp modSp mod modClrScheme chgLayout">
        <pc:chgData name="Hans Gelissen (DHL SSC Maastricht)" userId="1afa8510-4eed-4b73-a29e-678838cd8acd" providerId="ADAL" clId="{F3A22D4D-2B68-4909-BFE7-4E46D0708FA9}" dt="2023-05-15T11:03:37.616" v="10690" actId="20577"/>
        <pc:sldMkLst>
          <pc:docMk/>
          <pc:sldMk cId="2338473233" sldId="258"/>
        </pc:sldMkLst>
        <pc:spChg chg="add del mod ord">
          <ac:chgData name="Hans Gelissen (DHL SSC Maastricht)" userId="1afa8510-4eed-4b73-a29e-678838cd8acd" providerId="ADAL" clId="{F3A22D4D-2B68-4909-BFE7-4E46D0708FA9}" dt="2023-05-10T14:26:21.700" v="10428" actId="700"/>
          <ac:spMkLst>
            <pc:docMk/>
            <pc:sldMk cId="2338473233" sldId="258"/>
            <ac:spMk id="2" creationId="{BA608ACD-6FBC-E3CE-EF27-255323A3EC07}"/>
          </ac:spMkLst>
        </pc:spChg>
        <pc:spChg chg="mod ord">
          <ac:chgData name="Hans Gelissen (DHL SSC Maastricht)" userId="1afa8510-4eed-4b73-a29e-678838cd8acd" providerId="ADAL" clId="{F3A22D4D-2B68-4909-BFE7-4E46D0708FA9}" dt="2023-05-15T11:03:37.616" v="10690" actId="20577"/>
          <ac:spMkLst>
            <pc:docMk/>
            <pc:sldMk cId="2338473233" sldId="258"/>
            <ac:spMk id="3" creationId="{6D6E7CE4-2A7C-47FD-AE9E-86763B9D3163}"/>
          </ac:spMkLst>
        </pc:spChg>
        <pc:spChg chg="mod ord">
          <ac:chgData name="Hans Gelissen (DHL SSC Maastricht)" userId="1afa8510-4eed-4b73-a29e-678838cd8acd" providerId="ADAL" clId="{F3A22D4D-2B68-4909-BFE7-4E46D0708FA9}" dt="2023-05-10T14:26:21.700" v="10428" actId="700"/>
          <ac:spMkLst>
            <pc:docMk/>
            <pc:sldMk cId="2338473233" sldId="258"/>
            <ac:spMk id="13" creationId="{08A47195-4824-4907-8AE9-D7AD4BE08E28}"/>
          </ac:spMkLst>
        </pc:spChg>
      </pc:sldChg>
      <pc:sldChg chg="addSp delSp modSp mod modClrScheme chgLayout">
        <pc:chgData name="Hans Gelissen (DHL SSC Maastricht)" userId="1afa8510-4eed-4b73-a29e-678838cd8acd" providerId="ADAL" clId="{F3A22D4D-2B68-4909-BFE7-4E46D0708FA9}" dt="2023-05-10T08:31:51.170" v="10257" actId="20577"/>
        <pc:sldMkLst>
          <pc:docMk/>
          <pc:sldMk cId="2219543139" sldId="284"/>
        </pc:sldMkLst>
        <pc:spChg chg="add mod ord">
          <ac:chgData name="Hans Gelissen (DHL SSC Maastricht)" userId="1afa8510-4eed-4b73-a29e-678838cd8acd" providerId="ADAL" clId="{F3A22D4D-2B68-4909-BFE7-4E46D0708FA9}" dt="2023-05-03T09:58:38.003" v="896" actId="700"/>
          <ac:spMkLst>
            <pc:docMk/>
            <pc:sldMk cId="2219543139" sldId="284"/>
            <ac:spMk id="2" creationId="{1B340C43-F6E6-7669-B73F-C779004236A9}"/>
          </ac:spMkLst>
        </pc:spChg>
        <pc:spChg chg="mod ord">
          <ac:chgData name="Hans Gelissen (DHL SSC Maastricht)" userId="1afa8510-4eed-4b73-a29e-678838cd8acd" providerId="ADAL" clId="{F3A22D4D-2B68-4909-BFE7-4E46D0708FA9}" dt="2023-05-03T09:58:38.003" v="896" actId="700"/>
          <ac:spMkLst>
            <pc:docMk/>
            <pc:sldMk cId="2219543139" sldId="284"/>
            <ac:spMk id="3" creationId="{E9505191-D401-4B1F-A0FD-9DA8DF3EA35C}"/>
          </ac:spMkLst>
        </pc:spChg>
        <pc:spChg chg="mod ord">
          <ac:chgData name="Hans Gelissen (DHL SSC Maastricht)" userId="1afa8510-4eed-4b73-a29e-678838cd8acd" providerId="ADAL" clId="{F3A22D4D-2B68-4909-BFE7-4E46D0708FA9}" dt="2023-05-10T08:31:51.170" v="10257" actId="20577"/>
          <ac:spMkLst>
            <pc:docMk/>
            <pc:sldMk cId="2219543139" sldId="284"/>
            <ac:spMk id="4" creationId="{CF6CC01A-D8F6-4AE1-A79C-B9423066DA29}"/>
          </ac:spMkLst>
        </pc:spChg>
        <pc:spChg chg="mod ord">
          <ac:chgData name="Hans Gelissen (DHL SSC Maastricht)" userId="1afa8510-4eed-4b73-a29e-678838cd8acd" providerId="ADAL" clId="{F3A22D4D-2B68-4909-BFE7-4E46D0708FA9}" dt="2023-05-08T11:13:42.365" v="9880" actId="6549"/>
          <ac:spMkLst>
            <pc:docMk/>
            <pc:sldMk cId="2219543139" sldId="284"/>
            <ac:spMk id="5" creationId="{530A048D-D80F-4F76-9FB5-FE1C09E5CE0D}"/>
          </ac:spMkLst>
        </pc:spChg>
        <pc:spChg chg="del mod ord">
          <ac:chgData name="Hans Gelissen (DHL SSC Maastricht)" userId="1afa8510-4eed-4b73-a29e-678838cd8acd" providerId="ADAL" clId="{F3A22D4D-2B68-4909-BFE7-4E46D0708FA9}" dt="2023-05-03T09:58:38.003" v="896" actId="700"/>
          <ac:spMkLst>
            <pc:docMk/>
            <pc:sldMk cId="2219543139" sldId="284"/>
            <ac:spMk id="13" creationId="{FA76B5CC-DC49-478B-863A-771D8690CCD5}"/>
          </ac:spMkLst>
        </pc:spChg>
      </pc:sldChg>
      <pc:sldChg chg="del">
        <pc:chgData name="Hans Gelissen (DHL SSC Maastricht)" userId="1afa8510-4eed-4b73-a29e-678838cd8acd" providerId="ADAL" clId="{F3A22D4D-2B68-4909-BFE7-4E46D0708FA9}" dt="2023-05-03T10:37:33.344" v="1576" actId="47"/>
        <pc:sldMkLst>
          <pc:docMk/>
          <pc:sldMk cId="3019530908" sldId="290"/>
        </pc:sldMkLst>
      </pc:sldChg>
      <pc:sldChg chg="modSp mod modClrScheme chgLayout">
        <pc:chgData name="Hans Gelissen (DHL SSC Maastricht)" userId="1afa8510-4eed-4b73-a29e-678838cd8acd" providerId="ADAL" clId="{F3A22D4D-2B68-4909-BFE7-4E46D0708FA9}" dt="2023-05-03T10:34:29.395" v="1573" actId="700"/>
        <pc:sldMkLst>
          <pc:docMk/>
          <pc:sldMk cId="1798378602" sldId="291"/>
        </pc:sldMkLst>
        <pc:spChg chg="mod ord">
          <ac:chgData name="Hans Gelissen (DHL SSC Maastricht)" userId="1afa8510-4eed-4b73-a29e-678838cd8acd" providerId="ADAL" clId="{F3A22D4D-2B68-4909-BFE7-4E46D0708FA9}" dt="2023-05-03T10:34:29.395" v="1573" actId="700"/>
          <ac:spMkLst>
            <pc:docMk/>
            <pc:sldMk cId="1798378602" sldId="291"/>
            <ac:spMk id="3" creationId="{3518157F-A8E5-40FC-96B5-FA6D44674F7E}"/>
          </ac:spMkLst>
        </pc:spChg>
      </pc:sldChg>
      <pc:sldChg chg="del">
        <pc:chgData name="Hans Gelissen (DHL SSC Maastricht)" userId="1afa8510-4eed-4b73-a29e-678838cd8acd" providerId="ADAL" clId="{F3A22D4D-2B68-4909-BFE7-4E46D0708FA9}" dt="2023-05-03T10:37:32.293" v="1575" actId="47"/>
        <pc:sldMkLst>
          <pc:docMk/>
          <pc:sldMk cId="2805156081" sldId="293"/>
        </pc:sldMkLst>
      </pc:sldChg>
      <pc:sldChg chg="addSp delSp modSp mod modClrScheme chgLayout">
        <pc:chgData name="Hans Gelissen (DHL SSC Maastricht)" userId="1afa8510-4eed-4b73-a29e-678838cd8acd" providerId="ADAL" clId="{F3A22D4D-2B68-4909-BFE7-4E46D0708FA9}" dt="2023-05-03T10:41:42.952" v="1613"/>
        <pc:sldMkLst>
          <pc:docMk/>
          <pc:sldMk cId="1072775512" sldId="294"/>
        </pc:sldMkLst>
        <pc:spChg chg="add del mod ord">
          <ac:chgData name="Hans Gelissen (DHL SSC Maastricht)" userId="1afa8510-4eed-4b73-a29e-678838cd8acd" providerId="ADAL" clId="{F3A22D4D-2B68-4909-BFE7-4E46D0708FA9}" dt="2023-05-03T10:40:44.203" v="1612" actId="478"/>
          <ac:spMkLst>
            <pc:docMk/>
            <pc:sldMk cId="1072775512" sldId="294"/>
            <ac:spMk id="2" creationId="{4FE14A5C-1D95-8ACC-AD9E-09167D155793}"/>
          </ac:spMkLst>
        </pc:spChg>
        <pc:spChg chg="mod ord">
          <ac:chgData name="Hans Gelissen (DHL SSC Maastricht)" userId="1afa8510-4eed-4b73-a29e-678838cd8acd" providerId="ADAL" clId="{F3A22D4D-2B68-4909-BFE7-4E46D0708FA9}" dt="2023-05-03T10:39:42.549" v="1611" actId="700"/>
          <ac:spMkLst>
            <pc:docMk/>
            <pc:sldMk cId="1072775512" sldId="294"/>
            <ac:spMk id="3" creationId="{E194BAAD-BF3F-48A4-B3DF-AB4126E03F80}"/>
          </ac:spMkLst>
        </pc:spChg>
        <pc:picChg chg="add mod">
          <ac:chgData name="Hans Gelissen (DHL SSC Maastricht)" userId="1afa8510-4eed-4b73-a29e-678838cd8acd" providerId="ADAL" clId="{F3A22D4D-2B68-4909-BFE7-4E46D0708FA9}" dt="2023-05-03T10:41:42.952" v="1613"/>
          <ac:picMkLst>
            <pc:docMk/>
            <pc:sldMk cId="1072775512" sldId="294"/>
            <ac:picMk id="4" creationId="{40B94595-DBE1-F938-D18E-735A69F0464B}"/>
          </ac:picMkLst>
        </pc:picChg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3324986662" sldId="295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1135528617" sldId="296"/>
        </pc:sldMkLst>
      </pc:sldChg>
      <pc:sldChg chg="modSp mod chgLayout">
        <pc:chgData name="Hans Gelissen (DHL SSC Maastricht)" userId="1afa8510-4eed-4b73-a29e-678838cd8acd" providerId="ADAL" clId="{F3A22D4D-2B68-4909-BFE7-4E46D0708FA9}" dt="2023-05-08T08:44:31.581" v="7633" actId="1037"/>
        <pc:sldMkLst>
          <pc:docMk/>
          <pc:sldMk cId="881367480" sldId="297"/>
        </pc:sldMkLst>
        <pc:spChg chg="mod ord">
          <ac:chgData name="Hans Gelissen (DHL SSC Maastricht)" userId="1afa8510-4eed-4b73-a29e-678838cd8acd" providerId="ADAL" clId="{F3A22D4D-2B68-4909-BFE7-4E46D0708FA9}" dt="2023-05-04T13:37:07.474" v="3347" actId="1037"/>
          <ac:spMkLst>
            <pc:docMk/>
            <pc:sldMk cId="881367480" sldId="297"/>
            <ac:spMk id="2" creationId="{6BBA3A47-0FFF-4B6A-B7D5-2196E5E8A14A}"/>
          </ac:spMkLst>
        </pc:spChg>
        <pc:spChg chg="mod ord">
          <ac:chgData name="Hans Gelissen (DHL SSC Maastricht)" userId="1afa8510-4eed-4b73-a29e-678838cd8acd" providerId="ADAL" clId="{F3A22D4D-2B68-4909-BFE7-4E46D0708FA9}" dt="2023-05-04T13:41:06.979" v="3390" actId="1037"/>
          <ac:spMkLst>
            <pc:docMk/>
            <pc:sldMk cId="881367480" sldId="297"/>
            <ac:spMk id="3" creationId="{8623EAA7-BB14-447D-9B4F-24CD22ED19D0}"/>
          </ac:spMkLst>
        </pc:spChg>
        <pc:spChg chg="mod ord">
          <ac:chgData name="Hans Gelissen (DHL SSC Maastricht)" userId="1afa8510-4eed-4b73-a29e-678838cd8acd" providerId="ADAL" clId="{F3A22D4D-2B68-4909-BFE7-4E46D0708FA9}" dt="2023-05-04T13:38:36.440" v="3357" actId="1076"/>
          <ac:spMkLst>
            <pc:docMk/>
            <pc:sldMk cId="881367480" sldId="297"/>
            <ac:spMk id="4" creationId="{C9F250CE-3AB6-4002-A51C-C849F93A0703}"/>
          </ac:spMkLst>
        </pc:spChg>
        <pc:spChg chg="mod ord">
          <ac:chgData name="Hans Gelissen (DHL SSC Maastricht)" userId="1afa8510-4eed-4b73-a29e-678838cd8acd" providerId="ADAL" clId="{F3A22D4D-2B68-4909-BFE7-4E46D0708FA9}" dt="2023-05-04T13:38:53.404" v="3361" actId="1076"/>
          <ac:spMkLst>
            <pc:docMk/>
            <pc:sldMk cId="881367480" sldId="297"/>
            <ac:spMk id="5" creationId="{7BB3BAEA-7E2A-4CC7-BE54-E5D3CE103486}"/>
          </ac:spMkLst>
        </pc:spChg>
        <pc:spChg chg="mod ord">
          <ac:chgData name="Hans Gelissen (DHL SSC Maastricht)" userId="1afa8510-4eed-4b73-a29e-678838cd8acd" providerId="ADAL" clId="{F3A22D4D-2B68-4909-BFE7-4E46D0708FA9}" dt="2023-05-08T08:44:31.581" v="7633" actId="1037"/>
          <ac:spMkLst>
            <pc:docMk/>
            <pc:sldMk cId="881367480" sldId="297"/>
            <ac:spMk id="6" creationId="{40A0FEB2-254F-4E23-92E2-B92B7140DBBE}"/>
          </ac:spMkLst>
        </pc:spChg>
        <pc:spChg chg="mod ord">
          <ac:chgData name="Hans Gelissen (DHL SSC Maastricht)" userId="1afa8510-4eed-4b73-a29e-678838cd8acd" providerId="ADAL" clId="{F3A22D4D-2B68-4909-BFE7-4E46D0708FA9}" dt="2023-05-04T13:36:03.833" v="3325" actId="700"/>
          <ac:spMkLst>
            <pc:docMk/>
            <pc:sldMk cId="881367480" sldId="297"/>
            <ac:spMk id="7" creationId="{69C59A59-270D-40B4-B2F2-F10F577A052C}"/>
          </ac:spMkLst>
        </pc:spChg>
        <pc:spChg chg="mod ord">
          <ac:chgData name="Hans Gelissen (DHL SSC Maastricht)" userId="1afa8510-4eed-4b73-a29e-678838cd8acd" providerId="ADAL" clId="{F3A22D4D-2B68-4909-BFE7-4E46D0708FA9}" dt="2023-05-04T13:41:55.796" v="3399" actId="20577"/>
          <ac:spMkLst>
            <pc:docMk/>
            <pc:sldMk cId="881367480" sldId="297"/>
            <ac:spMk id="8" creationId="{ECEAB483-8E21-42CC-870F-BE6C52E578DB}"/>
          </ac:spMkLst>
        </pc:spChg>
        <pc:spChg chg="mod ord">
          <ac:chgData name="Hans Gelissen (DHL SSC Maastricht)" userId="1afa8510-4eed-4b73-a29e-678838cd8acd" providerId="ADAL" clId="{F3A22D4D-2B68-4909-BFE7-4E46D0708FA9}" dt="2023-05-04T13:36:03.833" v="3325" actId="700"/>
          <ac:spMkLst>
            <pc:docMk/>
            <pc:sldMk cId="881367480" sldId="297"/>
            <ac:spMk id="10" creationId="{771EC199-378B-46BD-83F4-84B74CC41D19}"/>
          </ac:spMkLst>
        </pc:spChg>
        <pc:spChg chg="mod ord">
          <ac:chgData name="Hans Gelissen (DHL SSC Maastricht)" userId="1afa8510-4eed-4b73-a29e-678838cd8acd" providerId="ADAL" clId="{F3A22D4D-2B68-4909-BFE7-4E46D0708FA9}" dt="2023-05-04T13:36:03.833" v="3325" actId="700"/>
          <ac:spMkLst>
            <pc:docMk/>
            <pc:sldMk cId="881367480" sldId="297"/>
            <ac:spMk id="12" creationId="{1CAA33BB-1BC0-435B-B1F4-9FFA9D0EC3C9}"/>
          </ac:spMkLst>
        </pc:spChg>
        <pc:spChg chg="mod ord">
          <ac:chgData name="Hans Gelissen (DHL SSC Maastricht)" userId="1afa8510-4eed-4b73-a29e-678838cd8acd" providerId="ADAL" clId="{F3A22D4D-2B68-4909-BFE7-4E46D0708FA9}" dt="2023-05-04T13:36:03.833" v="3325" actId="700"/>
          <ac:spMkLst>
            <pc:docMk/>
            <pc:sldMk cId="881367480" sldId="297"/>
            <ac:spMk id="13" creationId="{D114B0DA-52AD-4DD1-8D54-C074196BBC07}"/>
          </ac:spMkLst>
        </pc:spChg>
        <pc:spChg chg="mod ord">
          <ac:chgData name="Hans Gelissen (DHL SSC Maastricht)" userId="1afa8510-4eed-4b73-a29e-678838cd8acd" providerId="ADAL" clId="{F3A22D4D-2B68-4909-BFE7-4E46D0708FA9}" dt="2023-05-04T13:36:03.833" v="3325" actId="700"/>
          <ac:spMkLst>
            <pc:docMk/>
            <pc:sldMk cId="881367480" sldId="297"/>
            <ac:spMk id="14" creationId="{1AB4BA21-80BB-4B16-A020-7A5317519511}"/>
          </ac:spMkLst>
        </pc:spChg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1293387884" sldId="298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1438127617" sldId="299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1321327356" sldId="300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4154071419" sldId="301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2960814601" sldId="302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3822180554" sldId="303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163292529" sldId="304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2804179008" sldId="305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1990072633" sldId="306"/>
        </pc:sldMkLst>
      </pc:sldChg>
      <pc:sldChg chg="modSp add mod ord modClrScheme chgLayout">
        <pc:chgData name="Hans Gelissen (DHL SSC Maastricht)" userId="1afa8510-4eed-4b73-a29e-678838cd8acd" providerId="ADAL" clId="{F3A22D4D-2B68-4909-BFE7-4E46D0708FA9}" dt="2023-05-05T11:14:17.696" v="6430"/>
        <pc:sldMkLst>
          <pc:docMk/>
          <pc:sldMk cId="55898822" sldId="307"/>
        </pc:sldMkLst>
        <pc:spChg chg="mod ord">
          <ac:chgData name="Hans Gelissen (DHL SSC Maastricht)" userId="1afa8510-4eed-4b73-a29e-678838cd8acd" providerId="ADAL" clId="{F3A22D4D-2B68-4909-BFE7-4E46D0708FA9}" dt="2023-05-05T11:09:22.005" v="6423" actId="700"/>
          <ac:spMkLst>
            <pc:docMk/>
            <pc:sldMk cId="55898822" sldId="307"/>
            <ac:spMk id="6" creationId="{3FC184DD-7AC5-43B1-ABE3-F4252915DF23}"/>
          </ac:spMkLst>
        </pc:spChg>
      </pc:sldChg>
      <pc:sldChg chg="add del">
        <pc:chgData name="Hans Gelissen (DHL SSC Maastricht)" userId="1afa8510-4eed-4b73-a29e-678838cd8acd" providerId="ADAL" clId="{F3A22D4D-2B68-4909-BFE7-4E46D0708FA9}" dt="2023-05-03T10:47:15.448" v="1619" actId="2696"/>
        <pc:sldMkLst>
          <pc:docMk/>
          <pc:sldMk cId="1901570659" sldId="307"/>
        </pc:sldMkLst>
      </pc:sldChg>
      <pc:sldChg chg="del">
        <pc:chgData name="Hans Gelissen (DHL SSC Maastricht)" userId="1afa8510-4eed-4b73-a29e-678838cd8acd" providerId="ADAL" clId="{F3A22D4D-2B68-4909-BFE7-4E46D0708FA9}" dt="2023-05-03T10:00:23.853" v="900" actId="2696"/>
        <pc:sldMkLst>
          <pc:docMk/>
          <pc:sldMk cId="2453820598" sldId="307"/>
        </pc:sldMkLst>
      </pc:sldChg>
      <pc:sldChg chg="add del">
        <pc:chgData name="Hans Gelissen (DHL SSC Maastricht)" userId="1afa8510-4eed-4b73-a29e-678838cd8acd" providerId="ADAL" clId="{F3A22D4D-2B68-4909-BFE7-4E46D0708FA9}" dt="2023-05-03T11:03:18.080" v="1681" actId="2696"/>
        <pc:sldMkLst>
          <pc:docMk/>
          <pc:sldMk cId="3128340441" sldId="307"/>
        </pc:sldMkLst>
      </pc:sldChg>
      <pc:sldChg chg="addSp delSp modSp add del mod modClrScheme chgLayout">
        <pc:chgData name="Hans Gelissen (DHL SSC Maastricht)" userId="1afa8510-4eed-4b73-a29e-678838cd8acd" providerId="ADAL" clId="{F3A22D4D-2B68-4909-BFE7-4E46D0708FA9}" dt="2023-05-03T10:47:15.448" v="1619" actId="2696"/>
        <pc:sldMkLst>
          <pc:docMk/>
          <pc:sldMk cId="91616334" sldId="308"/>
        </pc:sldMkLst>
        <pc:spChg chg="mod ord">
          <ac:chgData name="Hans Gelissen (DHL SSC Maastricht)" userId="1afa8510-4eed-4b73-a29e-678838cd8acd" providerId="ADAL" clId="{F3A22D4D-2B68-4909-BFE7-4E46D0708FA9}" dt="2023-05-03T10:42:39.423" v="1614" actId="700"/>
          <ac:spMkLst>
            <pc:docMk/>
            <pc:sldMk cId="91616334" sldId="308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F3A22D4D-2B68-4909-BFE7-4E46D0708FA9}" dt="2023-05-03T10:43:20.855" v="1618" actId="478"/>
          <ac:spMkLst>
            <pc:docMk/>
            <pc:sldMk cId="91616334" sldId="308"/>
            <ac:spMk id="3" creationId="{1ACB2474-42C0-83A4-88CB-570A0C070BF1}"/>
          </ac:spMkLst>
        </pc:spChg>
      </pc:sldChg>
      <pc:sldChg chg="add del">
        <pc:chgData name="Hans Gelissen (DHL SSC Maastricht)" userId="1afa8510-4eed-4b73-a29e-678838cd8acd" providerId="ADAL" clId="{F3A22D4D-2B68-4909-BFE7-4E46D0708FA9}" dt="2023-05-03T11:03:18.080" v="1681" actId="2696"/>
        <pc:sldMkLst>
          <pc:docMk/>
          <pc:sldMk cId="170747959" sldId="308"/>
        </pc:sldMkLst>
      </pc:sldChg>
      <pc:sldChg chg="add del">
        <pc:chgData name="Hans Gelissen (DHL SSC Maastricht)" userId="1afa8510-4eed-4b73-a29e-678838cd8acd" providerId="ADAL" clId="{F3A22D4D-2B68-4909-BFE7-4E46D0708FA9}" dt="2023-05-03T10:00:23.853" v="900" actId="2696"/>
        <pc:sldMkLst>
          <pc:docMk/>
          <pc:sldMk cId="787262473" sldId="308"/>
        </pc:sldMkLst>
      </pc:sldChg>
      <pc:sldChg chg="add ord">
        <pc:chgData name="Hans Gelissen (DHL SSC Maastricht)" userId="1afa8510-4eed-4b73-a29e-678838cd8acd" providerId="ADAL" clId="{F3A22D4D-2B68-4909-BFE7-4E46D0708FA9}" dt="2023-05-05T11:14:17.696" v="6430"/>
        <pc:sldMkLst>
          <pc:docMk/>
          <pc:sldMk cId="2361918355" sldId="308"/>
        </pc:sldMkLst>
      </pc:sldChg>
      <pc:sldChg chg="add del">
        <pc:chgData name="Hans Gelissen (DHL SSC Maastricht)" userId="1afa8510-4eed-4b73-a29e-678838cd8acd" providerId="ADAL" clId="{F3A22D4D-2B68-4909-BFE7-4E46D0708FA9}" dt="2023-05-03T11:03:18.080" v="1681" actId="2696"/>
        <pc:sldMkLst>
          <pc:docMk/>
          <pc:sldMk cId="187896406" sldId="309"/>
        </pc:sldMkLst>
      </pc:sldChg>
      <pc:sldChg chg="add ord">
        <pc:chgData name="Hans Gelissen (DHL SSC Maastricht)" userId="1afa8510-4eed-4b73-a29e-678838cd8acd" providerId="ADAL" clId="{F3A22D4D-2B68-4909-BFE7-4E46D0708FA9}" dt="2023-05-05T11:14:17.696" v="6430"/>
        <pc:sldMkLst>
          <pc:docMk/>
          <pc:sldMk cId="1613260350" sldId="309"/>
        </pc:sldMkLst>
      </pc:sldChg>
      <pc:sldChg chg="add del">
        <pc:chgData name="Hans Gelissen (DHL SSC Maastricht)" userId="1afa8510-4eed-4b73-a29e-678838cd8acd" providerId="ADAL" clId="{F3A22D4D-2B68-4909-BFE7-4E46D0708FA9}" dt="2023-05-03T10:00:23.853" v="900" actId="2696"/>
        <pc:sldMkLst>
          <pc:docMk/>
          <pc:sldMk cId="2313544586" sldId="309"/>
        </pc:sldMkLst>
      </pc:sldChg>
      <pc:sldChg chg="addSp delSp modSp add del mod modClrScheme chgLayout">
        <pc:chgData name="Hans Gelissen (DHL SSC Maastricht)" userId="1afa8510-4eed-4b73-a29e-678838cd8acd" providerId="ADAL" clId="{F3A22D4D-2B68-4909-BFE7-4E46D0708FA9}" dt="2023-05-03T10:47:15.448" v="1619" actId="2696"/>
        <pc:sldMkLst>
          <pc:docMk/>
          <pc:sldMk cId="3947757735" sldId="309"/>
        </pc:sldMkLst>
        <pc:spChg chg="add del mod ord">
          <ac:chgData name="Hans Gelissen (DHL SSC Maastricht)" userId="1afa8510-4eed-4b73-a29e-678838cd8acd" providerId="ADAL" clId="{F3A22D4D-2B68-4909-BFE7-4E46D0708FA9}" dt="2023-05-03T10:43:16.534" v="1617" actId="478"/>
          <ac:spMkLst>
            <pc:docMk/>
            <pc:sldMk cId="3947757735" sldId="309"/>
            <ac:spMk id="2" creationId="{C9B37226-D600-0700-D3D0-F91589CF5EF3}"/>
          </ac:spMkLst>
        </pc:spChg>
        <pc:spChg chg="mod ord">
          <ac:chgData name="Hans Gelissen (DHL SSC Maastricht)" userId="1afa8510-4eed-4b73-a29e-678838cd8acd" providerId="ADAL" clId="{F3A22D4D-2B68-4909-BFE7-4E46D0708FA9}" dt="2023-05-03T10:42:47.313" v="1615" actId="700"/>
          <ac:spMkLst>
            <pc:docMk/>
            <pc:sldMk cId="3947757735" sldId="309"/>
            <ac:spMk id="14" creationId="{35CE3DE9-63A7-41AF-89EA-B7639E638DD5}"/>
          </ac:spMkLst>
        </pc:spChg>
      </pc:sldChg>
      <pc:sldChg chg="del">
        <pc:chgData name="Hans Gelissen (DHL SSC Maastricht)" userId="1afa8510-4eed-4b73-a29e-678838cd8acd" providerId="ADAL" clId="{F3A22D4D-2B68-4909-BFE7-4E46D0708FA9}" dt="2023-05-08T09:53:08.982" v="9031" actId="47"/>
        <pc:sldMkLst>
          <pc:docMk/>
          <pc:sldMk cId="388612261" sldId="310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2800447061" sldId="311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620416563" sldId="312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433562934" sldId="313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1622444101" sldId="314"/>
        </pc:sldMkLst>
      </pc:sldChg>
      <pc:sldChg chg="del">
        <pc:chgData name="Hans Gelissen (DHL SSC Maastricht)" userId="1afa8510-4eed-4b73-a29e-678838cd8acd" providerId="ADAL" clId="{F3A22D4D-2B68-4909-BFE7-4E46D0708FA9}" dt="2023-05-08T09:53:09.905" v="9032" actId="47"/>
        <pc:sldMkLst>
          <pc:docMk/>
          <pc:sldMk cId="3703085558" sldId="315"/>
        </pc:sldMkLst>
      </pc:sldChg>
      <pc:sldChg chg="add del">
        <pc:chgData name="Hans Gelissen (DHL SSC Maastricht)" userId="1afa8510-4eed-4b73-a29e-678838cd8acd" providerId="ADAL" clId="{F3A22D4D-2B68-4909-BFE7-4E46D0708FA9}" dt="2023-05-08T09:53:39.611" v="9034" actId="47"/>
        <pc:sldMkLst>
          <pc:docMk/>
          <pc:sldMk cId="2814935883" sldId="316"/>
        </pc:sldMkLst>
      </pc:sldChg>
      <pc:sldChg chg="del mod modClrScheme chgLayout">
        <pc:chgData name="Hans Gelissen (DHL SSC Maastricht)" userId="1afa8510-4eed-4b73-a29e-678838cd8acd" providerId="ADAL" clId="{F3A22D4D-2B68-4909-BFE7-4E46D0708FA9}" dt="2023-05-08T10:06:57.626" v="9133" actId="47"/>
        <pc:sldMkLst>
          <pc:docMk/>
          <pc:sldMk cId="1458011321" sldId="317"/>
        </pc:sldMkLst>
      </pc:sldChg>
      <pc:sldChg chg="del">
        <pc:chgData name="Hans Gelissen (DHL SSC Maastricht)" userId="1afa8510-4eed-4b73-a29e-678838cd8acd" providerId="ADAL" clId="{F3A22D4D-2B68-4909-BFE7-4E46D0708FA9}" dt="2023-05-08T10:06:57.626" v="9133" actId="47"/>
        <pc:sldMkLst>
          <pc:docMk/>
          <pc:sldMk cId="3339699968" sldId="318"/>
        </pc:sldMkLst>
      </pc:sldChg>
      <pc:sldChg chg="modSp mod modClrScheme chgLayout">
        <pc:chgData name="Hans Gelissen (DHL SSC Maastricht)" userId="1afa8510-4eed-4b73-a29e-678838cd8acd" providerId="ADAL" clId="{F3A22D4D-2B68-4909-BFE7-4E46D0708FA9}" dt="2023-05-08T11:06:05.254" v="9815" actId="700"/>
        <pc:sldMkLst>
          <pc:docMk/>
          <pc:sldMk cId="3989320898" sldId="319"/>
        </pc:sldMkLst>
        <pc:spChg chg="mod ord">
          <ac:chgData name="Hans Gelissen (DHL SSC Maastricht)" userId="1afa8510-4eed-4b73-a29e-678838cd8acd" providerId="ADAL" clId="{F3A22D4D-2B68-4909-BFE7-4E46D0708FA9}" dt="2023-05-08T11:06:05.254" v="9815" actId="700"/>
          <ac:spMkLst>
            <pc:docMk/>
            <pc:sldMk cId="3989320898" sldId="319"/>
            <ac:spMk id="5" creationId="{EEC2B079-AF08-4CCE-8B62-C3C73831C513}"/>
          </ac:spMkLst>
        </pc:spChg>
      </pc:sldChg>
      <pc:sldChg chg="addSp delSp modSp mod modClrScheme chgLayout">
        <pc:chgData name="Hans Gelissen (DHL SSC Maastricht)" userId="1afa8510-4eed-4b73-a29e-678838cd8acd" providerId="ADAL" clId="{F3A22D4D-2B68-4909-BFE7-4E46D0708FA9}" dt="2023-05-08T11:13:00.391" v="9878" actId="14861"/>
        <pc:sldMkLst>
          <pc:docMk/>
          <pc:sldMk cId="1317063265" sldId="320"/>
        </pc:sldMkLst>
        <pc:spChg chg="add mod topLvl">
          <ac:chgData name="Hans Gelissen (DHL SSC Maastricht)" userId="1afa8510-4eed-4b73-a29e-678838cd8acd" providerId="ADAL" clId="{F3A22D4D-2B68-4909-BFE7-4E46D0708FA9}" dt="2023-05-08T11:05:40.085" v="9813" actId="1076"/>
          <ac:spMkLst>
            <pc:docMk/>
            <pc:sldMk cId="1317063265" sldId="320"/>
            <ac:spMk id="2" creationId="{B5675F3F-2E78-86F6-00ED-3FA4D461924C}"/>
          </ac:spMkLst>
        </pc:spChg>
        <pc:spChg chg="mod ord">
          <ac:chgData name="Hans Gelissen (DHL SSC Maastricht)" userId="1afa8510-4eed-4b73-a29e-678838cd8acd" providerId="ADAL" clId="{F3A22D4D-2B68-4909-BFE7-4E46D0708FA9}" dt="2023-05-08T11:05:35.470" v="9811" actId="700"/>
          <ac:spMkLst>
            <pc:docMk/>
            <pc:sldMk cId="1317063265" sldId="320"/>
            <ac:spMk id="3" creationId="{B2897892-55D6-47B6-9D24-864AC7DDD6AE}"/>
          </ac:spMkLst>
        </pc:spChg>
        <pc:spChg chg="add mod">
          <ac:chgData name="Hans Gelissen (DHL SSC Maastricht)" userId="1afa8510-4eed-4b73-a29e-678838cd8acd" providerId="ADAL" clId="{F3A22D4D-2B68-4909-BFE7-4E46D0708FA9}" dt="2023-05-08T11:04:32.395" v="9805" actId="1076"/>
          <ac:spMkLst>
            <pc:docMk/>
            <pc:sldMk cId="1317063265" sldId="320"/>
            <ac:spMk id="5" creationId="{87309055-C4F5-D3A1-099F-63419D8D4530}"/>
          </ac:spMkLst>
        </pc:spChg>
        <pc:spChg chg="mod ord">
          <ac:chgData name="Hans Gelissen (DHL SSC Maastricht)" userId="1afa8510-4eed-4b73-a29e-678838cd8acd" providerId="ADAL" clId="{F3A22D4D-2B68-4909-BFE7-4E46D0708FA9}" dt="2023-05-08T11:03:25.593" v="9784" actId="166"/>
          <ac:spMkLst>
            <pc:docMk/>
            <pc:sldMk cId="1317063265" sldId="320"/>
            <ac:spMk id="6" creationId="{9928B62C-2EAE-462E-BD7B-B60E65108561}"/>
          </ac:spMkLst>
        </pc:spChg>
        <pc:spChg chg="mod ord">
          <ac:chgData name="Hans Gelissen (DHL SSC Maastricht)" userId="1afa8510-4eed-4b73-a29e-678838cd8acd" providerId="ADAL" clId="{F3A22D4D-2B68-4909-BFE7-4E46D0708FA9}" dt="2023-05-08T11:03:25.593" v="9784" actId="166"/>
          <ac:spMkLst>
            <pc:docMk/>
            <pc:sldMk cId="1317063265" sldId="320"/>
            <ac:spMk id="7" creationId="{8443DC25-4CC4-48DC-9CBE-01CD0D2A046D}"/>
          </ac:spMkLst>
        </pc:spChg>
        <pc:grpChg chg="add del mod">
          <ac:chgData name="Hans Gelissen (DHL SSC Maastricht)" userId="1afa8510-4eed-4b73-a29e-678838cd8acd" providerId="ADAL" clId="{F3A22D4D-2B68-4909-BFE7-4E46D0708FA9}" dt="2023-05-08T11:04:05.623" v="9799" actId="165"/>
          <ac:grpSpMkLst>
            <pc:docMk/>
            <pc:sldMk cId="1317063265" sldId="320"/>
            <ac:grpSpMk id="4" creationId="{698AE8F1-42E9-5269-A534-5F4AFE60206D}"/>
          </ac:grpSpMkLst>
        </pc:grpChg>
        <pc:grpChg chg="add mod">
          <ac:chgData name="Hans Gelissen (DHL SSC Maastricht)" userId="1afa8510-4eed-4b73-a29e-678838cd8acd" providerId="ADAL" clId="{F3A22D4D-2B68-4909-BFE7-4E46D0708FA9}" dt="2023-05-08T11:13:00.391" v="9878" actId="14861"/>
          <ac:grpSpMkLst>
            <pc:docMk/>
            <pc:sldMk cId="1317063265" sldId="320"/>
            <ac:grpSpMk id="8" creationId="{AB2FDC61-E74A-D07C-DCEA-C088C220AE5D}"/>
          </ac:grpSpMkLst>
        </pc:grpChg>
        <pc:grpChg chg="add mod">
          <ac:chgData name="Hans Gelissen (DHL SSC Maastricht)" userId="1afa8510-4eed-4b73-a29e-678838cd8acd" providerId="ADAL" clId="{F3A22D4D-2B68-4909-BFE7-4E46D0708FA9}" dt="2023-05-08T11:12:55.583" v="9877" actId="14861"/>
          <ac:grpSpMkLst>
            <pc:docMk/>
            <pc:sldMk cId="1317063265" sldId="320"/>
            <ac:grpSpMk id="9" creationId="{E3ACBB43-3630-6A2A-9951-8AEA7AD31586}"/>
          </ac:grpSpMkLst>
        </pc:grpChg>
        <pc:picChg chg="add del mod">
          <ac:chgData name="Hans Gelissen (DHL SSC Maastricht)" userId="1afa8510-4eed-4b73-a29e-678838cd8acd" providerId="ADAL" clId="{F3A22D4D-2B68-4909-BFE7-4E46D0708FA9}" dt="2023-05-08T10:57:55.347" v="9717" actId="478"/>
          <ac:picMkLst>
            <pc:docMk/>
            <pc:sldMk cId="1317063265" sldId="320"/>
            <ac:picMk id="7170" creationId="{FFC2BE98-78FD-A3E7-80C1-653C4BC07CF6}"/>
          </ac:picMkLst>
        </pc:picChg>
        <pc:picChg chg="add mod topLvl">
          <ac:chgData name="Hans Gelissen (DHL SSC Maastricht)" userId="1afa8510-4eed-4b73-a29e-678838cd8acd" providerId="ADAL" clId="{F3A22D4D-2B68-4909-BFE7-4E46D0708FA9}" dt="2023-05-08T11:05:40.085" v="9813" actId="1076"/>
          <ac:picMkLst>
            <pc:docMk/>
            <pc:sldMk cId="1317063265" sldId="320"/>
            <ac:picMk id="7172" creationId="{98012CC5-A96C-20FA-CEE1-ED4D7FB4D522}"/>
          </ac:picMkLst>
        </pc:picChg>
        <pc:picChg chg="add del mod">
          <ac:chgData name="Hans Gelissen (DHL SSC Maastricht)" userId="1afa8510-4eed-4b73-a29e-678838cd8acd" providerId="ADAL" clId="{F3A22D4D-2B68-4909-BFE7-4E46D0708FA9}" dt="2023-05-08T11:01:47.344" v="9754" actId="478"/>
          <ac:picMkLst>
            <pc:docMk/>
            <pc:sldMk cId="1317063265" sldId="320"/>
            <ac:picMk id="7174" creationId="{22CB0D33-B813-3712-92CC-F109191095DD}"/>
          </ac:picMkLst>
        </pc:picChg>
        <pc:picChg chg="add mod">
          <ac:chgData name="Hans Gelissen (DHL SSC Maastricht)" userId="1afa8510-4eed-4b73-a29e-678838cd8acd" providerId="ADAL" clId="{F3A22D4D-2B68-4909-BFE7-4E46D0708FA9}" dt="2023-05-08T11:04:32.395" v="9805" actId="1076"/>
          <ac:picMkLst>
            <pc:docMk/>
            <pc:sldMk cId="1317063265" sldId="320"/>
            <ac:picMk id="7176" creationId="{9EF01950-6C2F-DA57-2F60-BFF610617E2B}"/>
          </ac:picMkLst>
        </pc:picChg>
      </pc:sldChg>
      <pc:sldChg chg="mod modClrScheme chgLayout">
        <pc:chgData name="Hans Gelissen (DHL SSC Maastricht)" userId="1afa8510-4eed-4b73-a29e-678838cd8acd" providerId="ADAL" clId="{F3A22D4D-2B68-4909-BFE7-4E46D0708FA9}" dt="2023-05-08T10:52:10.354" v="9523" actId="700"/>
        <pc:sldMkLst>
          <pc:docMk/>
          <pc:sldMk cId="3933330038" sldId="321"/>
        </pc:sldMkLst>
      </pc:sldChg>
      <pc:sldChg chg="del">
        <pc:chgData name="Hans Gelissen (DHL SSC Maastricht)" userId="1afa8510-4eed-4b73-a29e-678838cd8acd" providerId="ADAL" clId="{F3A22D4D-2B68-4909-BFE7-4E46D0708FA9}" dt="2023-05-08T10:06:57.626" v="9133" actId="47"/>
        <pc:sldMkLst>
          <pc:docMk/>
          <pc:sldMk cId="2432060605" sldId="322"/>
        </pc:sldMkLst>
      </pc:sldChg>
      <pc:sldChg chg="modSp mod ord">
        <pc:chgData name="Hans Gelissen (DHL SSC Maastricht)" userId="1afa8510-4eed-4b73-a29e-678838cd8acd" providerId="ADAL" clId="{F3A22D4D-2B68-4909-BFE7-4E46D0708FA9}" dt="2023-05-10T12:44:34.407" v="10401" actId="20577"/>
        <pc:sldMkLst>
          <pc:docMk/>
          <pc:sldMk cId="4246254376" sldId="325"/>
        </pc:sldMkLst>
        <pc:spChg chg="mod">
          <ac:chgData name="Hans Gelissen (DHL SSC Maastricht)" userId="1afa8510-4eed-4b73-a29e-678838cd8acd" providerId="ADAL" clId="{F3A22D4D-2B68-4909-BFE7-4E46D0708FA9}" dt="2023-05-10T12:44:34.407" v="10401" actId="20577"/>
          <ac:spMkLst>
            <pc:docMk/>
            <pc:sldMk cId="4246254376" sldId="325"/>
            <ac:spMk id="3" creationId="{C9C1262F-7F22-4AD0-B62F-98EE33FA16E6}"/>
          </ac:spMkLst>
        </pc:spChg>
      </pc:sldChg>
      <pc:sldChg chg="del">
        <pc:chgData name="Hans Gelissen (DHL SSC Maastricht)" userId="1afa8510-4eed-4b73-a29e-678838cd8acd" providerId="ADAL" clId="{F3A22D4D-2B68-4909-BFE7-4E46D0708FA9}" dt="2023-05-08T10:06:57.626" v="9133" actId="47"/>
        <pc:sldMkLst>
          <pc:docMk/>
          <pc:sldMk cId="2522071073" sldId="326"/>
        </pc:sldMkLst>
      </pc:sldChg>
      <pc:sldChg chg="del">
        <pc:chgData name="Hans Gelissen (DHL SSC Maastricht)" userId="1afa8510-4eed-4b73-a29e-678838cd8acd" providerId="ADAL" clId="{F3A22D4D-2B68-4909-BFE7-4E46D0708FA9}" dt="2023-05-08T10:06:57.626" v="9133" actId="47"/>
        <pc:sldMkLst>
          <pc:docMk/>
          <pc:sldMk cId="2062961482" sldId="327"/>
        </pc:sldMkLst>
      </pc:sldChg>
      <pc:sldChg chg="del">
        <pc:chgData name="Hans Gelissen (DHL SSC Maastricht)" userId="1afa8510-4eed-4b73-a29e-678838cd8acd" providerId="ADAL" clId="{F3A22D4D-2B68-4909-BFE7-4E46D0708FA9}" dt="2023-05-08T10:06:57.626" v="9133" actId="47"/>
        <pc:sldMkLst>
          <pc:docMk/>
          <pc:sldMk cId="57680118" sldId="328"/>
        </pc:sldMkLst>
      </pc:sldChg>
      <pc:sldChg chg="modSp del mod modClrScheme chgLayout">
        <pc:chgData name="Hans Gelissen (DHL SSC Maastricht)" userId="1afa8510-4eed-4b73-a29e-678838cd8acd" providerId="ADAL" clId="{F3A22D4D-2B68-4909-BFE7-4E46D0708FA9}" dt="2023-05-03T14:58:38.652" v="2483" actId="47"/>
        <pc:sldMkLst>
          <pc:docMk/>
          <pc:sldMk cId="2243764772" sldId="331"/>
        </pc:sldMkLst>
        <pc:spChg chg="mod ord">
          <ac:chgData name="Hans Gelissen (DHL SSC Maastricht)" userId="1afa8510-4eed-4b73-a29e-678838cd8acd" providerId="ADAL" clId="{F3A22D4D-2B68-4909-BFE7-4E46D0708FA9}" dt="2023-05-03T10:10:43.664" v="1224" actId="20577"/>
          <ac:spMkLst>
            <pc:docMk/>
            <pc:sldMk cId="2243764772" sldId="331"/>
            <ac:spMk id="6" creationId="{9A498622-B694-1932-CE76-670BBA54C07E}"/>
          </ac:spMkLst>
        </pc:spChg>
      </pc:sldChg>
      <pc:sldChg chg="addSp delSp modSp mod">
        <pc:chgData name="Hans Gelissen (DHL SSC Maastricht)" userId="1afa8510-4eed-4b73-a29e-678838cd8acd" providerId="ADAL" clId="{F3A22D4D-2B68-4909-BFE7-4E46D0708FA9}" dt="2023-05-10T09:25:24.120" v="10324" actId="20577"/>
        <pc:sldMkLst>
          <pc:docMk/>
          <pc:sldMk cId="774294746" sldId="332"/>
        </pc:sldMkLst>
        <pc:spChg chg="mod">
          <ac:chgData name="Hans Gelissen (DHL SSC Maastricht)" userId="1afa8510-4eed-4b73-a29e-678838cd8acd" providerId="ADAL" clId="{F3A22D4D-2B68-4909-BFE7-4E46D0708FA9}" dt="2023-05-03T14:59:41.965" v="2552" actId="20577"/>
          <ac:spMkLst>
            <pc:docMk/>
            <pc:sldMk cId="774294746" sldId="332"/>
            <ac:spMk id="3" creationId="{62D61DA8-D22A-A517-B456-9DB282AFC162}"/>
          </ac:spMkLst>
        </pc:spChg>
        <pc:spChg chg="mod">
          <ac:chgData name="Hans Gelissen (DHL SSC Maastricht)" userId="1afa8510-4eed-4b73-a29e-678838cd8acd" providerId="ADAL" clId="{F3A22D4D-2B68-4909-BFE7-4E46D0708FA9}" dt="2023-05-10T09:25:24.120" v="10324" actId="20577"/>
          <ac:spMkLst>
            <pc:docMk/>
            <pc:sldMk cId="774294746" sldId="332"/>
            <ac:spMk id="4" creationId="{7B249717-98C3-4DD4-5437-EB3796F26136}"/>
          </ac:spMkLst>
        </pc:spChg>
        <pc:spChg chg="mod">
          <ac:chgData name="Hans Gelissen (DHL SSC Maastricht)" userId="1afa8510-4eed-4b73-a29e-678838cd8acd" providerId="ADAL" clId="{F3A22D4D-2B68-4909-BFE7-4E46D0708FA9}" dt="2023-05-10T09:24:00.165" v="10316" actId="14100"/>
          <ac:spMkLst>
            <pc:docMk/>
            <pc:sldMk cId="774294746" sldId="332"/>
            <ac:spMk id="5" creationId="{53DE6C37-BA55-7E8B-DF64-68D13CE3FBC6}"/>
          </ac:spMkLst>
        </pc:spChg>
        <pc:picChg chg="add del mod">
          <ac:chgData name="Hans Gelissen (DHL SSC Maastricht)" userId="1afa8510-4eed-4b73-a29e-678838cd8acd" providerId="ADAL" clId="{F3A22D4D-2B68-4909-BFE7-4E46D0708FA9}" dt="2023-05-03T14:58:53.888" v="2484" actId="478"/>
          <ac:picMkLst>
            <pc:docMk/>
            <pc:sldMk cId="774294746" sldId="332"/>
            <ac:picMk id="6" creationId="{3E2DAB4C-DBE4-5561-2E20-73E0DFEB9E47}"/>
          </ac:picMkLst>
        </pc:picChg>
        <pc:picChg chg="del">
          <ac:chgData name="Hans Gelissen (DHL SSC Maastricht)" userId="1afa8510-4eed-4b73-a29e-678838cd8acd" providerId="ADAL" clId="{F3A22D4D-2B68-4909-BFE7-4E46D0708FA9}" dt="2023-05-03T10:10:58.606" v="1226" actId="478"/>
          <ac:picMkLst>
            <pc:docMk/>
            <pc:sldMk cId="774294746" sldId="332"/>
            <ac:picMk id="7" creationId="{F096799F-5B42-7449-D202-C074F8EE2CAA}"/>
          </ac:picMkLst>
        </pc:picChg>
        <pc:picChg chg="add mod">
          <ac:chgData name="Hans Gelissen (DHL SSC Maastricht)" userId="1afa8510-4eed-4b73-a29e-678838cd8acd" providerId="ADAL" clId="{F3A22D4D-2B68-4909-BFE7-4E46D0708FA9}" dt="2023-05-03T14:59:09.305" v="2496" actId="1035"/>
          <ac:picMkLst>
            <pc:docMk/>
            <pc:sldMk cId="774294746" sldId="332"/>
            <ac:picMk id="8" creationId="{94DF10B3-E09D-DF81-B46C-B89F7938B036}"/>
          </ac:picMkLst>
        </pc:picChg>
        <pc:picChg chg="add del">
          <ac:chgData name="Hans Gelissen (DHL SSC Maastricht)" userId="1afa8510-4eed-4b73-a29e-678838cd8acd" providerId="ADAL" clId="{F3A22D4D-2B68-4909-BFE7-4E46D0708FA9}" dt="2023-05-03T14:57:33.210" v="2478" actId="478"/>
          <ac:picMkLst>
            <pc:docMk/>
            <pc:sldMk cId="774294746" sldId="332"/>
            <ac:picMk id="9218" creationId="{BF352589-F61F-7B1C-38C5-9047666312AC}"/>
          </ac:picMkLst>
        </pc:picChg>
      </pc:sldChg>
      <pc:sldChg chg="del">
        <pc:chgData name="Hans Gelissen (DHL SSC Maastricht)" userId="1afa8510-4eed-4b73-a29e-678838cd8acd" providerId="ADAL" clId="{F3A22D4D-2B68-4909-BFE7-4E46D0708FA9}" dt="2023-05-03T10:10:48.588" v="1225" actId="47"/>
        <pc:sldMkLst>
          <pc:docMk/>
          <pc:sldMk cId="2072125447" sldId="333"/>
        </pc:sldMkLst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2102271174" sldId="334"/>
        </pc:sldMkLst>
      </pc:sldChg>
      <pc:sldChg chg="del">
        <pc:chgData name="Hans Gelissen (DHL SSC Maastricht)" userId="1afa8510-4eed-4b73-a29e-678838cd8acd" providerId="ADAL" clId="{F3A22D4D-2B68-4909-BFE7-4E46D0708FA9}" dt="2023-05-03T10:01:13.963" v="902" actId="47"/>
        <pc:sldMkLst>
          <pc:docMk/>
          <pc:sldMk cId="1516152122" sldId="335"/>
        </pc:sldMkLst>
      </pc:sldChg>
      <pc:sldChg chg="modSp del mod modClrScheme chgLayout">
        <pc:chgData name="Hans Gelissen (DHL SSC Maastricht)" userId="1afa8510-4eed-4b73-a29e-678838cd8acd" providerId="ADAL" clId="{F3A22D4D-2B68-4909-BFE7-4E46D0708FA9}" dt="2023-05-03T10:11:55.903" v="1240" actId="2696"/>
        <pc:sldMkLst>
          <pc:docMk/>
          <pc:sldMk cId="1138183494" sldId="336"/>
        </pc:sldMkLst>
        <pc:spChg chg="mod ord">
          <ac:chgData name="Hans Gelissen (DHL SSC Maastricht)" userId="1afa8510-4eed-4b73-a29e-678838cd8acd" providerId="ADAL" clId="{F3A22D4D-2B68-4909-BFE7-4E46D0708FA9}" dt="2023-05-03T10:11:43.788" v="1239" actId="700"/>
          <ac:spMkLst>
            <pc:docMk/>
            <pc:sldMk cId="1138183494" sldId="336"/>
            <ac:spMk id="5" creationId="{83627CEC-EB08-0178-90BB-5F4C1A2A72BB}"/>
          </ac:spMkLst>
        </pc:spChg>
      </pc:sldChg>
      <pc:sldChg chg="modSp add mod ord modClrScheme chgLayout">
        <pc:chgData name="Hans Gelissen (DHL SSC Maastricht)" userId="1afa8510-4eed-4b73-a29e-678838cd8acd" providerId="ADAL" clId="{F3A22D4D-2B68-4909-BFE7-4E46D0708FA9}" dt="2023-05-05T11:31:04.836" v="6439"/>
        <pc:sldMkLst>
          <pc:docMk/>
          <pc:sldMk cId="3597960873" sldId="336"/>
        </pc:sldMkLst>
        <pc:spChg chg="mod ord">
          <ac:chgData name="Hans Gelissen (DHL SSC Maastricht)" userId="1afa8510-4eed-4b73-a29e-678838cd8acd" providerId="ADAL" clId="{F3A22D4D-2B68-4909-BFE7-4E46D0708FA9}" dt="2023-05-05T11:10:14.906" v="6425" actId="700"/>
          <ac:spMkLst>
            <pc:docMk/>
            <pc:sldMk cId="3597960873" sldId="336"/>
            <ac:spMk id="5" creationId="{83627CEC-EB08-0178-90BB-5F4C1A2A72BB}"/>
          </ac:spMkLst>
        </pc:spChg>
      </pc:sldChg>
      <pc:sldChg chg="del">
        <pc:chgData name="Hans Gelissen (DHL SSC Maastricht)" userId="1afa8510-4eed-4b73-a29e-678838cd8acd" providerId="ADAL" clId="{F3A22D4D-2B68-4909-BFE7-4E46D0708FA9}" dt="2023-05-08T09:53:01.785" v="9030" actId="47"/>
        <pc:sldMkLst>
          <pc:docMk/>
          <pc:sldMk cId="2995812918" sldId="337"/>
        </pc:sldMkLst>
      </pc:sldChg>
      <pc:sldChg chg="addSp modSp new mod modAnim">
        <pc:chgData name="Hans Gelissen (DHL SSC Maastricht)" userId="1afa8510-4eed-4b73-a29e-678838cd8acd" providerId="ADAL" clId="{F3A22D4D-2B68-4909-BFE7-4E46D0708FA9}" dt="2023-05-03T10:35:57.571" v="1574"/>
        <pc:sldMkLst>
          <pc:docMk/>
          <pc:sldMk cId="1881903698" sldId="338"/>
        </pc:sldMkLst>
        <pc:spChg chg="add mod">
          <ac:chgData name="Hans Gelissen (DHL SSC Maastricht)" userId="1afa8510-4eed-4b73-a29e-678838cd8acd" providerId="ADAL" clId="{F3A22D4D-2B68-4909-BFE7-4E46D0708FA9}" dt="2023-05-03T10:32:16.187" v="1517" actId="14100"/>
          <ac:spMkLst>
            <pc:docMk/>
            <pc:sldMk cId="1881903698" sldId="338"/>
            <ac:spMk id="4" creationId="{E0816670-011D-4425-01B4-BD048D1457AC}"/>
          </ac:spMkLst>
        </pc:spChg>
        <pc:spChg chg="mod">
          <ac:chgData name="Hans Gelissen (DHL SSC Maastricht)" userId="1afa8510-4eed-4b73-a29e-678838cd8acd" providerId="ADAL" clId="{F3A22D4D-2B68-4909-BFE7-4E46D0708FA9}" dt="2023-05-03T10:32:47.645" v="1523" actId="1076"/>
          <ac:spMkLst>
            <pc:docMk/>
            <pc:sldMk cId="1881903698" sldId="338"/>
            <ac:spMk id="6" creationId="{F1FA29EB-BFDB-7EBF-372D-6D0D60F81207}"/>
          </ac:spMkLst>
        </pc:spChg>
        <pc:grpChg chg="add mod">
          <ac:chgData name="Hans Gelissen (DHL SSC Maastricht)" userId="1afa8510-4eed-4b73-a29e-678838cd8acd" providerId="ADAL" clId="{F3A22D4D-2B68-4909-BFE7-4E46D0708FA9}" dt="2023-05-03T10:32:47.645" v="1523" actId="1076"/>
          <ac:grpSpMkLst>
            <pc:docMk/>
            <pc:sldMk cId="1881903698" sldId="338"/>
            <ac:grpSpMk id="5" creationId="{FA836E55-4F82-F631-A828-D48B098EB1CC}"/>
          </ac:grpSpMkLst>
        </pc:grpChg>
        <pc:grpChg chg="add mod">
          <ac:chgData name="Hans Gelissen (DHL SSC Maastricht)" userId="1afa8510-4eed-4b73-a29e-678838cd8acd" providerId="ADAL" clId="{F3A22D4D-2B68-4909-BFE7-4E46D0708FA9}" dt="2023-05-03T10:32:08.785" v="1516"/>
          <ac:grpSpMkLst>
            <pc:docMk/>
            <pc:sldMk cId="1881903698" sldId="338"/>
            <ac:grpSpMk id="9" creationId="{B1B1F789-9A58-B960-3833-05D3FF1A8AA8}"/>
          </ac:grpSpMkLst>
        </pc:grpChg>
        <pc:picChg chg="mod">
          <ac:chgData name="Hans Gelissen (DHL SSC Maastricht)" userId="1afa8510-4eed-4b73-a29e-678838cd8acd" providerId="ADAL" clId="{F3A22D4D-2B68-4909-BFE7-4E46D0708FA9}" dt="2023-05-03T10:32:47.645" v="1523" actId="1076"/>
          <ac:picMkLst>
            <pc:docMk/>
            <pc:sldMk cId="1881903698" sldId="338"/>
            <ac:picMk id="7" creationId="{AE46D88C-B3C5-2158-BEA2-280AAF86F471}"/>
          </ac:picMkLst>
        </pc:picChg>
        <pc:picChg chg="mod">
          <ac:chgData name="Hans Gelissen (DHL SSC Maastricht)" userId="1afa8510-4eed-4b73-a29e-678838cd8acd" providerId="ADAL" clId="{F3A22D4D-2B68-4909-BFE7-4E46D0708FA9}" dt="2023-05-03T10:32:47.645" v="1523" actId="1076"/>
          <ac:picMkLst>
            <pc:docMk/>
            <pc:sldMk cId="1881903698" sldId="338"/>
            <ac:picMk id="8" creationId="{998FDDDB-C882-9DCB-61D4-99CBA65A2C42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10" creationId="{803E6F4C-2398-760B-7D0C-19AD3D9BB7E0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11" creationId="{9E7DE33A-32EE-D7E7-5A90-3C74400298D5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12" creationId="{D316B634-F592-CC2D-7C7D-AB75F6650FAE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13" creationId="{3ED3703B-0087-9EDE-7C0B-3860574C3BB4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14" creationId="{61100FFC-CC96-A437-60C7-AB5C75A7FD75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15" creationId="{13F5B157-7F5C-E76B-94F6-C443D35AB15B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16" creationId="{07C47A38-8725-1A2C-13EB-180F0D4AD76E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17" creationId="{7A07A8BE-8A80-E000-B44F-9DC41E7A97F4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18" creationId="{A0705755-83B8-0CF6-AEB0-63C59B6C30CA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19" creationId="{0535C64B-F73F-E461-4A22-64977312A452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20" creationId="{DDD21707-DDE9-E171-FC09-6CD7FB253465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21" creationId="{6B93D76E-1E2A-53AE-66F8-C17C6C394EF2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22" creationId="{9F6ACFE6-8E7D-1CA6-CEC5-E5EF9F51F56C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23" creationId="{61C5C910-BB48-74FD-5216-0B020151B9AD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24" creationId="{3EBB07A8-29AA-D361-2F2F-A10C67C57E34}"/>
          </ac:picMkLst>
        </pc:picChg>
        <pc:picChg chg="mod">
          <ac:chgData name="Hans Gelissen (DHL SSC Maastricht)" userId="1afa8510-4eed-4b73-a29e-678838cd8acd" providerId="ADAL" clId="{F3A22D4D-2B68-4909-BFE7-4E46D0708FA9}" dt="2023-05-03T10:32:08.785" v="1516"/>
          <ac:picMkLst>
            <pc:docMk/>
            <pc:sldMk cId="1881903698" sldId="338"/>
            <ac:picMk id="25" creationId="{A07413C0-C92E-B76B-335A-72CF499BE8F4}"/>
          </ac:picMkLst>
        </pc:picChg>
      </pc:sldChg>
      <pc:sldChg chg="addSp delSp modSp new del mod">
        <pc:chgData name="Hans Gelissen (DHL SSC Maastricht)" userId="1afa8510-4eed-4b73-a29e-678838cd8acd" providerId="ADAL" clId="{F3A22D4D-2B68-4909-BFE7-4E46D0708FA9}" dt="2023-05-03T14:52:14.059" v="2472" actId="47"/>
        <pc:sldMkLst>
          <pc:docMk/>
          <pc:sldMk cId="2153402596" sldId="339"/>
        </pc:sldMkLst>
        <pc:spChg chg="del">
          <ac:chgData name="Hans Gelissen (DHL SSC Maastricht)" userId="1afa8510-4eed-4b73-a29e-678838cd8acd" providerId="ADAL" clId="{F3A22D4D-2B68-4909-BFE7-4E46D0708FA9}" dt="2023-05-03T10:52:24.572" v="1624" actId="478"/>
          <ac:spMkLst>
            <pc:docMk/>
            <pc:sldMk cId="2153402596" sldId="339"/>
            <ac:spMk id="3" creationId="{537B9748-C629-C1D1-CB35-F4308E5E2DA7}"/>
          </ac:spMkLst>
        </pc:spChg>
        <pc:picChg chg="add mod">
          <ac:chgData name="Hans Gelissen (DHL SSC Maastricht)" userId="1afa8510-4eed-4b73-a29e-678838cd8acd" providerId="ADAL" clId="{F3A22D4D-2B68-4909-BFE7-4E46D0708FA9}" dt="2023-05-03T10:52:24.960" v="1625"/>
          <ac:picMkLst>
            <pc:docMk/>
            <pc:sldMk cId="2153402596" sldId="339"/>
            <ac:picMk id="4" creationId="{DAD9F013-AA94-40C3-7785-D5CDE30D0265}"/>
          </ac:picMkLst>
        </pc:picChg>
        <pc:picChg chg="add mod">
          <ac:chgData name="Hans Gelissen (DHL SSC Maastricht)" userId="1afa8510-4eed-4b73-a29e-678838cd8acd" providerId="ADAL" clId="{F3A22D4D-2B68-4909-BFE7-4E46D0708FA9}" dt="2023-05-03T10:54:32.597" v="1630" actId="14100"/>
          <ac:picMkLst>
            <pc:docMk/>
            <pc:sldMk cId="2153402596" sldId="339"/>
            <ac:picMk id="5" creationId="{8B63B02C-9E17-118D-5DEC-063A08432926}"/>
          </ac:picMkLst>
        </pc:picChg>
      </pc:sldChg>
      <pc:sldChg chg="addSp delSp add del mod">
        <pc:chgData name="Hans Gelissen (DHL SSC Maastricht)" userId="1afa8510-4eed-4b73-a29e-678838cd8acd" providerId="ADAL" clId="{F3A22D4D-2B68-4909-BFE7-4E46D0708FA9}" dt="2023-05-03T10:32:41.466" v="1521" actId="47"/>
        <pc:sldMkLst>
          <pc:docMk/>
          <pc:sldMk cId="2885095658" sldId="339"/>
        </pc:sldMkLst>
        <pc:spChg chg="add del">
          <ac:chgData name="Hans Gelissen (DHL SSC Maastricht)" userId="1afa8510-4eed-4b73-a29e-678838cd8acd" providerId="ADAL" clId="{F3A22D4D-2B68-4909-BFE7-4E46D0708FA9}" dt="2023-05-03T10:32:36.019" v="1520" actId="478"/>
          <ac:spMkLst>
            <pc:docMk/>
            <pc:sldMk cId="2885095658" sldId="339"/>
            <ac:spMk id="4" creationId="{E0816670-011D-4425-01B4-BD048D1457AC}"/>
          </ac:spMkLst>
        </pc:spChg>
      </pc:sldChg>
      <pc:sldChg chg="addSp delSp modSp add mod ord modAnim">
        <pc:chgData name="Hans Gelissen (DHL SSC Maastricht)" userId="1afa8510-4eed-4b73-a29e-678838cd8acd" providerId="ADAL" clId="{F3A22D4D-2B68-4909-BFE7-4E46D0708FA9}" dt="2023-05-03T15:19:10.828" v="2737" actId="1035"/>
        <pc:sldMkLst>
          <pc:docMk/>
          <pc:sldMk cId="2484352630" sldId="340"/>
        </pc:sldMkLst>
        <pc:spChg chg="del">
          <ac:chgData name="Hans Gelissen (DHL SSC Maastricht)" userId="1afa8510-4eed-4b73-a29e-678838cd8acd" providerId="ADAL" clId="{F3A22D4D-2B68-4909-BFE7-4E46D0708FA9}" dt="2023-05-03T13:07:47.006" v="2200" actId="478"/>
          <ac:spMkLst>
            <pc:docMk/>
            <pc:sldMk cId="2484352630" sldId="340"/>
            <ac:spMk id="2" creationId="{CED8FA4E-9F3D-3515-A91C-152714E7945B}"/>
          </ac:spMkLst>
        </pc:spChg>
        <pc:spChg chg="del">
          <ac:chgData name="Hans Gelissen (DHL SSC Maastricht)" userId="1afa8510-4eed-4b73-a29e-678838cd8acd" providerId="ADAL" clId="{F3A22D4D-2B68-4909-BFE7-4E46D0708FA9}" dt="2023-05-03T10:55:53.725" v="1631" actId="478"/>
          <ac:spMkLst>
            <pc:docMk/>
            <pc:sldMk cId="2484352630" sldId="340"/>
            <ac:spMk id="3" creationId="{537B9748-C629-C1D1-CB35-F4308E5E2DA7}"/>
          </ac:spMkLst>
        </pc:spChg>
        <pc:spChg chg="add mod">
          <ac:chgData name="Hans Gelissen (DHL SSC Maastricht)" userId="1afa8510-4eed-4b73-a29e-678838cd8acd" providerId="ADAL" clId="{F3A22D4D-2B68-4909-BFE7-4E46D0708FA9}" dt="2023-05-03T13:26:56.443" v="2425" actId="164"/>
          <ac:spMkLst>
            <pc:docMk/>
            <pc:sldMk cId="2484352630" sldId="340"/>
            <ac:spMk id="7" creationId="{3FB7116A-E85B-DA41-DBCF-6B5C42D462C5}"/>
          </ac:spMkLst>
        </pc:spChg>
        <pc:spChg chg="add mod">
          <ac:chgData name="Hans Gelissen (DHL SSC Maastricht)" userId="1afa8510-4eed-4b73-a29e-678838cd8acd" providerId="ADAL" clId="{F3A22D4D-2B68-4909-BFE7-4E46D0708FA9}" dt="2023-05-03T13:26:56.443" v="2425" actId="164"/>
          <ac:spMkLst>
            <pc:docMk/>
            <pc:sldMk cId="2484352630" sldId="340"/>
            <ac:spMk id="8" creationId="{14B2F8E8-6115-4C09-3C14-D475FD339C4D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12" creationId="{2E16E2E7-3002-EAED-A621-C71722672423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13" creationId="{2667ADD8-8621-0DD8-3A8F-3C0904CCCFA6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14" creationId="{7570076B-2558-BB34-8568-744829447344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15" creationId="{4EB6C74A-53EB-D1F0-305E-6F2B7F962466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16" creationId="{5425C7F3-0DD4-24F7-8952-6643C4E6FFD2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17" creationId="{B1B6681B-B8A3-A1E1-2F4D-E001E8522303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18" creationId="{B90493CB-8A77-2760-0534-E87D61E6CE25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19" creationId="{293CED5D-AB0F-12CD-05BB-C823B51D09C9}"/>
          </ac:spMkLst>
        </pc:spChg>
        <pc:spChg chg="add mod">
          <ac:chgData name="Hans Gelissen (DHL SSC Maastricht)" userId="1afa8510-4eed-4b73-a29e-678838cd8acd" providerId="ADAL" clId="{F3A22D4D-2B68-4909-BFE7-4E46D0708FA9}" dt="2023-05-03T15:19:10.828" v="2737" actId="1035"/>
          <ac:spMkLst>
            <pc:docMk/>
            <pc:sldMk cId="2484352630" sldId="340"/>
            <ac:spMk id="20" creationId="{4D3E752C-A854-13B2-8C5B-DBF57A5FCA8A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21" creationId="{6CA309A2-EEFE-4098-C9A2-C38A60E46D50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22" creationId="{F056127F-4B6A-0D37-D35D-2FD32C3A4559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23" creationId="{088BBAD8-C613-095B-0AFA-8C38A5FA42AC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24" creationId="{A2DD5C20-FB2C-8C79-46C9-5F9B29C7389B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25" creationId="{5BD7DDF4-C06C-9661-83BA-9863F5CE842F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26" creationId="{3044B020-102D-01FF-50B3-C094110EA9D0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27" creationId="{2F2604D5-1204-856C-7D3E-1A7FE4AED1D7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28" creationId="{7557D4F4-0575-05F2-08A6-7F92C02CFC4E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29" creationId="{6E918339-1669-3E31-D1A7-885F3BECA112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30" creationId="{021988B6-69BD-7CE3-3782-B662C2EA2611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31" creationId="{DDA3C70B-6550-8713-EB2E-49477DE730E6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32" creationId="{5E37D58D-E4DF-5045-3AA4-FD5610AAB857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33" creationId="{D2857FCD-FDB0-DD5D-E71C-5A340CC6DCB8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34" creationId="{A738D1DE-AA5F-4A6F-9843-68443E9FB35A}"/>
          </ac:spMkLst>
        </pc:spChg>
        <pc:spChg chg="add mod">
          <ac:chgData name="Hans Gelissen (DHL SSC Maastricht)" userId="1afa8510-4eed-4b73-a29e-678838cd8acd" providerId="ADAL" clId="{F3A22D4D-2B68-4909-BFE7-4E46D0708FA9}" dt="2023-05-03T13:26:58.727" v="2426"/>
          <ac:spMkLst>
            <pc:docMk/>
            <pc:sldMk cId="2484352630" sldId="340"/>
            <ac:spMk id="35" creationId="{CA161F48-9F69-C6B6-F819-8F9948311B89}"/>
          </ac:spMkLst>
        </pc:spChg>
        <pc:grpChg chg="add mod">
          <ac:chgData name="Hans Gelissen (DHL SSC Maastricht)" userId="1afa8510-4eed-4b73-a29e-678838cd8acd" providerId="ADAL" clId="{F3A22D4D-2B68-4909-BFE7-4E46D0708FA9}" dt="2023-05-03T13:27:32.935" v="2450" actId="166"/>
          <ac:grpSpMkLst>
            <pc:docMk/>
            <pc:sldMk cId="2484352630" sldId="340"/>
            <ac:grpSpMk id="11" creationId="{1795AE9C-082F-D197-4E84-197DA66806AF}"/>
          </ac:grpSpMkLst>
        </pc:grpChg>
        <pc:picChg chg="add mod">
          <ac:chgData name="Hans Gelissen (DHL SSC Maastricht)" userId="1afa8510-4eed-4b73-a29e-678838cd8acd" providerId="ADAL" clId="{F3A22D4D-2B68-4909-BFE7-4E46D0708FA9}" dt="2023-05-03T13:26:56.443" v="2425" actId="164"/>
          <ac:picMkLst>
            <pc:docMk/>
            <pc:sldMk cId="2484352630" sldId="340"/>
            <ac:picMk id="4" creationId="{DA1414FA-0C0C-93CF-159E-766B9323300D}"/>
          </ac:picMkLst>
        </pc:picChg>
        <pc:picChg chg="add mod">
          <ac:chgData name="Hans Gelissen (DHL SSC Maastricht)" userId="1afa8510-4eed-4b73-a29e-678838cd8acd" providerId="ADAL" clId="{F3A22D4D-2B68-4909-BFE7-4E46D0708FA9}" dt="2023-05-03T13:26:56.443" v="2425" actId="164"/>
          <ac:picMkLst>
            <pc:docMk/>
            <pc:sldMk cId="2484352630" sldId="340"/>
            <ac:picMk id="5" creationId="{84E61A90-6C3D-A76F-A600-9FD1B6C23355}"/>
          </ac:picMkLst>
        </pc:picChg>
        <pc:picChg chg="add mod">
          <ac:chgData name="Hans Gelissen (DHL SSC Maastricht)" userId="1afa8510-4eed-4b73-a29e-678838cd8acd" providerId="ADAL" clId="{F3A22D4D-2B68-4909-BFE7-4E46D0708FA9}" dt="2023-05-03T13:26:56.443" v="2425" actId="164"/>
          <ac:picMkLst>
            <pc:docMk/>
            <pc:sldMk cId="2484352630" sldId="340"/>
            <ac:picMk id="6" creationId="{DB9ED71C-F755-6C9D-8E03-CD66871DC308}"/>
          </ac:picMkLst>
        </pc:picChg>
        <pc:picChg chg="add mod ord">
          <ac:chgData name="Hans Gelissen (DHL SSC Maastricht)" userId="1afa8510-4eed-4b73-a29e-678838cd8acd" providerId="ADAL" clId="{F3A22D4D-2B68-4909-BFE7-4E46D0708FA9}" dt="2023-05-03T12:07:46.414" v="1774" actId="167"/>
          <ac:picMkLst>
            <pc:docMk/>
            <pc:sldMk cId="2484352630" sldId="340"/>
            <ac:picMk id="10" creationId="{B7144363-B78C-F15A-5DC1-1A2CCE2B77D9}"/>
          </ac:picMkLst>
        </pc:picChg>
        <pc:picChg chg="add del mod">
          <ac:chgData name="Hans Gelissen (DHL SSC Maastricht)" userId="1afa8510-4eed-4b73-a29e-678838cd8acd" providerId="ADAL" clId="{F3A22D4D-2B68-4909-BFE7-4E46D0708FA9}" dt="2023-05-03T12:07:24.696" v="1768" actId="478"/>
          <ac:picMkLst>
            <pc:docMk/>
            <pc:sldMk cId="2484352630" sldId="340"/>
            <ac:picMk id="1026" creationId="{3730DD82-4DAD-0C5B-4F1D-F5704B781C06}"/>
          </ac:picMkLst>
        </pc:picChg>
      </pc:sldChg>
      <pc:sldChg chg="addSp delSp modSp add mod modAnim">
        <pc:chgData name="Hans Gelissen (DHL SSC Maastricht)" userId="1afa8510-4eed-4b73-a29e-678838cd8acd" providerId="ADAL" clId="{F3A22D4D-2B68-4909-BFE7-4E46D0708FA9}" dt="2023-05-03T15:19:51.294" v="2740" actId="33935"/>
        <pc:sldMkLst>
          <pc:docMk/>
          <pc:sldMk cId="2759541219" sldId="341"/>
        </pc:sldMkLst>
        <pc:spChg chg="del">
          <ac:chgData name="Hans Gelissen (DHL SSC Maastricht)" userId="1afa8510-4eed-4b73-a29e-678838cd8acd" providerId="ADAL" clId="{F3A22D4D-2B68-4909-BFE7-4E46D0708FA9}" dt="2023-05-03T13:07:29.425" v="2196" actId="478"/>
          <ac:spMkLst>
            <pc:docMk/>
            <pc:sldMk cId="2759541219" sldId="341"/>
            <ac:spMk id="2" creationId="{CED8FA4E-9F3D-3515-A91C-152714E7945B}"/>
          </ac:spMkLst>
        </pc:spChg>
        <pc:spChg chg="del">
          <ac:chgData name="Hans Gelissen (DHL SSC Maastricht)" userId="1afa8510-4eed-4b73-a29e-678838cd8acd" providerId="ADAL" clId="{F3A22D4D-2B68-4909-BFE7-4E46D0708FA9}" dt="2023-05-03T10:59:32.984" v="1649" actId="478"/>
          <ac:spMkLst>
            <pc:docMk/>
            <pc:sldMk cId="2759541219" sldId="341"/>
            <ac:spMk id="3" creationId="{537B9748-C629-C1D1-CB35-F4308E5E2DA7}"/>
          </ac:spMkLst>
        </pc:spChg>
        <pc:spChg chg="add mod ord">
          <ac:chgData name="Hans Gelissen (DHL SSC Maastricht)" userId="1afa8510-4eed-4b73-a29e-678838cd8acd" providerId="ADAL" clId="{F3A22D4D-2B68-4909-BFE7-4E46D0708FA9}" dt="2023-05-03T13:23:15.130" v="2369" actId="164"/>
          <ac:spMkLst>
            <pc:docMk/>
            <pc:sldMk cId="2759541219" sldId="341"/>
            <ac:spMk id="6" creationId="{8D11183A-3A3C-0DC4-578F-423F00707D84}"/>
          </ac:spMkLst>
        </pc:spChg>
        <pc:spChg chg="add mod ord">
          <ac:chgData name="Hans Gelissen (DHL SSC Maastricht)" userId="1afa8510-4eed-4b73-a29e-678838cd8acd" providerId="ADAL" clId="{F3A22D4D-2B68-4909-BFE7-4E46D0708FA9}" dt="2023-05-03T13:23:15.130" v="2369" actId="164"/>
          <ac:spMkLst>
            <pc:docMk/>
            <pc:sldMk cId="2759541219" sldId="341"/>
            <ac:spMk id="7" creationId="{D8497947-78C1-DDA6-20BB-8C2CEB461B6A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15" creationId="{C6B3C1DA-9F5E-A108-5B4A-460BF38A793C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16" creationId="{8741F99D-AEC5-ADD5-3A3E-DB77EB4BAD3D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17" creationId="{B31EDDE0-E6EF-6539-D195-911C79FECFD9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18" creationId="{42F7DCAF-51B5-AD61-30C0-C94451260A72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19" creationId="{0824643F-DF98-9B10-8656-C0DC3A4122E7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20" creationId="{7866C736-7490-E435-C663-02D80D0A15DD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21" creationId="{578D6AFB-4455-A24C-1E7E-2DC11AB032D3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22" creationId="{355123E5-7B0A-EB43-5AD8-AAAF2A71FC51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23" creationId="{C35A0767-0C18-A9CE-A3C7-5C2FF52F0D76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24" creationId="{C59A2483-7398-9223-8903-107C9A90FFB4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25" creationId="{E5DD3B0E-9EC1-2F5B-3CBB-4AC592A4180E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26" creationId="{C5C20E5D-781D-C7CF-22CB-FD18C7C22389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27" creationId="{A3B81442-53F4-9B76-361F-4AB2DEC63D73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28" creationId="{FD5FEC1C-EB5C-1E47-D422-8C27192AB83F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29" creationId="{48349E2B-6098-B53E-A599-32CFB2DDB0A7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30" creationId="{B6E50D0F-4D3B-24F1-90E1-C99DC6705AF9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31" creationId="{31DC3225-60CA-129D-69FB-E34652B2E92F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32" creationId="{CF7BFA01-BA6C-2CBF-4481-EC2A4BA21CF2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33" creationId="{6A72529D-5A63-7709-0776-74EC3E8A6156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34" creationId="{D450C4D2-80FB-5ACC-BABD-64EF31BFD266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35" creationId="{E2462010-D2BE-6395-FB2F-E8A38B182690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36" creationId="{EE6AC3A2-597F-9DB4-0205-D3C2A9EB5935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37" creationId="{4DEC47B8-ABE3-3166-4D59-3EB8925EAB8C}"/>
          </ac:spMkLst>
        </pc:spChg>
        <pc:spChg chg="add del mod modVis">
          <ac:chgData name="Hans Gelissen (DHL SSC Maastricht)" userId="1afa8510-4eed-4b73-a29e-678838cd8acd" providerId="ADAL" clId="{F3A22D4D-2B68-4909-BFE7-4E46D0708FA9}" dt="2023-05-03T15:19:51.294" v="2740" actId="33935"/>
          <ac:spMkLst>
            <pc:docMk/>
            <pc:sldMk cId="2759541219" sldId="341"/>
            <ac:spMk id="38" creationId="{A48CD394-B741-DBE8-757D-9C90CA6AA1B9}"/>
          </ac:spMkLst>
        </pc:spChg>
        <pc:grpChg chg="add mod modVis">
          <ac:chgData name="Hans Gelissen (DHL SSC Maastricht)" userId="1afa8510-4eed-4b73-a29e-678838cd8acd" providerId="ADAL" clId="{F3A22D4D-2B68-4909-BFE7-4E46D0708FA9}" dt="2023-05-03T15:19:51.294" v="2740" actId="33935"/>
          <ac:grpSpMkLst>
            <pc:docMk/>
            <pc:sldMk cId="2759541219" sldId="341"/>
            <ac:grpSpMk id="14" creationId="{48E1C15A-DEEC-2019-5496-5A45819CAB20}"/>
          </ac:grpSpMkLst>
        </pc:grpChg>
        <pc:picChg chg="add del mod">
          <ac:chgData name="Hans Gelissen (DHL SSC Maastricht)" userId="1afa8510-4eed-4b73-a29e-678838cd8acd" providerId="ADAL" clId="{F3A22D4D-2B68-4909-BFE7-4E46D0708FA9}" dt="2023-05-03T11:04:43.420" v="1687" actId="478"/>
          <ac:picMkLst>
            <pc:docMk/>
            <pc:sldMk cId="2759541219" sldId="341"/>
            <ac:picMk id="4" creationId="{9B2314CA-E7E7-850A-DFE2-ED262F7337CC}"/>
          </ac:picMkLst>
        </pc:picChg>
        <pc:picChg chg="add mod">
          <ac:chgData name="Hans Gelissen (DHL SSC Maastricht)" userId="1afa8510-4eed-4b73-a29e-678838cd8acd" providerId="ADAL" clId="{F3A22D4D-2B68-4909-BFE7-4E46D0708FA9}" dt="2023-05-03T13:23:15.130" v="2369" actId="164"/>
          <ac:picMkLst>
            <pc:docMk/>
            <pc:sldMk cId="2759541219" sldId="341"/>
            <ac:picMk id="5" creationId="{B9397D70-2C3B-ADFC-0100-DE9530902AA3}"/>
          </ac:picMkLst>
        </pc:picChg>
        <pc:picChg chg="add mod">
          <ac:chgData name="Hans Gelissen (DHL SSC Maastricht)" userId="1afa8510-4eed-4b73-a29e-678838cd8acd" providerId="ADAL" clId="{F3A22D4D-2B68-4909-BFE7-4E46D0708FA9}" dt="2023-05-03T13:23:15.130" v="2369" actId="164"/>
          <ac:picMkLst>
            <pc:docMk/>
            <pc:sldMk cId="2759541219" sldId="341"/>
            <ac:picMk id="8" creationId="{26F73EEB-0B40-AB77-B164-17683A3262DF}"/>
          </ac:picMkLst>
        </pc:picChg>
        <pc:picChg chg="add mod">
          <ac:chgData name="Hans Gelissen (DHL SSC Maastricht)" userId="1afa8510-4eed-4b73-a29e-678838cd8acd" providerId="ADAL" clId="{F3A22D4D-2B68-4909-BFE7-4E46D0708FA9}" dt="2023-05-03T13:23:15.130" v="2369" actId="164"/>
          <ac:picMkLst>
            <pc:docMk/>
            <pc:sldMk cId="2759541219" sldId="341"/>
            <ac:picMk id="9" creationId="{7B77F6D4-3799-DCA6-F149-57D60615E5C1}"/>
          </ac:picMkLst>
        </pc:picChg>
        <pc:picChg chg="add del mod">
          <ac:chgData name="Hans Gelissen (DHL SSC Maastricht)" userId="1afa8510-4eed-4b73-a29e-678838cd8acd" providerId="ADAL" clId="{F3A22D4D-2B68-4909-BFE7-4E46D0708FA9}" dt="2023-05-03T13:02:07.334" v="2180" actId="478"/>
          <ac:picMkLst>
            <pc:docMk/>
            <pc:sldMk cId="2759541219" sldId="341"/>
            <ac:picMk id="11" creationId="{1C022037-FA21-90DC-F9E0-4BBD4162E963}"/>
          </ac:picMkLst>
        </pc:picChg>
        <pc:picChg chg="add mod ord modVis">
          <ac:chgData name="Hans Gelissen (DHL SSC Maastricht)" userId="1afa8510-4eed-4b73-a29e-678838cd8acd" providerId="ADAL" clId="{F3A22D4D-2B68-4909-BFE7-4E46D0708FA9}" dt="2023-05-03T15:19:47.891" v="2739" actId="14429"/>
          <ac:picMkLst>
            <pc:docMk/>
            <pc:sldMk cId="2759541219" sldId="341"/>
            <ac:picMk id="13" creationId="{093F3D05-E2D1-DFB9-681C-92FEE0DF27B5}"/>
          </ac:picMkLst>
        </pc:picChg>
        <pc:picChg chg="add del mod">
          <ac:chgData name="Hans Gelissen (DHL SSC Maastricht)" userId="1afa8510-4eed-4b73-a29e-678838cd8acd" providerId="ADAL" clId="{F3A22D4D-2B68-4909-BFE7-4E46D0708FA9}" dt="2023-05-03T13:06:58.827" v="2190" actId="478"/>
          <ac:picMkLst>
            <pc:docMk/>
            <pc:sldMk cId="2759541219" sldId="341"/>
            <ac:picMk id="4098" creationId="{3C0F6D75-D7D6-C556-E66D-1D8571A13F00}"/>
          </ac:picMkLst>
        </pc:picChg>
      </pc:sldChg>
      <pc:sldChg chg="addSp delSp modSp add mod ord modAnim">
        <pc:chgData name="Hans Gelissen (DHL SSC Maastricht)" userId="1afa8510-4eed-4b73-a29e-678838cd8acd" providerId="ADAL" clId="{F3A22D4D-2B68-4909-BFE7-4E46D0708FA9}" dt="2023-05-03T13:30:15.272" v="2461" actId="166"/>
        <pc:sldMkLst>
          <pc:docMk/>
          <pc:sldMk cId="2938399207" sldId="342"/>
        </pc:sldMkLst>
        <pc:spChg chg="del">
          <ac:chgData name="Hans Gelissen (DHL SSC Maastricht)" userId="1afa8510-4eed-4b73-a29e-678838cd8acd" providerId="ADAL" clId="{F3A22D4D-2B68-4909-BFE7-4E46D0708FA9}" dt="2023-05-03T13:07:39.058" v="2198" actId="478"/>
          <ac:spMkLst>
            <pc:docMk/>
            <pc:sldMk cId="2938399207" sldId="342"/>
            <ac:spMk id="2" creationId="{CED8FA4E-9F3D-3515-A91C-152714E7945B}"/>
          </ac:spMkLst>
        </pc:spChg>
        <pc:spChg chg="del">
          <ac:chgData name="Hans Gelissen (DHL SSC Maastricht)" userId="1afa8510-4eed-4b73-a29e-678838cd8acd" providerId="ADAL" clId="{F3A22D4D-2B68-4909-BFE7-4E46D0708FA9}" dt="2023-05-03T11:08:35.352" v="1716" actId="478"/>
          <ac:spMkLst>
            <pc:docMk/>
            <pc:sldMk cId="2938399207" sldId="342"/>
            <ac:spMk id="3" creationId="{537B9748-C629-C1D1-CB35-F4308E5E2DA7}"/>
          </ac:spMkLst>
        </pc:spChg>
        <pc:spChg chg="add mod">
          <ac:chgData name="Hans Gelissen (DHL SSC Maastricht)" userId="1afa8510-4eed-4b73-a29e-678838cd8acd" providerId="ADAL" clId="{F3A22D4D-2B68-4909-BFE7-4E46D0708FA9}" dt="2023-05-03T13:08:14.322" v="2201" actId="164"/>
          <ac:spMkLst>
            <pc:docMk/>
            <pc:sldMk cId="2938399207" sldId="342"/>
            <ac:spMk id="7" creationId="{9A5B6BBB-3E30-20D6-C085-308F320A7F03}"/>
          </ac:spMkLst>
        </pc:spChg>
        <pc:spChg chg="add mod">
          <ac:chgData name="Hans Gelissen (DHL SSC Maastricht)" userId="1afa8510-4eed-4b73-a29e-678838cd8acd" providerId="ADAL" clId="{F3A22D4D-2B68-4909-BFE7-4E46D0708FA9}" dt="2023-05-03T13:08:14.322" v="2201" actId="164"/>
          <ac:spMkLst>
            <pc:docMk/>
            <pc:sldMk cId="2938399207" sldId="342"/>
            <ac:spMk id="8" creationId="{970B3065-2B5A-6AF1-0677-F9DD1DF77988}"/>
          </ac:spMkLst>
        </pc:spChg>
        <pc:spChg chg="add del mod topLvl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10" creationId="{5F4270C4-B286-BB7D-909A-023422AA3FDA}"/>
          </ac:spMkLst>
        </pc:spChg>
        <pc:spChg chg="add mod topLvl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11" creationId="{1019A2DA-8047-05F0-2BCD-20EC262A9965}"/>
          </ac:spMkLst>
        </pc:spChg>
        <pc:spChg chg="add mod topLvl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12" creationId="{86E2952D-78C4-97DD-0E49-9E74C71F693E}"/>
          </ac:spMkLst>
        </pc:spChg>
        <pc:spChg chg="add mod topLvl">
          <ac:chgData name="Hans Gelissen (DHL SSC Maastricht)" userId="1afa8510-4eed-4b73-a29e-678838cd8acd" providerId="ADAL" clId="{F3A22D4D-2B68-4909-BFE7-4E46D0708FA9}" dt="2023-05-03T13:20:59.636" v="2341" actId="207"/>
          <ac:spMkLst>
            <pc:docMk/>
            <pc:sldMk cId="2938399207" sldId="342"/>
            <ac:spMk id="13" creationId="{0D8C0A95-47C8-9C50-AE76-2F3E7106C8DC}"/>
          </ac:spMkLst>
        </pc:spChg>
        <pc:spChg chg="add mod topLvl">
          <ac:chgData name="Hans Gelissen (DHL SSC Maastricht)" userId="1afa8510-4eed-4b73-a29e-678838cd8acd" providerId="ADAL" clId="{F3A22D4D-2B68-4909-BFE7-4E46D0708FA9}" dt="2023-05-03T13:21:12.722" v="2343" actId="207"/>
          <ac:spMkLst>
            <pc:docMk/>
            <pc:sldMk cId="2938399207" sldId="342"/>
            <ac:spMk id="14" creationId="{759F108B-52F4-1DA1-0D15-546F14BC631E}"/>
          </ac:spMkLst>
        </pc:spChg>
        <pc:spChg chg="add mod topLvl">
          <ac:chgData name="Hans Gelissen (DHL SSC Maastricht)" userId="1afa8510-4eed-4b73-a29e-678838cd8acd" providerId="ADAL" clId="{F3A22D4D-2B68-4909-BFE7-4E46D0708FA9}" dt="2023-05-03T13:21:15.497" v="2344" actId="207"/>
          <ac:spMkLst>
            <pc:docMk/>
            <pc:sldMk cId="2938399207" sldId="342"/>
            <ac:spMk id="15" creationId="{589BC16C-7779-638A-7A8D-3C8A93C85141}"/>
          </ac:spMkLst>
        </pc:spChg>
        <pc:spChg chg="add mod topLvl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17" creationId="{FDBA6122-985D-26DE-8B47-9FDE117594C6}"/>
          </ac:spMkLst>
        </pc:spChg>
        <pc:spChg chg="add mod topLvl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18" creationId="{B520DCD4-CC0A-C06B-0488-AC786288E292}"/>
          </ac:spMkLst>
        </pc:spChg>
        <pc:spChg chg="add mod topLvl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19" creationId="{A59A2750-8D38-AA0A-BCC7-2666D8F61756}"/>
          </ac:spMkLst>
        </pc:spChg>
        <pc:spChg chg="add mod">
          <ac:chgData name="Hans Gelissen (DHL SSC Maastricht)" userId="1afa8510-4eed-4b73-a29e-678838cd8acd" providerId="ADAL" clId="{F3A22D4D-2B68-4909-BFE7-4E46D0708FA9}" dt="2023-05-03T13:13:50.398" v="2266" actId="571"/>
          <ac:spMkLst>
            <pc:docMk/>
            <pc:sldMk cId="2938399207" sldId="342"/>
            <ac:spMk id="20" creationId="{8A560C11-18D7-7511-3F46-653AD1960F08}"/>
          </ac:spMkLst>
        </pc:spChg>
        <pc:spChg chg="add mod">
          <ac:chgData name="Hans Gelissen (DHL SSC Maastricht)" userId="1afa8510-4eed-4b73-a29e-678838cd8acd" providerId="ADAL" clId="{F3A22D4D-2B68-4909-BFE7-4E46D0708FA9}" dt="2023-05-03T13:13:50.398" v="2266" actId="571"/>
          <ac:spMkLst>
            <pc:docMk/>
            <pc:sldMk cId="2938399207" sldId="342"/>
            <ac:spMk id="21" creationId="{21455980-A539-D5F9-AC67-A07D7EDAF51D}"/>
          </ac:spMkLst>
        </pc:spChg>
        <pc:spChg chg="add mod">
          <ac:chgData name="Hans Gelissen (DHL SSC Maastricht)" userId="1afa8510-4eed-4b73-a29e-678838cd8acd" providerId="ADAL" clId="{F3A22D4D-2B68-4909-BFE7-4E46D0708FA9}" dt="2023-05-03T13:13:50.398" v="2266" actId="571"/>
          <ac:spMkLst>
            <pc:docMk/>
            <pc:sldMk cId="2938399207" sldId="342"/>
            <ac:spMk id="22" creationId="{AB728626-9EBC-5AC2-0BED-7FE1DB478F01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24" creationId="{EC5BB199-64F7-D160-0909-7706E44D588F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25" creationId="{56ECA9BC-0AEA-A0A3-3E9C-AA305D22839A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26" creationId="{4F1049D2-9FD3-7020-81D0-1E00D4CD4B58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27" creationId="{5056FFEF-07A4-5C96-7E7F-51D9F513F0AE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28" creationId="{D388A67E-9C0B-FBBF-8D79-65A01018A4D8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29" creationId="{F9B98177-BFD9-6486-34C6-3837D4BC3065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30" creationId="{2674A624-7F38-CA92-BFD9-C0553DA7F1AD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31" creationId="{7E00CEF4-A547-ACDC-54F2-7C26B28B1672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32" creationId="{A141749C-D3D3-DE9B-BF5A-CEF2C343479C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33" creationId="{0E50BBE5-328E-38DD-4DD3-ABC1653F2BF8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34" creationId="{B367594F-10FF-975A-E74D-E37279A02325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35" creationId="{81474695-7229-AAA9-C32C-DFE1322D17AB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36" creationId="{157F4B9C-8409-7CAD-00DF-2041C2968D85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37" creationId="{A423AAA4-DAEA-9F65-6BC0-2F7B393092FD}"/>
          </ac:spMkLst>
        </pc:spChg>
        <pc:spChg chg="add mod">
          <ac:chgData name="Hans Gelissen (DHL SSC Maastricht)" userId="1afa8510-4eed-4b73-a29e-678838cd8acd" providerId="ADAL" clId="{F3A22D4D-2B68-4909-BFE7-4E46D0708FA9}" dt="2023-05-03T13:21:37.852" v="2348" actId="207"/>
          <ac:spMkLst>
            <pc:docMk/>
            <pc:sldMk cId="2938399207" sldId="342"/>
            <ac:spMk id="38" creationId="{F3B2155D-5635-6F05-0EE1-883BFCD16800}"/>
          </ac:spMkLst>
        </pc:spChg>
        <pc:grpChg chg="add mod">
          <ac:chgData name="Hans Gelissen (DHL SSC Maastricht)" userId="1afa8510-4eed-4b73-a29e-678838cd8acd" providerId="ADAL" clId="{F3A22D4D-2B68-4909-BFE7-4E46D0708FA9}" dt="2023-05-03T13:30:15.272" v="2461" actId="166"/>
          <ac:grpSpMkLst>
            <pc:docMk/>
            <pc:sldMk cId="2938399207" sldId="342"/>
            <ac:grpSpMk id="9" creationId="{DB7EA92A-76F9-FC68-F257-71A591F72011}"/>
          </ac:grpSpMkLst>
        </pc:grpChg>
        <pc:grpChg chg="add del mod">
          <ac:chgData name="Hans Gelissen (DHL SSC Maastricht)" userId="1afa8510-4eed-4b73-a29e-678838cd8acd" providerId="ADAL" clId="{F3A22D4D-2B68-4909-BFE7-4E46D0708FA9}" dt="2023-05-03T13:13:07.383" v="2253" actId="165"/>
          <ac:grpSpMkLst>
            <pc:docMk/>
            <pc:sldMk cId="2938399207" sldId="342"/>
            <ac:grpSpMk id="16" creationId="{91348115-E468-D352-0776-C68F95774241}"/>
          </ac:grpSpMkLst>
        </pc:grpChg>
        <pc:grpChg chg="add del mod">
          <ac:chgData name="Hans Gelissen (DHL SSC Maastricht)" userId="1afa8510-4eed-4b73-a29e-678838cd8acd" providerId="ADAL" clId="{F3A22D4D-2B68-4909-BFE7-4E46D0708FA9}" dt="2023-05-03T13:14:49.178" v="2289" actId="165"/>
          <ac:grpSpMkLst>
            <pc:docMk/>
            <pc:sldMk cId="2938399207" sldId="342"/>
            <ac:grpSpMk id="23" creationId="{BBCC84D0-3200-1B09-9014-1D698896F876}"/>
          </ac:grpSpMkLst>
        </pc:grpChg>
        <pc:picChg chg="add mod">
          <ac:chgData name="Hans Gelissen (DHL SSC Maastricht)" userId="1afa8510-4eed-4b73-a29e-678838cd8acd" providerId="ADAL" clId="{F3A22D4D-2B68-4909-BFE7-4E46D0708FA9}" dt="2023-05-03T13:08:14.322" v="2201" actId="164"/>
          <ac:picMkLst>
            <pc:docMk/>
            <pc:sldMk cId="2938399207" sldId="342"/>
            <ac:picMk id="4" creationId="{3C857CFE-C48B-0DED-4E69-E92A3C913DD5}"/>
          </ac:picMkLst>
        </pc:picChg>
        <pc:picChg chg="add mod">
          <ac:chgData name="Hans Gelissen (DHL SSC Maastricht)" userId="1afa8510-4eed-4b73-a29e-678838cd8acd" providerId="ADAL" clId="{F3A22D4D-2B68-4909-BFE7-4E46D0708FA9}" dt="2023-05-03T13:08:14.322" v="2201" actId="164"/>
          <ac:picMkLst>
            <pc:docMk/>
            <pc:sldMk cId="2938399207" sldId="342"/>
            <ac:picMk id="5" creationId="{E1F7E2C5-7E79-0DF7-7C35-778E5468C921}"/>
          </ac:picMkLst>
        </pc:picChg>
        <pc:picChg chg="add mod">
          <ac:chgData name="Hans Gelissen (DHL SSC Maastricht)" userId="1afa8510-4eed-4b73-a29e-678838cd8acd" providerId="ADAL" clId="{F3A22D4D-2B68-4909-BFE7-4E46D0708FA9}" dt="2023-05-03T13:08:14.322" v="2201" actId="164"/>
          <ac:picMkLst>
            <pc:docMk/>
            <pc:sldMk cId="2938399207" sldId="342"/>
            <ac:picMk id="6" creationId="{21B7F25D-556F-623C-A95A-783D609D0296}"/>
          </ac:picMkLst>
        </pc:picChg>
        <pc:picChg chg="add mod">
          <ac:chgData name="Hans Gelissen (DHL SSC Maastricht)" userId="1afa8510-4eed-4b73-a29e-678838cd8acd" providerId="ADAL" clId="{F3A22D4D-2B68-4909-BFE7-4E46D0708FA9}" dt="2023-05-03T13:10:52.511" v="2216" actId="1076"/>
          <ac:picMkLst>
            <pc:docMk/>
            <pc:sldMk cId="2938399207" sldId="342"/>
            <ac:picMk id="3074" creationId="{932072BB-EA2E-B912-04DA-139B88F27F94}"/>
          </ac:picMkLst>
        </pc:picChg>
      </pc:sldChg>
      <pc:sldChg chg="addSp delSp modSp add mod ord modAnim">
        <pc:chgData name="Hans Gelissen (DHL SSC Maastricht)" userId="1afa8510-4eed-4b73-a29e-678838cd8acd" providerId="ADAL" clId="{F3A22D4D-2B68-4909-BFE7-4E46D0708FA9}" dt="2023-05-03T14:48:06.513" v="2464"/>
        <pc:sldMkLst>
          <pc:docMk/>
          <pc:sldMk cId="2395509510" sldId="343"/>
        </pc:sldMkLst>
        <pc:spChg chg="del">
          <ac:chgData name="Hans Gelissen (DHL SSC Maastricht)" userId="1afa8510-4eed-4b73-a29e-678838cd8acd" providerId="ADAL" clId="{F3A22D4D-2B68-4909-BFE7-4E46D0708FA9}" dt="2023-05-03T13:07:43.795" v="2199" actId="478"/>
          <ac:spMkLst>
            <pc:docMk/>
            <pc:sldMk cId="2395509510" sldId="343"/>
            <ac:spMk id="2" creationId="{CED8FA4E-9F3D-3515-A91C-152714E7945B}"/>
          </ac:spMkLst>
        </pc:spChg>
        <pc:spChg chg="del">
          <ac:chgData name="Hans Gelissen (DHL SSC Maastricht)" userId="1afa8510-4eed-4b73-a29e-678838cd8acd" providerId="ADAL" clId="{F3A22D4D-2B68-4909-BFE7-4E46D0708FA9}" dt="2023-05-03T11:10:31.633" v="1734" actId="478"/>
          <ac:spMkLst>
            <pc:docMk/>
            <pc:sldMk cId="2395509510" sldId="343"/>
            <ac:spMk id="3" creationId="{537B9748-C629-C1D1-CB35-F4308E5E2DA7}"/>
          </ac:spMkLst>
        </pc:spChg>
        <pc:spChg chg="add del mod">
          <ac:chgData name="Hans Gelissen (DHL SSC Maastricht)" userId="1afa8510-4eed-4b73-a29e-678838cd8acd" providerId="ADAL" clId="{F3A22D4D-2B68-4909-BFE7-4E46D0708FA9}" dt="2023-05-03T12:20:43.332" v="1853" actId="478"/>
          <ac:spMkLst>
            <pc:docMk/>
            <pc:sldMk cId="2395509510" sldId="343"/>
            <ac:spMk id="7" creationId="{0B7A118D-BE02-F059-9645-3CA182F81041}"/>
          </ac:spMkLst>
        </pc:spChg>
        <pc:spChg chg="add del mod">
          <ac:chgData name="Hans Gelissen (DHL SSC Maastricht)" userId="1afa8510-4eed-4b73-a29e-678838cd8acd" providerId="ADAL" clId="{F3A22D4D-2B68-4909-BFE7-4E46D0708FA9}" dt="2023-05-03T12:20:43.332" v="1853" actId="478"/>
          <ac:spMkLst>
            <pc:docMk/>
            <pc:sldMk cId="2395509510" sldId="343"/>
            <ac:spMk id="8" creationId="{28C3B4A7-2E66-346D-C0C6-14672C066DC9}"/>
          </ac:spMkLst>
        </pc:spChg>
        <pc:spChg chg="add mod">
          <ac:chgData name="Hans Gelissen (DHL SSC Maastricht)" userId="1afa8510-4eed-4b73-a29e-678838cd8acd" providerId="ADAL" clId="{F3A22D4D-2B68-4909-BFE7-4E46D0708FA9}" dt="2023-05-03T13:26:12.146" v="2404" actId="164"/>
          <ac:spMkLst>
            <pc:docMk/>
            <pc:sldMk cId="2395509510" sldId="343"/>
            <ac:spMk id="11" creationId="{9109F4C6-9E1D-4FB8-F8D7-BCB035EA756B}"/>
          </ac:spMkLst>
        </pc:spChg>
        <pc:spChg chg="add mod">
          <ac:chgData name="Hans Gelissen (DHL SSC Maastricht)" userId="1afa8510-4eed-4b73-a29e-678838cd8acd" providerId="ADAL" clId="{F3A22D4D-2B68-4909-BFE7-4E46D0708FA9}" dt="2023-05-03T13:26:12.146" v="2404" actId="164"/>
          <ac:spMkLst>
            <pc:docMk/>
            <pc:sldMk cId="2395509510" sldId="343"/>
            <ac:spMk id="12" creationId="{2290B589-B279-CFDD-AD81-3C3E01FA416D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14" creationId="{768CB8A0-75B6-FEAC-E8B7-C55F0352377D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15" creationId="{F7F5AF3B-EA97-CAE2-37E9-0E5E37601BBC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16" creationId="{2A505A6E-AB24-415B-6CFE-23B212E4D33F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17" creationId="{6F43281D-16C3-4C4E-B15A-E3DE8FEA9C29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18" creationId="{9610B621-0FE7-A2E9-5031-F50289764B5D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19" creationId="{96676BFB-2D25-D329-34FF-A72A00298404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20" creationId="{1F09ED94-4094-AAA2-F5AE-928C17E98F5D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21" creationId="{0A03E7F8-FF16-4763-3D82-C3099BA4E243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22" creationId="{F5F43C44-4873-FEFC-2C51-E372185B3871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23" creationId="{B1FC6998-5CE1-2144-D45D-DD67D1FD6382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24" creationId="{5DD262EB-357A-3D7F-5BAE-FF7BC00EBA79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25" creationId="{60A06AF6-0BBC-BB2C-35FF-894CB61EA603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26" creationId="{DD8CEF81-8CDA-3CAD-C1E3-17B77AB36165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27" creationId="{2C5013BD-8C3B-5DD4-7AAB-D20C855FABDF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28" creationId="{51E72BFD-5EF1-B321-89A0-E0781F06A06A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29" creationId="{E784400F-D081-8CB4-6FD2-DC7424F313FB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30" creationId="{4AA24B5D-0160-AEC6-9FBB-050EDB5055C9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31" creationId="{7405FED3-DDBF-C7EE-A2CD-2BA5608A35ED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32" creationId="{EE1C7723-27D1-1134-3617-6EAD4D864345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33" creationId="{23207528-9945-897A-26D9-17547CBFCBAF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34" creationId="{FAE42A65-8AFB-F9C9-3AC7-5ED97EC4CB64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35" creationId="{A7CB4975-476F-9B72-4F17-3F825F15FBB8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36" creationId="{1970068C-8C8C-6407-D032-167CAA778C6D}"/>
          </ac:spMkLst>
        </pc:spChg>
        <pc:spChg chg="add mod">
          <ac:chgData name="Hans Gelissen (DHL SSC Maastricht)" userId="1afa8510-4eed-4b73-a29e-678838cd8acd" providerId="ADAL" clId="{F3A22D4D-2B68-4909-BFE7-4E46D0708FA9}" dt="2023-05-03T13:26:22.127" v="2405"/>
          <ac:spMkLst>
            <pc:docMk/>
            <pc:sldMk cId="2395509510" sldId="343"/>
            <ac:spMk id="37" creationId="{8D41ED5A-B12C-7E5A-1AA9-CDCA6753261A}"/>
          </ac:spMkLst>
        </pc:spChg>
        <pc:grpChg chg="add mod">
          <ac:chgData name="Hans Gelissen (DHL SSC Maastricht)" userId="1afa8510-4eed-4b73-a29e-678838cd8acd" providerId="ADAL" clId="{F3A22D4D-2B68-4909-BFE7-4E46D0708FA9}" dt="2023-05-03T13:30:19.864" v="2462" actId="166"/>
          <ac:grpSpMkLst>
            <pc:docMk/>
            <pc:sldMk cId="2395509510" sldId="343"/>
            <ac:grpSpMk id="13" creationId="{D8562AF7-D501-B9C0-4622-5DD4B30B57FD}"/>
          </ac:grpSpMkLst>
        </pc:grpChg>
        <pc:picChg chg="add del mod">
          <ac:chgData name="Hans Gelissen (DHL SSC Maastricht)" userId="1afa8510-4eed-4b73-a29e-678838cd8acd" providerId="ADAL" clId="{F3A22D4D-2B68-4909-BFE7-4E46D0708FA9}" dt="2023-05-03T11:12:57.299" v="1751" actId="478"/>
          <ac:picMkLst>
            <pc:docMk/>
            <pc:sldMk cId="2395509510" sldId="343"/>
            <ac:picMk id="4" creationId="{FA4048BD-3DA9-1359-9BAC-902725DD7DC6}"/>
          </ac:picMkLst>
        </pc:picChg>
        <pc:picChg chg="add mod">
          <ac:chgData name="Hans Gelissen (DHL SSC Maastricht)" userId="1afa8510-4eed-4b73-a29e-678838cd8acd" providerId="ADAL" clId="{F3A22D4D-2B68-4909-BFE7-4E46D0708FA9}" dt="2023-05-03T13:26:12.146" v="2404" actId="164"/>
          <ac:picMkLst>
            <pc:docMk/>
            <pc:sldMk cId="2395509510" sldId="343"/>
            <ac:picMk id="5" creationId="{350AD50B-C228-4124-A197-E243F5E3482D}"/>
          </ac:picMkLst>
        </pc:picChg>
        <pc:picChg chg="add mod">
          <ac:chgData name="Hans Gelissen (DHL SSC Maastricht)" userId="1afa8510-4eed-4b73-a29e-678838cd8acd" providerId="ADAL" clId="{F3A22D4D-2B68-4909-BFE7-4E46D0708FA9}" dt="2023-05-03T13:26:12.146" v="2404" actId="164"/>
          <ac:picMkLst>
            <pc:docMk/>
            <pc:sldMk cId="2395509510" sldId="343"/>
            <ac:picMk id="6" creationId="{1F5A21D1-EBEF-E485-7AED-8D2A5D1428C7}"/>
          </ac:picMkLst>
        </pc:picChg>
        <pc:picChg chg="add del mod">
          <ac:chgData name="Hans Gelissen (DHL SSC Maastricht)" userId="1afa8510-4eed-4b73-a29e-678838cd8acd" providerId="ADAL" clId="{F3A22D4D-2B68-4909-BFE7-4E46D0708FA9}" dt="2023-05-03T12:20:43.332" v="1853" actId="478"/>
          <ac:picMkLst>
            <pc:docMk/>
            <pc:sldMk cId="2395509510" sldId="343"/>
            <ac:picMk id="9" creationId="{27B4D9F5-D09A-7517-6CF7-6E5B08BC0B41}"/>
          </ac:picMkLst>
        </pc:picChg>
        <pc:picChg chg="add mod">
          <ac:chgData name="Hans Gelissen (DHL SSC Maastricht)" userId="1afa8510-4eed-4b73-a29e-678838cd8acd" providerId="ADAL" clId="{F3A22D4D-2B68-4909-BFE7-4E46D0708FA9}" dt="2023-05-03T13:26:12.146" v="2404" actId="164"/>
          <ac:picMkLst>
            <pc:docMk/>
            <pc:sldMk cId="2395509510" sldId="343"/>
            <ac:picMk id="10" creationId="{559253EF-4AE3-5FC1-3302-D52452BABECB}"/>
          </ac:picMkLst>
        </pc:picChg>
        <pc:picChg chg="add mod">
          <ac:chgData name="Hans Gelissen (DHL SSC Maastricht)" userId="1afa8510-4eed-4b73-a29e-678838cd8acd" providerId="ADAL" clId="{F3A22D4D-2B68-4909-BFE7-4E46D0708FA9}" dt="2023-05-03T11:11:37.784" v="1736" actId="167"/>
          <ac:picMkLst>
            <pc:docMk/>
            <pc:sldMk cId="2395509510" sldId="343"/>
            <ac:picMk id="2050" creationId="{2A9697F1-4140-A720-45C1-E7A0E36ECEFE}"/>
          </ac:picMkLst>
        </pc:picChg>
      </pc:sldChg>
      <pc:sldChg chg="addSp delSp modSp add del mod ord">
        <pc:chgData name="Hans Gelissen (DHL SSC Maastricht)" userId="1afa8510-4eed-4b73-a29e-678838cd8acd" providerId="ADAL" clId="{F3A22D4D-2B68-4909-BFE7-4E46D0708FA9}" dt="2023-05-03T12:20:29.080" v="1852" actId="47"/>
        <pc:sldMkLst>
          <pc:docMk/>
          <pc:sldMk cId="2473440397" sldId="344"/>
        </pc:sldMkLst>
        <pc:spChg chg="del">
          <ac:chgData name="Hans Gelissen (DHL SSC Maastricht)" userId="1afa8510-4eed-4b73-a29e-678838cd8acd" providerId="ADAL" clId="{F3A22D4D-2B68-4909-BFE7-4E46D0708FA9}" dt="2023-05-03T12:12:28.305" v="1775" actId="478"/>
          <ac:spMkLst>
            <pc:docMk/>
            <pc:sldMk cId="2473440397" sldId="344"/>
            <ac:spMk id="3" creationId="{537B9748-C629-C1D1-CB35-F4308E5E2DA7}"/>
          </ac:spMkLst>
        </pc:spChg>
        <pc:spChg chg="add mod">
          <ac:chgData name="Hans Gelissen (DHL SSC Maastricht)" userId="1afa8510-4eed-4b73-a29e-678838cd8acd" providerId="ADAL" clId="{F3A22D4D-2B68-4909-BFE7-4E46D0708FA9}" dt="2023-05-03T12:13:53.826" v="1787" actId="14100"/>
          <ac:spMkLst>
            <pc:docMk/>
            <pc:sldMk cId="2473440397" sldId="344"/>
            <ac:spMk id="7" creationId="{925CDF90-0BF5-1753-D422-CDE40D069EF0}"/>
          </ac:spMkLst>
        </pc:spChg>
        <pc:spChg chg="add mod">
          <ac:chgData name="Hans Gelissen (DHL SSC Maastricht)" userId="1afa8510-4eed-4b73-a29e-678838cd8acd" providerId="ADAL" clId="{F3A22D4D-2B68-4909-BFE7-4E46D0708FA9}" dt="2023-05-03T12:13:59.979" v="1792" actId="1038"/>
          <ac:spMkLst>
            <pc:docMk/>
            <pc:sldMk cId="2473440397" sldId="344"/>
            <ac:spMk id="8" creationId="{DFF48CFA-B517-0CE6-F54C-F7D92E73FC94}"/>
          </ac:spMkLst>
        </pc:spChg>
        <pc:picChg chg="add mod">
          <ac:chgData name="Hans Gelissen (DHL SSC Maastricht)" userId="1afa8510-4eed-4b73-a29e-678838cd8acd" providerId="ADAL" clId="{F3A22D4D-2B68-4909-BFE7-4E46D0708FA9}" dt="2023-05-03T12:13:43.108" v="1785" actId="688"/>
          <ac:picMkLst>
            <pc:docMk/>
            <pc:sldMk cId="2473440397" sldId="344"/>
            <ac:picMk id="4" creationId="{53FBA7DA-F063-6AAB-AE47-C23E068E4AE0}"/>
          </ac:picMkLst>
        </pc:picChg>
        <pc:picChg chg="add mod">
          <ac:chgData name="Hans Gelissen (DHL SSC Maastricht)" userId="1afa8510-4eed-4b73-a29e-678838cd8acd" providerId="ADAL" clId="{F3A22D4D-2B68-4909-BFE7-4E46D0708FA9}" dt="2023-05-03T12:13:29.463" v="1783"/>
          <ac:picMkLst>
            <pc:docMk/>
            <pc:sldMk cId="2473440397" sldId="344"/>
            <ac:picMk id="5" creationId="{3E754992-DC85-4285-9AB5-832B43B40A19}"/>
          </ac:picMkLst>
        </pc:picChg>
        <pc:picChg chg="add mod">
          <ac:chgData name="Hans Gelissen (DHL SSC Maastricht)" userId="1afa8510-4eed-4b73-a29e-678838cd8acd" providerId="ADAL" clId="{F3A22D4D-2B68-4909-BFE7-4E46D0708FA9}" dt="2023-05-03T12:13:29.463" v="1783"/>
          <ac:picMkLst>
            <pc:docMk/>
            <pc:sldMk cId="2473440397" sldId="344"/>
            <ac:picMk id="6" creationId="{24A055E6-1F81-8B88-90C8-DD500AC05371}"/>
          </ac:picMkLst>
        </pc:picChg>
        <pc:picChg chg="add mod">
          <ac:chgData name="Hans Gelissen (DHL SSC Maastricht)" userId="1afa8510-4eed-4b73-a29e-678838cd8acd" providerId="ADAL" clId="{F3A22D4D-2B68-4909-BFE7-4E46D0708FA9}" dt="2023-05-03T12:13:13.859" v="1782" actId="167"/>
          <ac:picMkLst>
            <pc:docMk/>
            <pc:sldMk cId="2473440397" sldId="344"/>
            <ac:picMk id="5122" creationId="{58BA5BE9-4F24-5C54-2BC9-40D36956162A}"/>
          </ac:picMkLst>
        </pc:picChg>
      </pc:sldChg>
      <pc:sldChg chg="addSp delSp modSp add mod modClrScheme chgLayout">
        <pc:chgData name="Hans Gelissen (DHL SSC Maastricht)" userId="1afa8510-4eed-4b73-a29e-678838cd8acd" providerId="ADAL" clId="{F3A22D4D-2B68-4909-BFE7-4E46D0708FA9}" dt="2023-05-08T08:46:33.191" v="7657" actId="1076"/>
        <pc:sldMkLst>
          <pc:docMk/>
          <pc:sldMk cId="2147348872" sldId="345"/>
        </pc:sldMkLst>
        <pc:spChg chg="mod ord">
          <ac:chgData name="Hans Gelissen (DHL SSC Maastricht)" userId="1afa8510-4eed-4b73-a29e-678838cd8acd" providerId="ADAL" clId="{F3A22D4D-2B68-4909-BFE7-4E46D0708FA9}" dt="2023-05-03T15:40:45.362" v="2995" actId="20577"/>
          <ac:spMkLst>
            <pc:docMk/>
            <pc:sldMk cId="2147348872" sldId="345"/>
            <ac:spMk id="2" creationId="{CED8FA4E-9F3D-3515-A91C-152714E7945B}"/>
          </ac:spMkLst>
        </pc:spChg>
        <pc:spChg chg="del">
          <ac:chgData name="Hans Gelissen (DHL SSC Maastricht)" userId="1afa8510-4eed-4b73-a29e-678838cd8acd" providerId="ADAL" clId="{F3A22D4D-2B68-4909-BFE7-4E46D0708FA9}" dt="2023-05-03T12:30:37.090" v="1962" actId="478"/>
          <ac:spMkLst>
            <pc:docMk/>
            <pc:sldMk cId="2147348872" sldId="345"/>
            <ac:spMk id="5" creationId="{631016D8-01B5-A142-74F1-AE0DB20ED50C}"/>
          </ac:spMkLst>
        </pc:spChg>
        <pc:spChg chg="add del mod ord">
          <ac:chgData name="Hans Gelissen (DHL SSC Maastricht)" userId="1afa8510-4eed-4b73-a29e-678838cd8acd" providerId="ADAL" clId="{F3A22D4D-2B68-4909-BFE7-4E46D0708FA9}" dt="2023-05-03T12:38:24.584" v="1987" actId="478"/>
          <ac:spMkLst>
            <pc:docMk/>
            <pc:sldMk cId="2147348872" sldId="345"/>
            <ac:spMk id="17" creationId="{E369AD70-1748-F8BF-F052-743BA3A43189}"/>
          </ac:spMkLst>
        </pc:spChg>
        <pc:spChg chg="add del">
          <ac:chgData name="Hans Gelissen (DHL SSC Maastricht)" userId="1afa8510-4eed-4b73-a29e-678838cd8acd" providerId="ADAL" clId="{F3A22D4D-2B68-4909-BFE7-4E46D0708FA9}" dt="2023-05-03T12:43:36.928" v="2019" actId="478"/>
          <ac:spMkLst>
            <pc:docMk/>
            <pc:sldMk cId="2147348872" sldId="345"/>
            <ac:spMk id="18" creationId="{AD3B3C1E-8F3C-60B5-A5B4-1B87B03B2C54}"/>
          </ac:spMkLst>
        </pc:spChg>
        <pc:spChg chg="add mod">
          <ac:chgData name="Hans Gelissen (DHL SSC Maastricht)" userId="1afa8510-4eed-4b73-a29e-678838cd8acd" providerId="ADAL" clId="{F3A22D4D-2B68-4909-BFE7-4E46D0708FA9}" dt="2023-05-03T12:51:47.472" v="2120" actId="1035"/>
          <ac:spMkLst>
            <pc:docMk/>
            <pc:sldMk cId="2147348872" sldId="345"/>
            <ac:spMk id="19" creationId="{A57E3ED5-D5A1-FFF1-A25F-978269D08698}"/>
          </ac:spMkLst>
        </pc:spChg>
        <pc:spChg chg="add mod">
          <ac:chgData name="Hans Gelissen (DHL SSC Maastricht)" userId="1afa8510-4eed-4b73-a29e-678838cd8acd" providerId="ADAL" clId="{F3A22D4D-2B68-4909-BFE7-4E46D0708FA9}" dt="2023-05-03T12:52:29.629" v="2128" actId="1076"/>
          <ac:spMkLst>
            <pc:docMk/>
            <pc:sldMk cId="2147348872" sldId="345"/>
            <ac:spMk id="20" creationId="{053C3D55-C8DB-9FDC-36E1-F49AF63AB6BB}"/>
          </ac:spMkLst>
        </pc:spChg>
        <pc:spChg chg="add mod">
          <ac:chgData name="Hans Gelissen (DHL SSC Maastricht)" userId="1afa8510-4eed-4b73-a29e-678838cd8acd" providerId="ADAL" clId="{F3A22D4D-2B68-4909-BFE7-4E46D0708FA9}" dt="2023-05-03T12:52:26.925" v="2127" actId="1076"/>
          <ac:spMkLst>
            <pc:docMk/>
            <pc:sldMk cId="2147348872" sldId="345"/>
            <ac:spMk id="21" creationId="{8685E1F8-1AA2-FEF3-170C-5D36DA7A5652}"/>
          </ac:spMkLst>
        </pc:spChg>
        <pc:spChg chg="add mod">
          <ac:chgData name="Hans Gelissen (DHL SSC Maastricht)" userId="1afa8510-4eed-4b73-a29e-678838cd8acd" providerId="ADAL" clId="{F3A22D4D-2B68-4909-BFE7-4E46D0708FA9}" dt="2023-05-03T12:52:06.613" v="2123" actId="1076"/>
          <ac:spMkLst>
            <pc:docMk/>
            <pc:sldMk cId="2147348872" sldId="345"/>
            <ac:spMk id="22" creationId="{C4A58A25-1FCB-74EC-D355-86C33B324666}"/>
          </ac:spMkLst>
        </pc:spChg>
        <pc:spChg chg="add mod">
          <ac:chgData name="Hans Gelissen (DHL SSC Maastricht)" userId="1afa8510-4eed-4b73-a29e-678838cd8acd" providerId="ADAL" clId="{F3A22D4D-2B68-4909-BFE7-4E46D0708FA9}" dt="2023-05-03T12:53:11.659" v="2135" actId="206"/>
          <ac:spMkLst>
            <pc:docMk/>
            <pc:sldMk cId="2147348872" sldId="345"/>
            <ac:spMk id="23" creationId="{332FD99B-0BB0-82FA-42CB-14E6D1342E00}"/>
          </ac:spMkLst>
        </pc:spChg>
        <pc:spChg chg="add mod">
          <ac:chgData name="Hans Gelissen (DHL SSC Maastricht)" userId="1afa8510-4eed-4b73-a29e-678838cd8acd" providerId="ADAL" clId="{F3A22D4D-2B68-4909-BFE7-4E46D0708FA9}" dt="2023-05-03T12:51:47.472" v="2120" actId="1035"/>
          <ac:spMkLst>
            <pc:docMk/>
            <pc:sldMk cId="2147348872" sldId="345"/>
            <ac:spMk id="24" creationId="{E4D1F5AF-F1CC-77C2-F476-22C8AC0BA369}"/>
          </ac:spMkLst>
        </pc:spChg>
        <pc:spChg chg="add mod">
          <ac:chgData name="Hans Gelissen (DHL SSC Maastricht)" userId="1afa8510-4eed-4b73-a29e-678838cd8acd" providerId="ADAL" clId="{F3A22D4D-2B68-4909-BFE7-4E46D0708FA9}" dt="2023-05-03T12:52:02.684" v="2122" actId="1076"/>
          <ac:spMkLst>
            <pc:docMk/>
            <pc:sldMk cId="2147348872" sldId="345"/>
            <ac:spMk id="25" creationId="{9190A527-AFC2-63B4-B954-E27A3E068620}"/>
          </ac:spMkLst>
        </pc:spChg>
        <pc:spChg chg="add mod">
          <ac:chgData name="Hans Gelissen (DHL SSC Maastricht)" userId="1afa8510-4eed-4b73-a29e-678838cd8acd" providerId="ADAL" clId="{F3A22D4D-2B68-4909-BFE7-4E46D0708FA9}" dt="2023-05-03T12:52:09.428" v="2124" actId="1076"/>
          <ac:spMkLst>
            <pc:docMk/>
            <pc:sldMk cId="2147348872" sldId="345"/>
            <ac:spMk id="26" creationId="{EFA8A056-E827-FC54-CF30-D4453603FFA9}"/>
          </ac:spMkLst>
        </pc:spChg>
        <pc:spChg chg="add mod">
          <ac:chgData name="Hans Gelissen (DHL SSC Maastricht)" userId="1afa8510-4eed-4b73-a29e-678838cd8acd" providerId="ADAL" clId="{F3A22D4D-2B68-4909-BFE7-4E46D0708FA9}" dt="2023-05-03T12:51:47.472" v="2120" actId="1035"/>
          <ac:spMkLst>
            <pc:docMk/>
            <pc:sldMk cId="2147348872" sldId="345"/>
            <ac:spMk id="27" creationId="{8428F76A-ABE0-B98B-009F-F09AA7420BB3}"/>
          </ac:spMkLst>
        </pc:spChg>
        <pc:graphicFrameChg chg="del">
          <ac:chgData name="Hans Gelissen (DHL SSC Maastricht)" userId="1afa8510-4eed-4b73-a29e-678838cd8acd" providerId="ADAL" clId="{F3A22D4D-2B68-4909-BFE7-4E46D0708FA9}" dt="2023-05-03T12:30:34.528" v="1961" actId="478"/>
          <ac:graphicFrameMkLst>
            <pc:docMk/>
            <pc:sldMk cId="2147348872" sldId="345"/>
            <ac:graphicFrameMk id="7" creationId="{AF1B7E55-F0C3-6457-723D-2F67DD32ED5E}"/>
          </ac:graphicFrameMkLst>
        </pc:graphicFrameChg>
        <pc:picChg chg="add mod ord">
          <ac:chgData name="Hans Gelissen (DHL SSC Maastricht)" userId="1afa8510-4eed-4b73-a29e-678838cd8acd" providerId="ADAL" clId="{F3A22D4D-2B68-4909-BFE7-4E46D0708FA9}" dt="2023-05-08T08:46:10.952" v="7651" actId="166"/>
          <ac:picMkLst>
            <pc:docMk/>
            <pc:sldMk cId="2147348872" sldId="345"/>
            <ac:picMk id="3" creationId="{58FA0815-A55B-E199-113D-B737B72FBFD5}"/>
          </ac:picMkLst>
        </pc:picChg>
        <pc:picChg chg="mod">
          <ac:chgData name="Hans Gelissen (DHL SSC Maastricht)" userId="1afa8510-4eed-4b73-a29e-678838cd8acd" providerId="ADAL" clId="{F3A22D4D-2B68-4909-BFE7-4E46D0708FA9}" dt="2023-05-03T12:53:32.085" v="2136" actId="1076"/>
          <ac:picMkLst>
            <pc:docMk/>
            <pc:sldMk cId="2147348872" sldId="345"/>
            <ac:picMk id="4" creationId="{CCEE5155-B304-FC42-C6CE-4E37DE704C95}"/>
          </ac:picMkLst>
        </pc:picChg>
        <pc:picChg chg="add mod">
          <ac:chgData name="Hans Gelissen (DHL SSC Maastricht)" userId="1afa8510-4eed-4b73-a29e-678838cd8acd" providerId="ADAL" clId="{F3A22D4D-2B68-4909-BFE7-4E46D0708FA9}" dt="2023-05-08T08:46:33.191" v="7657" actId="1076"/>
          <ac:picMkLst>
            <pc:docMk/>
            <pc:sldMk cId="2147348872" sldId="345"/>
            <ac:picMk id="6" creationId="{E04FA604-DC34-9FB3-1FF9-7CB34E019B8C}"/>
          </ac:picMkLst>
        </pc:picChg>
        <pc:picChg chg="add del mod">
          <ac:chgData name="Hans Gelissen (DHL SSC Maastricht)" userId="1afa8510-4eed-4b73-a29e-678838cd8acd" providerId="ADAL" clId="{F3A22D4D-2B68-4909-BFE7-4E46D0708FA9}" dt="2023-05-03T15:19:56.057" v="2741" actId="478"/>
          <ac:picMkLst>
            <pc:docMk/>
            <pc:sldMk cId="2147348872" sldId="345"/>
            <ac:picMk id="8" creationId="{66B491F0-2DF0-5E4B-E44F-0EE137C0F7FA}"/>
          </ac:picMkLst>
        </pc:picChg>
        <pc:picChg chg="add mod ord">
          <ac:chgData name="Hans Gelissen (DHL SSC Maastricht)" userId="1afa8510-4eed-4b73-a29e-678838cd8acd" providerId="ADAL" clId="{F3A22D4D-2B68-4909-BFE7-4E46D0708FA9}" dt="2023-05-08T08:46:19.227" v="7653" actId="166"/>
          <ac:picMkLst>
            <pc:docMk/>
            <pc:sldMk cId="2147348872" sldId="345"/>
            <ac:picMk id="9" creationId="{9B103CAC-4A60-0C0C-6DAB-C749DDBE4295}"/>
          </ac:picMkLst>
        </pc:picChg>
        <pc:picChg chg="del ord">
          <ac:chgData name="Hans Gelissen (DHL SSC Maastricht)" userId="1afa8510-4eed-4b73-a29e-678838cd8acd" providerId="ADAL" clId="{F3A22D4D-2B68-4909-BFE7-4E46D0708FA9}" dt="2023-05-03T12:18:44.532" v="1835" actId="21"/>
          <ac:picMkLst>
            <pc:docMk/>
            <pc:sldMk cId="2147348872" sldId="345"/>
            <ac:picMk id="10" creationId="{C05C260F-D05F-D279-D2E3-4B51F9C2A3C1}"/>
          </ac:picMkLst>
        </pc:picChg>
        <pc:picChg chg="add mod">
          <ac:chgData name="Hans Gelissen (DHL SSC Maastricht)" userId="1afa8510-4eed-4b73-a29e-678838cd8acd" providerId="ADAL" clId="{F3A22D4D-2B68-4909-BFE7-4E46D0708FA9}" dt="2023-05-08T08:46:24.566" v="7654" actId="1076"/>
          <ac:picMkLst>
            <pc:docMk/>
            <pc:sldMk cId="2147348872" sldId="345"/>
            <ac:picMk id="11" creationId="{5E1479B6-40B2-ED9D-53DA-F260DB2AF8F5}"/>
          </ac:picMkLst>
        </pc:picChg>
        <pc:picChg chg="add del mod ord">
          <ac:chgData name="Hans Gelissen (DHL SSC Maastricht)" userId="1afa8510-4eed-4b73-a29e-678838cd8acd" providerId="ADAL" clId="{F3A22D4D-2B68-4909-BFE7-4E46D0708FA9}" dt="2023-05-03T12:39:30.649" v="1998" actId="478"/>
          <ac:picMkLst>
            <pc:docMk/>
            <pc:sldMk cId="2147348872" sldId="345"/>
            <ac:picMk id="13" creationId="{210F3198-EC5F-0ACD-4C1F-DEC66BAFBCE7}"/>
          </ac:picMkLst>
        </pc:picChg>
        <pc:picChg chg="add mod ord">
          <ac:chgData name="Hans Gelissen (DHL SSC Maastricht)" userId="1afa8510-4eed-4b73-a29e-678838cd8acd" providerId="ADAL" clId="{F3A22D4D-2B68-4909-BFE7-4E46D0708FA9}" dt="2023-05-03T12:42:32.442" v="2014" actId="167"/>
          <ac:picMkLst>
            <pc:docMk/>
            <pc:sldMk cId="2147348872" sldId="345"/>
            <ac:picMk id="14" creationId="{DB02B294-0F47-379D-8D4B-B3A930CF0D01}"/>
          </ac:picMkLst>
        </pc:picChg>
        <pc:picChg chg="add del mod ord">
          <ac:chgData name="Hans Gelissen (DHL SSC Maastricht)" userId="1afa8510-4eed-4b73-a29e-678838cd8acd" providerId="ADAL" clId="{F3A22D4D-2B68-4909-BFE7-4E46D0708FA9}" dt="2023-05-03T12:34:53.213" v="1974" actId="478"/>
          <ac:picMkLst>
            <pc:docMk/>
            <pc:sldMk cId="2147348872" sldId="345"/>
            <ac:picMk id="15" creationId="{826ECCF1-0F6A-3289-8C22-C8E560C180D1}"/>
          </ac:picMkLst>
        </pc:picChg>
        <pc:picChg chg="add mod ord">
          <ac:chgData name="Hans Gelissen (DHL SSC Maastricht)" userId="1afa8510-4eed-4b73-a29e-678838cd8acd" providerId="ADAL" clId="{F3A22D4D-2B68-4909-BFE7-4E46D0708FA9}" dt="2023-05-03T12:42:32.442" v="2014" actId="167"/>
          <ac:picMkLst>
            <pc:docMk/>
            <pc:sldMk cId="2147348872" sldId="345"/>
            <ac:picMk id="16" creationId="{DF6BFAE4-8CA5-E9E6-5B28-A76698FD4DBA}"/>
          </ac:picMkLst>
        </pc:picChg>
        <pc:picChg chg="add mod">
          <ac:chgData name="Hans Gelissen (DHL SSC Maastricht)" userId="1afa8510-4eed-4b73-a29e-678838cd8acd" providerId="ADAL" clId="{F3A22D4D-2B68-4909-BFE7-4E46D0708FA9}" dt="2023-05-08T08:46:30.152" v="7656" actId="1076"/>
          <ac:picMkLst>
            <pc:docMk/>
            <pc:sldMk cId="2147348872" sldId="345"/>
            <ac:picMk id="28" creationId="{97368A46-0EAF-8CAC-2EC7-4FC7276D2248}"/>
          </ac:picMkLst>
        </pc:picChg>
        <pc:picChg chg="add del mod">
          <ac:chgData name="Hans Gelissen (DHL SSC Maastricht)" userId="1afa8510-4eed-4b73-a29e-678838cd8acd" providerId="ADAL" clId="{F3A22D4D-2B68-4909-BFE7-4E46D0708FA9}" dt="2023-05-03T12:39:08.758" v="1993" actId="478"/>
          <ac:picMkLst>
            <pc:docMk/>
            <pc:sldMk cId="2147348872" sldId="345"/>
            <ac:picMk id="7170" creationId="{A4632EA7-790C-D4A2-DF2B-3D543B19E0B6}"/>
          </ac:picMkLst>
        </pc:picChg>
        <pc:picChg chg="add del mod">
          <ac:chgData name="Hans Gelissen (DHL SSC Maastricht)" userId="1afa8510-4eed-4b73-a29e-678838cd8acd" providerId="ADAL" clId="{F3A22D4D-2B68-4909-BFE7-4E46D0708FA9}" dt="2023-05-03T12:42:10.383" v="2008" actId="478"/>
          <ac:picMkLst>
            <pc:docMk/>
            <pc:sldMk cId="2147348872" sldId="345"/>
            <ac:picMk id="7172" creationId="{FCAA5D1A-DE8A-D235-7107-6CF249027642}"/>
          </ac:picMkLst>
        </pc:picChg>
        <pc:picChg chg="add mod">
          <ac:chgData name="Hans Gelissen (DHL SSC Maastricht)" userId="1afa8510-4eed-4b73-a29e-678838cd8acd" providerId="ADAL" clId="{F3A22D4D-2B68-4909-BFE7-4E46D0708FA9}" dt="2023-05-03T12:51:19.716" v="2092" actId="14100"/>
          <ac:picMkLst>
            <pc:docMk/>
            <pc:sldMk cId="2147348872" sldId="345"/>
            <ac:picMk id="7174" creationId="{F803D9BE-575B-FD4D-7F23-42187E0771F4}"/>
          </ac:picMkLst>
        </pc:picChg>
      </pc:sldChg>
      <pc:sldChg chg="add del">
        <pc:chgData name="Hans Gelissen (DHL SSC Maastricht)" userId="1afa8510-4eed-4b73-a29e-678838cd8acd" providerId="ADAL" clId="{F3A22D4D-2B68-4909-BFE7-4E46D0708FA9}" dt="2023-05-03T10:57:31.899" v="1643"/>
        <pc:sldMkLst>
          <pc:docMk/>
          <pc:sldMk cId="2489837504" sldId="345"/>
        </pc:sldMkLst>
      </pc:sldChg>
      <pc:sldChg chg="addSp delSp modSp add del mod">
        <pc:chgData name="Hans Gelissen (DHL SSC Maastricht)" userId="1afa8510-4eed-4b73-a29e-678838cd8acd" providerId="ADAL" clId="{F3A22D4D-2B68-4909-BFE7-4E46D0708FA9}" dt="2023-05-03T12:18:03.089" v="1832" actId="2696"/>
        <pc:sldMkLst>
          <pc:docMk/>
          <pc:sldMk cId="4117389202" sldId="345"/>
        </pc:sldMkLst>
        <pc:spChg chg="del">
          <ac:chgData name="Hans Gelissen (DHL SSC Maastricht)" userId="1afa8510-4eed-4b73-a29e-678838cd8acd" providerId="ADAL" clId="{F3A22D4D-2B68-4909-BFE7-4E46D0708FA9}" dt="2023-05-03T12:15:14.937" v="1801" actId="478"/>
          <ac:spMkLst>
            <pc:docMk/>
            <pc:sldMk cId="4117389202" sldId="345"/>
            <ac:spMk id="3" creationId="{537B9748-C629-C1D1-CB35-F4308E5E2DA7}"/>
          </ac:spMkLst>
        </pc:spChg>
        <pc:spChg chg="add mod">
          <ac:chgData name="Hans Gelissen (DHL SSC Maastricht)" userId="1afa8510-4eed-4b73-a29e-678838cd8acd" providerId="ADAL" clId="{F3A22D4D-2B68-4909-BFE7-4E46D0708FA9}" dt="2023-05-03T12:16:51.466" v="1821" actId="14100"/>
          <ac:spMkLst>
            <pc:docMk/>
            <pc:sldMk cId="4117389202" sldId="345"/>
            <ac:spMk id="5" creationId="{631016D8-01B5-A142-74F1-AE0DB20ED50C}"/>
          </ac:spMkLst>
        </pc:spChg>
        <pc:spChg chg="add del mod">
          <ac:chgData name="Hans Gelissen (DHL SSC Maastricht)" userId="1afa8510-4eed-4b73-a29e-678838cd8acd" providerId="ADAL" clId="{F3A22D4D-2B68-4909-BFE7-4E46D0708FA9}" dt="2023-05-03T12:15:57.349" v="1810" actId="478"/>
          <ac:spMkLst>
            <pc:docMk/>
            <pc:sldMk cId="4117389202" sldId="345"/>
            <ac:spMk id="6" creationId="{FFAE8CA0-71EC-B026-E16E-9291E3200122}"/>
          </ac:spMkLst>
        </pc:spChg>
        <pc:spChg chg="add del">
          <ac:chgData name="Hans Gelissen (DHL SSC Maastricht)" userId="1afa8510-4eed-4b73-a29e-678838cd8acd" providerId="ADAL" clId="{F3A22D4D-2B68-4909-BFE7-4E46D0708FA9}" dt="2023-05-03T12:17:45.085" v="1828"/>
          <ac:spMkLst>
            <pc:docMk/>
            <pc:sldMk cId="4117389202" sldId="345"/>
            <ac:spMk id="8" creationId="{A419FC1A-3DC6-2FFF-9F66-87763A4477BD}"/>
          </ac:spMkLst>
        </pc:spChg>
        <pc:spChg chg="add del mod">
          <ac:chgData name="Hans Gelissen (DHL SSC Maastricht)" userId="1afa8510-4eed-4b73-a29e-678838cd8acd" providerId="ADAL" clId="{F3A22D4D-2B68-4909-BFE7-4E46D0708FA9}" dt="2023-05-03T12:17:44.890" v="1827"/>
          <ac:spMkLst>
            <pc:docMk/>
            <pc:sldMk cId="4117389202" sldId="345"/>
            <ac:spMk id="9" creationId="{5A4BAEB6-4E86-8028-78ED-2A42759A60A9}"/>
          </ac:spMkLst>
        </pc:spChg>
        <pc:graphicFrameChg chg="add mod modGraphic">
          <ac:chgData name="Hans Gelissen (DHL SSC Maastricht)" userId="1afa8510-4eed-4b73-a29e-678838cd8acd" providerId="ADAL" clId="{F3A22D4D-2B68-4909-BFE7-4E46D0708FA9}" dt="2023-05-03T12:17:00.776" v="1824" actId="339"/>
          <ac:graphicFrameMkLst>
            <pc:docMk/>
            <pc:sldMk cId="4117389202" sldId="345"/>
            <ac:graphicFrameMk id="7" creationId="{AF1B7E55-F0C3-6457-723D-2F67DD32ED5E}"/>
          </ac:graphicFrameMkLst>
        </pc:graphicFrameChg>
        <pc:picChg chg="add mod">
          <ac:chgData name="Hans Gelissen (DHL SSC Maastricht)" userId="1afa8510-4eed-4b73-a29e-678838cd8acd" providerId="ADAL" clId="{F3A22D4D-2B68-4909-BFE7-4E46D0708FA9}" dt="2023-05-03T12:15:38.619" v="1806" actId="1076"/>
          <ac:picMkLst>
            <pc:docMk/>
            <pc:sldMk cId="4117389202" sldId="345"/>
            <ac:picMk id="4" creationId="{CCEE5155-B304-FC42-C6CE-4E37DE704C95}"/>
          </ac:picMkLst>
        </pc:picChg>
        <pc:picChg chg="add">
          <ac:chgData name="Hans Gelissen (DHL SSC Maastricht)" userId="1afa8510-4eed-4b73-a29e-678838cd8acd" providerId="ADAL" clId="{F3A22D4D-2B68-4909-BFE7-4E46D0708FA9}" dt="2023-05-03T12:17:54.837" v="1829"/>
          <ac:picMkLst>
            <pc:docMk/>
            <pc:sldMk cId="4117389202" sldId="345"/>
            <ac:picMk id="10" creationId="{C05C260F-D05F-D279-D2E3-4B51F9C2A3C1}"/>
          </ac:picMkLst>
        </pc:picChg>
      </pc:sldChg>
      <pc:sldChg chg="addSp delSp modSp add mod ord modAnim">
        <pc:chgData name="Hans Gelissen (DHL SSC Maastricht)" userId="1afa8510-4eed-4b73-a29e-678838cd8acd" providerId="ADAL" clId="{F3A22D4D-2B68-4909-BFE7-4E46D0708FA9}" dt="2023-05-04T14:49:35.617" v="4797" actId="1076"/>
        <pc:sldMkLst>
          <pc:docMk/>
          <pc:sldMk cId="179638422" sldId="346"/>
        </pc:sldMkLst>
        <pc:spChg chg="del">
          <ac:chgData name="Hans Gelissen (DHL SSC Maastricht)" userId="1afa8510-4eed-4b73-a29e-678838cd8acd" providerId="ADAL" clId="{F3A22D4D-2B68-4909-BFE7-4E46D0708FA9}" dt="2023-05-03T13:07:34.855" v="2197" actId="478"/>
          <ac:spMkLst>
            <pc:docMk/>
            <pc:sldMk cId="179638422" sldId="346"/>
            <ac:spMk id="2" creationId="{CED8FA4E-9F3D-3515-A91C-152714E7945B}"/>
          </ac:spMkLst>
        </pc:spChg>
        <pc:spChg chg="mod">
          <ac:chgData name="Hans Gelissen (DHL SSC Maastricht)" userId="1afa8510-4eed-4b73-a29e-678838cd8acd" providerId="ADAL" clId="{F3A22D4D-2B68-4909-BFE7-4E46D0708FA9}" dt="2023-05-04T14:49:32.441" v="4796" actId="14100"/>
          <ac:spMkLst>
            <pc:docMk/>
            <pc:sldMk cId="179638422" sldId="346"/>
            <ac:spMk id="7" creationId="{3FB7116A-E85B-DA41-DBCF-6B5C42D462C5}"/>
          </ac:spMkLst>
        </pc:spChg>
        <pc:spChg chg="mod">
          <ac:chgData name="Hans Gelissen (DHL SSC Maastricht)" userId="1afa8510-4eed-4b73-a29e-678838cd8acd" providerId="ADAL" clId="{F3A22D4D-2B68-4909-BFE7-4E46D0708FA9}" dt="2023-05-04T14:49:35.617" v="4797" actId="1076"/>
          <ac:spMkLst>
            <pc:docMk/>
            <pc:sldMk cId="179638422" sldId="346"/>
            <ac:spMk id="8" creationId="{14B2F8E8-6115-4C09-3C14-D475FD339C4D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11" creationId="{A5B60808-17E7-E630-5B66-F36803B9B57E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12" creationId="{13E8A72C-F46D-598B-77BF-31807A8511F7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13" creationId="{A67ABA64-7084-0CA6-F2ED-3916BD4F1621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14" creationId="{5920D553-10D0-A6F5-FB29-EF26F8DDF760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15" creationId="{B9506734-00D6-86BE-1BC0-E7ABF032E705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16" creationId="{13176E8E-9D04-FC47-8A9D-EC9EA3E48738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17" creationId="{E365EE0A-6015-7AAA-FC1D-BBD95CB1977D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18" creationId="{624856BA-2483-B134-032C-4EF118C23491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19" creationId="{E6A069EB-8047-8C34-95B7-950FBF2F52EB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20" creationId="{A3495480-B888-B422-2016-94FF2025E9A3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21" creationId="{72253673-974B-45A2-E060-EE30748FDDD0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22" creationId="{49D0E81F-05A8-FBC8-2438-93E38D07B2E5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23" creationId="{4B89A9C0-CE56-7C0F-2F41-4900DECB9D7B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24" creationId="{B6CBA1A0-A179-0196-11B8-1286DD162ECD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25" creationId="{2E9320A1-634E-7E46-A34E-122B731E2959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26" creationId="{24F250FF-2978-8A6C-7287-F5F39315A0DD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27" creationId="{F4406ECC-BE48-46C0-C93E-85A97BD44DC7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28" creationId="{F1629880-0868-CF2C-B54F-962AADF46C60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29" creationId="{4486B0C0-AE93-BD39-86D4-224949520978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30" creationId="{19A192BF-E434-CDA0-6DBB-901F0A22FE73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31" creationId="{632AE694-5550-4F50-DD04-BEAF90CFC060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32" creationId="{3CEFCE69-3EC0-F644-E699-4CCC88417E86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33" creationId="{343FE921-25F0-F63C-14C4-DA5913704594}"/>
          </ac:spMkLst>
        </pc:spChg>
        <pc:spChg chg="add mod">
          <ac:chgData name="Hans Gelissen (DHL SSC Maastricht)" userId="1afa8510-4eed-4b73-a29e-678838cd8acd" providerId="ADAL" clId="{F3A22D4D-2B68-4909-BFE7-4E46D0708FA9}" dt="2023-05-03T13:22:46.586" v="2353"/>
          <ac:spMkLst>
            <pc:docMk/>
            <pc:sldMk cId="179638422" sldId="346"/>
            <ac:spMk id="34" creationId="{ED6E285B-C75C-69CC-92B9-1E8B489260F1}"/>
          </ac:spMkLst>
        </pc:spChg>
        <pc:grpChg chg="add mod">
          <ac:chgData name="Hans Gelissen (DHL SSC Maastricht)" userId="1afa8510-4eed-4b73-a29e-678838cd8acd" providerId="ADAL" clId="{F3A22D4D-2B68-4909-BFE7-4E46D0708FA9}" dt="2023-05-03T13:22:50.028" v="2354" actId="166"/>
          <ac:grpSpMkLst>
            <pc:docMk/>
            <pc:sldMk cId="179638422" sldId="346"/>
            <ac:grpSpMk id="9" creationId="{23C44106-6758-760E-3B1D-B3087ECFB279}"/>
          </ac:grpSpMkLst>
        </pc:grpChg>
        <pc:picChg chg="add mod ord">
          <ac:chgData name="Hans Gelissen (DHL SSC Maastricht)" userId="1afa8510-4eed-4b73-a29e-678838cd8acd" providerId="ADAL" clId="{F3A22D4D-2B68-4909-BFE7-4E46D0708FA9}" dt="2023-05-03T12:19:29.684" v="1847" actId="167"/>
          <ac:picMkLst>
            <pc:docMk/>
            <pc:sldMk cId="179638422" sldId="346"/>
            <ac:picMk id="3" creationId="{F4CC540B-B734-046D-E245-183D3AF6BDCB}"/>
          </ac:picMkLst>
        </pc:picChg>
        <pc:picChg chg="mod">
          <ac:chgData name="Hans Gelissen (DHL SSC Maastricht)" userId="1afa8510-4eed-4b73-a29e-678838cd8acd" providerId="ADAL" clId="{F3A22D4D-2B68-4909-BFE7-4E46D0708FA9}" dt="2023-05-03T13:22:42.547" v="2352" actId="164"/>
          <ac:picMkLst>
            <pc:docMk/>
            <pc:sldMk cId="179638422" sldId="346"/>
            <ac:picMk id="4" creationId="{DA1414FA-0C0C-93CF-159E-766B9323300D}"/>
          </ac:picMkLst>
        </pc:picChg>
        <pc:picChg chg="mod">
          <ac:chgData name="Hans Gelissen (DHL SSC Maastricht)" userId="1afa8510-4eed-4b73-a29e-678838cd8acd" providerId="ADAL" clId="{F3A22D4D-2B68-4909-BFE7-4E46D0708FA9}" dt="2023-05-03T13:22:42.547" v="2352" actId="164"/>
          <ac:picMkLst>
            <pc:docMk/>
            <pc:sldMk cId="179638422" sldId="346"/>
            <ac:picMk id="5" creationId="{84E61A90-6C3D-A76F-A600-9FD1B6C23355}"/>
          </ac:picMkLst>
        </pc:picChg>
        <pc:picChg chg="mod">
          <ac:chgData name="Hans Gelissen (DHL SSC Maastricht)" userId="1afa8510-4eed-4b73-a29e-678838cd8acd" providerId="ADAL" clId="{F3A22D4D-2B68-4909-BFE7-4E46D0708FA9}" dt="2023-05-03T13:22:42.547" v="2352" actId="164"/>
          <ac:picMkLst>
            <pc:docMk/>
            <pc:sldMk cId="179638422" sldId="346"/>
            <ac:picMk id="6" creationId="{DB9ED71C-F755-6C9D-8E03-CD66871DC308}"/>
          </ac:picMkLst>
        </pc:picChg>
        <pc:picChg chg="del">
          <ac:chgData name="Hans Gelissen (DHL SSC Maastricht)" userId="1afa8510-4eed-4b73-a29e-678838cd8acd" providerId="ADAL" clId="{F3A22D4D-2B68-4909-BFE7-4E46D0708FA9}" dt="2023-05-03T12:17:59.921" v="1831" actId="478"/>
          <ac:picMkLst>
            <pc:docMk/>
            <pc:sldMk cId="179638422" sldId="346"/>
            <ac:picMk id="10" creationId="{B7144363-B78C-F15A-5DC1-1A2CCE2B77D9}"/>
          </ac:picMkLst>
        </pc:picChg>
      </pc:sldChg>
      <pc:sldChg chg="addSp delSp modSp new del mod">
        <pc:chgData name="Hans Gelissen (DHL SSC Maastricht)" userId="1afa8510-4eed-4b73-a29e-678838cd8acd" providerId="ADAL" clId="{F3A22D4D-2B68-4909-BFE7-4E46D0708FA9}" dt="2023-05-03T15:23:49.192" v="2779" actId="47"/>
        <pc:sldMkLst>
          <pc:docMk/>
          <pc:sldMk cId="1935992382" sldId="347"/>
        </pc:sldMkLst>
        <pc:spChg chg="del">
          <ac:chgData name="Hans Gelissen (DHL SSC Maastricht)" userId="1afa8510-4eed-4b73-a29e-678838cd8acd" providerId="ADAL" clId="{F3A22D4D-2B68-4909-BFE7-4E46D0708FA9}" dt="2023-05-03T15:21:34.479" v="2753" actId="478"/>
          <ac:spMkLst>
            <pc:docMk/>
            <pc:sldMk cId="1935992382" sldId="347"/>
            <ac:spMk id="3" creationId="{06C31ADB-1BF6-C596-EC1D-8ED5CDE6F7C3}"/>
          </ac:spMkLst>
        </pc:spChg>
        <pc:picChg chg="add mod">
          <ac:chgData name="Hans Gelissen (DHL SSC Maastricht)" userId="1afa8510-4eed-4b73-a29e-678838cd8acd" providerId="ADAL" clId="{F3A22D4D-2B68-4909-BFE7-4E46D0708FA9}" dt="2023-05-03T15:21:56.270" v="2757"/>
          <ac:picMkLst>
            <pc:docMk/>
            <pc:sldMk cId="1935992382" sldId="347"/>
            <ac:picMk id="4" creationId="{E1BAFAA5-5C20-6A49-DB6D-C3FB189AA598}"/>
          </ac:picMkLst>
        </pc:picChg>
        <pc:picChg chg="add mod">
          <ac:chgData name="Hans Gelissen (DHL SSC Maastricht)" userId="1afa8510-4eed-4b73-a29e-678838cd8acd" providerId="ADAL" clId="{F3A22D4D-2B68-4909-BFE7-4E46D0708FA9}" dt="2023-05-03T15:21:56.270" v="2757"/>
          <ac:picMkLst>
            <pc:docMk/>
            <pc:sldMk cId="1935992382" sldId="347"/>
            <ac:picMk id="5" creationId="{2D146674-F567-0990-57B4-F27AD9D986ED}"/>
          </ac:picMkLst>
        </pc:picChg>
        <pc:picChg chg="add mod">
          <ac:chgData name="Hans Gelissen (DHL SSC Maastricht)" userId="1afa8510-4eed-4b73-a29e-678838cd8acd" providerId="ADAL" clId="{F3A22D4D-2B68-4909-BFE7-4E46D0708FA9}" dt="2023-05-03T15:21:56.270" v="2757"/>
          <ac:picMkLst>
            <pc:docMk/>
            <pc:sldMk cId="1935992382" sldId="347"/>
            <ac:picMk id="6" creationId="{AB5C0C11-3EB4-1035-EB0A-A32C177F89E4}"/>
          </ac:picMkLst>
        </pc:picChg>
        <pc:picChg chg="add mod">
          <ac:chgData name="Hans Gelissen (DHL SSC Maastricht)" userId="1afa8510-4eed-4b73-a29e-678838cd8acd" providerId="ADAL" clId="{F3A22D4D-2B68-4909-BFE7-4E46D0708FA9}" dt="2023-05-03T15:21:56.270" v="2757"/>
          <ac:picMkLst>
            <pc:docMk/>
            <pc:sldMk cId="1935992382" sldId="347"/>
            <ac:picMk id="7" creationId="{3B8D473A-D04D-331E-6E07-055A4D24F827}"/>
          </ac:picMkLst>
        </pc:picChg>
      </pc:sldChg>
      <pc:sldChg chg="addSp delSp modSp add mod modClrScheme addAnim delAnim modAnim chgLayout">
        <pc:chgData name="Hans Gelissen (DHL SSC Maastricht)" userId="1afa8510-4eed-4b73-a29e-678838cd8acd" providerId="ADAL" clId="{F3A22D4D-2B68-4909-BFE7-4E46D0708FA9}" dt="2023-05-10T11:22:43.558" v="10366" actId="478"/>
        <pc:sldMkLst>
          <pc:docMk/>
          <pc:sldMk cId="2672193591" sldId="348"/>
        </pc:sldMkLst>
        <pc:spChg chg="del mod ord">
          <ac:chgData name="Hans Gelissen (DHL SSC Maastricht)" userId="1afa8510-4eed-4b73-a29e-678838cd8acd" providerId="ADAL" clId="{F3A22D4D-2B68-4909-BFE7-4E46D0708FA9}" dt="2023-05-03T15:24:26.366" v="2781" actId="700"/>
          <ac:spMkLst>
            <pc:docMk/>
            <pc:sldMk cId="2672193591" sldId="348"/>
            <ac:spMk id="2" creationId="{38E33848-C1C9-3AC8-069E-5A62743CE835}"/>
          </ac:spMkLst>
        </pc:spChg>
        <pc:spChg chg="add mod">
          <ac:chgData name="Hans Gelissen (DHL SSC Maastricht)" userId="1afa8510-4eed-4b73-a29e-678838cd8acd" providerId="ADAL" clId="{F3A22D4D-2B68-4909-BFE7-4E46D0708FA9}" dt="2023-05-04T14:27:20.329" v="3869" actId="1076"/>
          <ac:spMkLst>
            <pc:docMk/>
            <pc:sldMk cId="2672193591" sldId="348"/>
            <ac:spMk id="2" creationId="{CDEADAB1-693D-E26B-83CC-E587D5A8D58C}"/>
          </ac:spMkLst>
        </pc:spChg>
        <pc:spChg chg="del">
          <ac:chgData name="Hans Gelissen (DHL SSC Maastricht)" userId="1afa8510-4eed-4b73-a29e-678838cd8acd" providerId="ADAL" clId="{F3A22D4D-2B68-4909-BFE7-4E46D0708FA9}" dt="2023-05-03T15:21:39.885" v="2755" actId="478"/>
          <ac:spMkLst>
            <pc:docMk/>
            <pc:sldMk cId="2672193591" sldId="348"/>
            <ac:spMk id="3" creationId="{06C31ADB-1BF6-C596-EC1D-8ED5CDE6F7C3}"/>
          </ac:spMkLst>
        </pc:spChg>
        <pc:spChg chg="add mod ord">
          <ac:chgData name="Hans Gelissen (DHL SSC Maastricht)" userId="1afa8510-4eed-4b73-a29e-678838cd8acd" providerId="ADAL" clId="{F3A22D4D-2B68-4909-BFE7-4E46D0708FA9}" dt="2023-05-03T15:27:32.091" v="2820" actId="20577"/>
          <ac:spMkLst>
            <pc:docMk/>
            <pc:sldMk cId="2672193591" sldId="348"/>
            <ac:spMk id="4" creationId="{F4C7A97F-36C7-A08C-C3E2-3DD5B0E6E57A}"/>
          </ac:spMkLst>
        </pc:spChg>
        <pc:spChg chg="add del mod ord">
          <ac:chgData name="Hans Gelissen (DHL SSC Maastricht)" userId="1afa8510-4eed-4b73-a29e-678838cd8acd" providerId="ADAL" clId="{F3A22D4D-2B68-4909-BFE7-4E46D0708FA9}" dt="2023-05-03T15:25:31.457" v="2786" actId="931"/>
          <ac:spMkLst>
            <pc:docMk/>
            <pc:sldMk cId="2672193591" sldId="348"/>
            <ac:spMk id="5" creationId="{64D74A59-FE77-A700-0CA7-74E4100C553E}"/>
          </ac:spMkLst>
        </pc:spChg>
        <pc:spChg chg="add mod">
          <ac:chgData name="Hans Gelissen (DHL SSC Maastricht)" userId="1afa8510-4eed-4b73-a29e-678838cd8acd" providerId="ADAL" clId="{F3A22D4D-2B68-4909-BFE7-4E46D0708FA9}" dt="2023-05-04T14:27:20.329" v="3869" actId="1076"/>
          <ac:spMkLst>
            <pc:docMk/>
            <pc:sldMk cId="2672193591" sldId="348"/>
            <ac:spMk id="5" creationId="{A30684FC-A4E7-18E7-5460-1261B3DA5BCB}"/>
          </ac:spMkLst>
        </pc:spChg>
        <pc:spChg chg="add del mod ord">
          <ac:chgData name="Hans Gelissen (DHL SSC Maastricht)" userId="1afa8510-4eed-4b73-a29e-678838cd8acd" providerId="ADAL" clId="{F3A22D4D-2B68-4909-BFE7-4E46D0708FA9}" dt="2023-05-04T14:26:45.686" v="3862" actId="478"/>
          <ac:spMkLst>
            <pc:docMk/>
            <pc:sldMk cId="2672193591" sldId="348"/>
            <ac:spMk id="6" creationId="{DBA6F90E-143F-5D85-98FD-7C7A297A9B04}"/>
          </ac:spMkLst>
        </pc:spChg>
        <pc:spChg chg="add del mod">
          <ac:chgData name="Hans Gelissen (DHL SSC Maastricht)" userId="1afa8510-4eed-4b73-a29e-678838cd8acd" providerId="ADAL" clId="{F3A22D4D-2B68-4909-BFE7-4E46D0708FA9}" dt="2023-05-10T11:22:43.558" v="10366" actId="478"/>
          <ac:spMkLst>
            <pc:docMk/>
            <pc:sldMk cId="2672193591" sldId="348"/>
            <ac:spMk id="8" creationId="{5BE5024D-B55F-4D5F-FEAF-41D4AA314FEB}"/>
          </ac:spMkLst>
        </pc:spChg>
        <pc:spChg chg="add del mod">
          <ac:chgData name="Hans Gelissen (DHL SSC Maastricht)" userId="1afa8510-4eed-4b73-a29e-678838cd8acd" providerId="ADAL" clId="{F3A22D4D-2B68-4909-BFE7-4E46D0708FA9}" dt="2023-05-10T11:22:43.558" v="10366" actId="478"/>
          <ac:spMkLst>
            <pc:docMk/>
            <pc:sldMk cId="2672193591" sldId="348"/>
            <ac:spMk id="9" creationId="{7700C096-8A67-43CE-CDB0-68321646C482}"/>
          </ac:spMkLst>
        </pc:spChg>
        <pc:spChg chg="add del mod">
          <ac:chgData name="Hans Gelissen (DHL SSC Maastricht)" userId="1afa8510-4eed-4b73-a29e-678838cd8acd" providerId="ADAL" clId="{F3A22D4D-2B68-4909-BFE7-4E46D0708FA9}" dt="2023-05-03T15:27:39.011" v="2821" actId="931"/>
          <ac:spMkLst>
            <pc:docMk/>
            <pc:sldMk cId="2672193591" sldId="348"/>
            <ac:spMk id="10" creationId="{CEF80290-FEEE-1B18-7DE7-F98E2CD8743B}"/>
          </ac:spMkLst>
        </pc:spChg>
        <pc:spChg chg="add del mod">
          <ac:chgData name="Hans Gelissen (DHL SSC Maastricht)" userId="1afa8510-4eed-4b73-a29e-678838cd8acd" providerId="ADAL" clId="{F3A22D4D-2B68-4909-BFE7-4E46D0708FA9}" dt="2023-05-03T15:28:34.996" v="2833" actId="931"/>
          <ac:spMkLst>
            <pc:docMk/>
            <pc:sldMk cId="2672193591" sldId="348"/>
            <ac:spMk id="15" creationId="{477B0FD4-1C4E-428F-60CE-0583BABB842A}"/>
          </ac:spMkLst>
        </pc:spChg>
        <pc:picChg chg="add mod">
          <ac:chgData name="Hans Gelissen (DHL SSC Maastricht)" userId="1afa8510-4eed-4b73-a29e-678838cd8acd" providerId="ADAL" clId="{F3A22D4D-2B68-4909-BFE7-4E46D0708FA9}" dt="2023-05-04T14:27:20.329" v="3869" actId="1076"/>
          <ac:picMkLst>
            <pc:docMk/>
            <pc:sldMk cId="2672193591" sldId="348"/>
            <ac:picMk id="3" creationId="{3B02363C-190D-B482-870E-D69E63B5DDDF}"/>
          </ac:picMkLst>
        </pc:picChg>
        <pc:picChg chg="add mod">
          <ac:chgData name="Hans Gelissen (DHL SSC Maastricht)" userId="1afa8510-4eed-4b73-a29e-678838cd8acd" providerId="ADAL" clId="{F3A22D4D-2B68-4909-BFE7-4E46D0708FA9}" dt="2023-05-04T14:27:20.329" v="3869" actId="1076"/>
          <ac:picMkLst>
            <pc:docMk/>
            <pc:sldMk cId="2672193591" sldId="348"/>
            <ac:picMk id="7" creationId="{E75D39C9-E769-94AE-6EB7-640F2CA8CCC5}"/>
          </ac:picMkLst>
        </pc:picChg>
        <pc:picChg chg="add del mod modCrop">
          <ac:chgData name="Hans Gelissen (DHL SSC Maastricht)" userId="1afa8510-4eed-4b73-a29e-678838cd8acd" providerId="ADAL" clId="{F3A22D4D-2B68-4909-BFE7-4E46D0708FA9}" dt="2023-05-03T15:25:48.415" v="2792" actId="478"/>
          <ac:picMkLst>
            <pc:docMk/>
            <pc:sldMk cId="2672193591" sldId="348"/>
            <ac:picMk id="8" creationId="{6926B495-6AEA-1E1E-CD8E-FC10CB590F87}"/>
          </ac:picMkLst>
        </pc:picChg>
        <pc:picChg chg="add del mod modCrop">
          <ac:chgData name="Hans Gelissen (DHL SSC Maastricht)" userId="1afa8510-4eed-4b73-a29e-678838cd8acd" providerId="ADAL" clId="{F3A22D4D-2B68-4909-BFE7-4E46D0708FA9}" dt="2023-05-03T15:28:31.898" v="2832" actId="478"/>
          <ac:picMkLst>
            <pc:docMk/>
            <pc:sldMk cId="2672193591" sldId="348"/>
            <ac:picMk id="12" creationId="{09D96A60-CC66-1189-33A9-5BC26EE2650C}"/>
          </ac:picMkLst>
        </pc:picChg>
        <pc:picChg chg="add del mod">
          <ac:chgData name="Hans Gelissen (DHL SSC Maastricht)" userId="1afa8510-4eed-4b73-a29e-678838cd8acd" providerId="ADAL" clId="{F3A22D4D-2B68-4909-BFE7-4E46D0708FA9}" dt="2023-05-03T15:28:29.967" v="2831" actId="478"/>
          <ac:picMkLst>
            <pc:docMk/>
            <pc:sldMk cId="2672193591" sldId="348"/>
            <ac:picMk id="13" creationId="{7EFC20F3-1EDD-B93E-F88A-A59698D7519F}"/>
          </ac:picMkLst>
        </pc:picChg>
        <pc:picChg chg="add mod modCrop">
          <ac:chgData name="Hans Gelissen (DHL SSC Maastricht)" userId="1afa8510-4eed-4b73-a29e-678838cd8acd" providerId="ADAL" clId="{F3A22D4D-2B68-4909-BFE7-4E46D0708FA9}" dt="2023-05-03T15:28:49.841" v="2837" actId="18131"/>
          <ac:picMkLst>
            <pc:docMk/>
            <pc:sldMk cId="2672193591" sldId="348"/>
            <ac:picMk id="17" creationId="{A128146D-D4A4-1A72-5311-CA2B98540018}"/>
          </ac:picMkLst>
        </pc:picChg>
      </pc:sldChg>
      <pc:sldChg chg="delSp add del mod">
        <pc:chgData name="Hans Gelissen (DHL SSC Maastricht)" userId="1afa8510-4eed-4b73-a29e-678838cd8acd" providerId="ADAL" clId="{F3A22D4D-2B68-4909-BFE7-4E46D0708FA9}" dt="2023-05-03T15:24:55.767" v="2783" actId="47"/>
        <pc:sldMkLst>
          <pc:docMk/>
          <pc:sldMk cId="1922588106" sldId="349"/>
        </pc:sldMkLst>
        <pc:spChg chg="del">
          <ac:chgData name="Hans Gelissen (DHL SSC Maastricht)" userId="1afa8510-4eed-4b73-a29e-678838cd8acd" providerId="ADAL" clId="{F3A22D4D-2B68-4909-BFE7-4E46D0708FA9}" dt="2023-05-03T15:21:41.857" v="2756" actId="478"/>
          <ac:spMkLst>
            <pc:docMk/>
            <pc:sldMk cId="1922588106" sldId="349"/>
            <ac:spMk id="3" creationId="{06C31ADB-1BF6-C596-EC1D-8ED5CDE6F7C3}"/>
          </ac:spMkLst>
        </pc:spChg>
      </pc:sldChg>
      <pc:sldChg chg="addSp delSp modSp add mod">
        <pc:chgData name="Hans Gelissen (DHL SSC Maastricht)" userId="1afa8510-4eed-4b73-a29e-678838cd8acd" providerId="ADAL" clId="{F3A22D4D-2B68-4909-BFE7-4E46D0708FA9}" dt="2023-05-03T15:40:17.759" v="2989" actId="1076"/>
        <pc:sldMkLst>
          <pc:docMk/>
          <pc:sldMk cId="3903446456" sldId="350"/>
        </pc:sldMkLst>
        <pc:spChg chg="mod">
          <ac:chgData name="Hans Gelissen (DHL SSC Maastricht)" userId="1afa8510-4eed-4b73-a29e-678838cd8acd" providerId="ADAL" clId="{F3A22D4D-2B68-4909-BFE7-4E46D0708FA9}" dt="2023-05-03T14:54:50.703" v="2476" actId="20577"/>
          <ac:spMkLst>
            <pc:docMk/>
            <pc:sldMk cId="3903446456" sldId="350"/>
            <ac:spMk id="2" creationId="{CED8FA4E-9F3D-3515-A91C-152714E7945B}"/>
          </ac:spMkLst>
        </pc:spChg>
        <pc:spChg chg="add mod">
          <ac:chgData name="Hans Gelissen (DHL SSC Maastricht)" userId="1afa8510-4eed-4b73-a29e-678838cd8acd" providerId="ADAL" clId="{F3A22D4D-2B68-4909-BFE7-4E46D0708FA9}" dt="2023-05-03T15:40:13.661" v="2988" actId="1076"/>
          <ac:spMkLst>
            <pc:docMk/>
            <pc:sldMk cId="3903446456" sldId="350"/>
            <ac:spMk id="7" creationId="{5ABAE826-3020-09EF-625F-14606DAAA17A}"/>
          </ac:spMkLst>
        </pc:spChg>
        <pc:picChg chg="del">
          <ac:chgData name="Hans Gelissen (DHL SSC Maastricht)" userId="1afa8510-4eed-4b73-a29e-678838cd8acd" providerId="ADAL" clId="{F3A22D4D-2B68-4909-BFE7-4E46D0708FA9}" dt="2023-05-03T12:54:15.835" v="2143" actId="478"/>
          <ac:picMkLst>
            <pc:docMk/>
            <pc:sldMk cId="3903446456" sldId="350"/>
            <ac:picMk id="3" creationId="{58FA0815-A55B-E199-113D-B737B72FBFD5}"/>
          </ac:picMkLst>
        </pc:picChg>
        <pc:picChg chg="del">
          <ac:chgData name="Hans Gelissen (DHL SSC Maastricht)" userId="1afa8510-4eed-4b73-a29e-678838cd8acd" providerId="ADAL" clId="{F3A22D4D-2B68-4909-BFE7-4E46D0708FA9}" dt="2023-05-03T12:54:38.395" v="2171" actId="478"/>
          <ac:picMkLst>
            <pc:docMk/>
            <pc:sldMk cId="3903446456" sldId="350"/>
            <ac:picMk id="4" creationId="{CCEE5155-B304-FC42-C6CE-4E37DE704C95}"/>
          </ac:picMkLst>
        </pc:picChg>
        <pc:picChg chg="add mod">
          <ac:chgData name="Hans Gelissen (DHL SSC Maastricht)" userId="1afa8510-4eed-4b73-a29e-678838cd8acd" providerId="ADAL" clId="{F3A22D4D-2B68-4909-BFE7-4E46D0708FA9}" dt="2023-05-03T15:40:17.759" v="2989" actId="1076"/>
          <ac:picMkLst>
            <pc:docMk/>
            <pc:sldMk cId="3903446456" sldId="350"/>
            <ac:picMk id="5" creationId="{D118FC0D-3D30-6458-E1D9-989A63980226}"/>
          </ac:picMkLst>
        </pc:picChg>
        <pc:picChg chg="del">
          <ac:chgData name="Hans Gelissen (DHL SSC Maastricht)" userId="1afa8510-4eed-4b73-a29e-678838cd8acd" providerId="ADAL" clId="{F3A22D4D-2B68-4909-BFE7-4E46D0708FA9}" dt="2023-05-03T12:54:36.118" v="2170" actId="478"/>
          <ac:picMkLst>
            <pc:docMk/>
            <pc:sldMk cId="3903446456" sldId="350"/>
            <ac:picMk id="6" creationId="{E04FA604-DC34-9FB3-1FF9-7CB34E019B8C}"/>
          </ac:picMkLst>
        </pc:picChg>
        <pc:picChg chg="del">
          <ac:chgData name="Hans Gelissen (DHL SSC Maastricht)" userId="1afa8510-4eed-4b73-a29e-678838cd8acd" providerId="ADAL" clId="{F3A22D4D-2B68-4909-BFE7-4E46D0708FA9}" dt="2023-05-03T12:54:15.042" v="2142" actId="478"/>
          <ac:picMkLst>
            <pc:docMk/>
            <pc:sldMk cId="3903446456" sldId="350"/>
            <ac:picMk id="8" creationId="{66B491F0-2DF0-5E4B-E44F-0EE137C0F7FA}"/>
          </ac:picMkLst>
        </pc:picChg>
        <pc:picChg chg="del">
          <ac:chgData name="Hans Gelissen (DHL SSC Maastricht)" userId="1afa8510-4eed-4b73-a29e-678838cd8acd" providerId="ADAL" clId="{F3A22D4D-2B68-4909-BFE7-4E46D0708FA9}" dt="2023-05-03T12:54:12.570" v="2140" actId="478"/>
          <ac:picMkLst>
            <pc:docMk/>
            <pc:sldMk cId="3903446456" sldId="350"/>
            <ac:picMk id="9" creationId="{9B103CAC-4A60-0C0C-6DAB-C749DDBE4295}"/>
          </ac:picMkLst>
        </pc:picChg>
        <pc:picChg chg="del">
          <ac:chgData name="Hans Gelissen (DHL SSC Maastricht)" userId="1afa8510-4eed-4b73-a29e-678838cd8acd" providerId="ADAL" clId="{F3A22D4D-2B68-4909-BFE7-4E46D0708FA9}" dt="2023-05-03T12:54:13.689" v="2141" actId="478"/>
          <ac:picMkLst>
            <pc:docMk/>
            <pc:sldMk cId="3903446456" sldId="350"/>
            <ac:picMk id="11" creationId="{5E1479B6-40B2-ED9D-53DA-F260DB2AF8F5}"/>
          </ac:picMkLst>
        </pc:picChg>
      </pc:sldChg>
      <pc:sldChg chg="addSp delSp modSp add mod modClrScheme chgLayout">
        <pc:chgData name="Hans Gelissen (DHL SSC Maastricht)" userId="1afa8510-4eed-4b73-a29e-678838cd8acd" providerId="ADAL" clId="{F3A22D4D-2B68-4909-BFE7-4E46D0708FA9}" dt="2023-05-03T14:58:30.483" v="2482" actId="14100"/>
        <pc:sldMkLst>
          <pc:docMk/>
          <pc:sldMk cId="2561622772" sldId="351"/>
        </pc:sldMkLst>
        <pc:spChg chg="add del mod ord">
          <ac:chgData name="Hans Gelissen (DHL SSC Maastricht)" userId="1afa8510-4eed-4b73-a29e-678838cd8acd" providerId="ADAL" clId="{F3A22D4D-2B68-4909-BFE7-4E46D0708FA9}" dt="2023-05-03T14:58:10.397" v="2481" actId="931"/>
          <ac:spMkLst>
            <pc:docMk/>
            <pc:sldMk cId="2561622772" sldId="351"/>
            <ac:spMk id="2" creationId="{6F81677A-480B-6175-7D30-DD127D4E10B6}"/>
          </ac:spMkLst>
        </pc:spChg>
        <pc:spChg chg="mod ord">
          <ac:chgData name="Hans Gelissen (DHL SSC Maastricht)" userId="1afa8510-4eed-4b73-a29e-678838cd8acd" providerId="ADAL" clId="{F3A22D4D-2B68-4909-BFE7-4E46D0708FA9}" dt="2023-05-03T14:58:30.483" v="2482" actId="14100"/>
          <ac:spMkLst>
            <pc:docMk/>
            <pc:sldMk cId="2561622772" sldId="351"/>
            <ac:spMk id="6" creationId="{9A498622-B694-1932-CE76-670BBA54C07E}"/>
          </ac:spMkLst>
        </pc:spChg>
        <pc:picChg chg="add mod">
          <ac:chgData name="Hans Gelissen (DHL SSC Maastricht)" userId="1afa8510-4eed-4b73-a29e-678838cd8acd" providerId="ADAL" clId="{F3A22D4D-2B68-4909-BFE7-4E46D0708FA9}" dt="2023-05-03T14:58:10.397" v="2481" actId="931"/>
          <ac:picMkLst>
            <pc:docMk/>
            <pc:sldMk cId="2561622772" sldId="351"/>
            <ac:picMk id="4" creationId="{2A4AAF90-1A95-82A9-7EBE-9772BA47251A}"/>
          </ac:picMkLst>
        </pc:picChg>
      </pc:sldChg>
      <pc:sldChg chg="addSp delSp modSp add mod modAnim">
        <pc:chgData name="Hans Gelissen (DHL SSC Maastricht)" userId="1afa8510-4eed-4b73-a29e-678838cd8acd" providerId="ADAL" clId="{F3A22D4D-2B68-4909-BFE7-4E46D0708FA9}" dt="2023-05-10T14:16:54.627" v="10407" actId="14100"/>
        <pc:sldMkLst>
          <pc:docMk/>
          <pc:sldMk cId="3430787294" sldId="352"/>
        </pc:sldMkLst>
        <pc:spChg chg="mod">
          <ac:chgData name="Hans Gelissen (DHL SSC Maastricht)" userId="1afa8510-4eed-4b73-a29e-678838cd8acd" providerId="ADAL" clId="{F3A22D4D-2B68-4909-BFE7-4E46D0708FA9}" dt="2023-05-03T15:44:54.356" v="3172" actId="20577"/>
          <ac:spMkLst>
            <pc:docMk/>
            <pc:sldMk cId="3430787294" sldId="352"/>
            <ac:spMk id="2" creationId="{CED8FA4E-9F3D-3515-A91C-152714E7945B}"/>
          </ac:spMkLst>
        </pc:spChg>
        <pc:spChg chg="add mod topLvl">
          <ac:chgData name="Hans Gelissen (DHL SSC Maastricht)" userId="1afa8510-4eed-4b73-a29e-678838cd8acd" providerId="ADAL" clId="{F3A22D4D-2B68-4909-BFE7-4E46D0708FA9}" dt="2023-05-05T11:47:56.002" v="7146" actId="1076"/>
          <ac:spMkLst>
            <pc:docMk/>
            <pc:sldMk cId="3430787294" sldId="352"/>
            <ac:spMk id="5" creationId="{E5700FB0-75AE-A6A6-FF0B-8600EAB82504}"/>
          </ac:spMkLst>
        </pc:spChg>
        <pc:spChg chg="add mod topLvl">
          <ac:chgData name="Hans Gelissen (DHL SSC Maastricht)" userId="1afa8510-4eed-4b73-a29e-678838cd8acd" providerId="ADAL" clId="{F3A22D4D-2B68-4909-BFE7-4E46D0708FA9}" dt="2023-05-05T11:47:56.002" v="7146" actId="1076"/>
          <ac:spMkLst>
            <pc:docMk/>
            <pc:sldMk cId="3430787294" sldId="352"/>
            <ac:spMk id="7" creationId="{3AC7206C-93A8-B1A5-E677-69F1DA3991D6}"/>
          </ac:spMkLst>
        </pc:spChg>
        <pc:spChg chg="add mod topLvl">
          <ac:chgData name="Hans Gelissen (DHL SSC Maastricht)" userId="1afa8510-4eed-4b73-a29e-678838cd8acd" providerId="ADAL" clId="{F3A22D4D-2B68-4909-BFE7-4E46D0708FA9}" dt="2023-05-10T14:16:29.230" v="10404" actId="14100"/>
          <ac:spMkLst>
            <pc:docMk/>
            <pc:sldMk cId="3430787294" sldId="352"/>
            <ac:spMk id="10" creationId="{1B6CAE01-CC8E-B780-95FB-61B5FF72AD9E}"/>
          </ac:spMkLst>
        </pc:spChg>
        <pc:spChg chg="add mod topLvl">
          <ac:chgData name="Hans Gelissen (DHL SSC Maastricht)" userId="1afa8510-4eed-4b73-a29e-678838cd8acd" providerId="ADAL" clId="{F3A22D4D-2B68-4909-BFE7-4E46D0708FA9}" dt="2023-05-10T14:16:54.627" v="10407" actId="14100"/>
          <ac:spMkLst>
            <pc:docMk/>
            <pc:sldMk cId="3430787294" sldId="352"/>
            <ac:spMk id="12" creationId="{BB0D617D-1D3E-DD8C-3CA7-233264590A39}"/>
          </ac:spMkLst>
        </pc:spChg>
        <pc:spChg chg="del">
          <ac:chgData name="Hans Gelissen (DHL SSC Maastricht)" userId="1afa8510-4eed-4b73-a29e-678838cd8acd" providerId="ADAL" clId="{F3A22D4D-2B68-4909-BFE7-4E46D0708FA9}" dt="2023-05-03T15:00:15.251" v="2562" actId="478"/>
          <ac:spMkLst>
            <pc:docMk/>
            <pc:sldMk cId="3430787294" sldId="352"/>
            <ac:spMk id="19" creationId="{A57E3ED5-D5A1-FFF1-A25F-978269D08698}"/>
          </ac:spMkLst>
        </pc:spChg>
        <pc:spChg chg="del">
          <ac:chgData name="Hans Gelissen (DHL SSC Maastricht)" userId="1afa8510-4eed-4b73-a29e-678838cd8acd" providerId="ADAL" clId="{F3A22D4D-2B68-4909-BFE7-4E46D0708FA9}" dt="2023-05-03T15:00:18.729" v="2563" actId="478"/>
          <ac:spMkLst>
            <pc:docMk/>
            <pc:sldMk cId="3430787294" sldId="352"/>
            <ac:spMk id="20" creationId="{053C3D55-C8DB-9FDC-36E1-F49AF63AB6BB}"/>
          </ac:spMkLst>
        </pc:spChg>
        <pc:spChg chg="del">
          <ac:chgData name="Hans Gelissen (DHL SSC Maastricht)" userId="1afa8510-4eed-4b73-a29e-678838cd8acd" providerId="ADAL" clId="{F3A22D4D-2B68-4909-BFE7-4E46D0708FA9}" dt="2023-05-03T15:00:18.729" v="2563" actId="478"/>
          <ac:spMkLst>
            <pc:docMk/>
            <pc:sldMk cId="3430787294" sldId="352"/>
            <ac:spMk id="21" creationId="{8685E1F8-1AA2-FEF3-170C-5D36DA7A5652}"/>
          </ac:spMkLst>
        </pc:spChg>
        <pc:spChg chg="del">
          <ac:chgData name="Hans Gelissen (DHL SSC Maastricht)" userId="1afa8510-4eed-4b73-a29e-678838cd8acd" providerId="ADAL" clId="{F3A22D4D-2B68-4909-BFE7-4E46D0708FA9}" dt="2023-05-03T15:00:18.729" v="2563" actId="478"/>
          <ac:spMkLst>
            <pc:docMk/>
            <pc:sldMk cId="3430787294" sldId="352"/>
            <ac:spMk id="22" creationId="{C4A58A25-1FCB-74EC-D355-86C33B324666}"/>
          </ac:spMkLst>
        </pc:spChg>
        <pc:spChg chg="del">
          <ac:chgData name="Hans Gelissen (DHL SSC Maastricht)" userId="1afa8510-4eed-4b73-a29e-678838cd8acd" providerId="ADAL" clId="{F3A22D4D-2B68-4909-BFE7-4E46D0708FA9}" dt="2023-05-03T15:00:12.744" v="2560" actId="478"/>
          <ac:spMkLst>
            <pc:docMk/>
            <pc:sldMk cId="3430787294" sldId="352"/>
            <ac:spMk id="23" creationId="{332FD99B-0BB0-82FA-42CB-14E6D1342E00}"/>
          </ac:spMkLst>
        </pc:spChg>
        <pc:spChg chg="del">
          <ac:chgData name="Hans Gelissen (DHL SSC Maastricht)" userId="1afa8510-4eed-4b73-a29e-678838cd8acd" providerId="ADAL" clId="{F3A22D4D-2B68-4909-BFE7-4E46D0708FA9}" dt="2023-05-03T15:00:14.032" v="2561" actId="478"/>
          <ac:spMkLst>
            <pc:docMk/>
            <pc:sldMk cId="3430787294" sldId="352"/>
            <ac:spMk id="24" creationId="{E4D1F5AF-F1CC-77C2-F476-22C8AC0BA369}"/>
          </ac:spMkLst>
        </pc:spChg>
        <pc:spChg chg="del">
          <ac:chgData name="Hans Gelissen (DHL SSC Maastricht)" userId="1afa8510-4eed-4b73-a29e-678838cd8acd" providerId="ADAL" clId="{F3A22D4D-2B68-4909-BFE7-4E46D0708FA9}" dt="2023-05-03T15:00:18.729" v="2563" actId="478"/>
          <ac:spMkLst>
            <pc:docMk/>
            <pc:sldMk cId="3430787294" sldId="352"/>
            <ac:spMk id="25" creationId="{9190A527-AFC2-63B4-B954-E27A3E068620}"/>
          </ac:spMkLst>
        </pc:spChg>
        <pc:spChg chg="del">
          <ac:chgData name="Hans Gelissen (DHL SSC Maastricht)" userId="1afa8510-4eed-4b73-a29e-678838cd8acd" providerId="ADAL" clId="{F3A22D4D-2B68-4909-BFE7-4E46D0708FA9}" dt="2023-05-03T15:00:18.729" v="2563" actId="478"/>
          <ac:spMkLst>
            <pc:docMk/>
            <pc:sldMk cId="3430787294" sldId="352"/>
            <ac:spMk id="26" creationId="{EFA8A056-E827-FC54-CF30-D4453603FFA9}"/>
          </ac:spMkLst>
        </pc:spChg>
        <pc:spChg chg="del">
          <ac:chgData name="Hans Gelissen (DHL SSC Maastricht)" userId="1afa8510-4eed-4b73-a29e-678838cd8acd" providerId="ADAL" clId="{F3A22D4D-2B68-4909-BFE7-4E46D0708FA9}" dt="2023-05-03T15:00:18.729" v="2563" actId="478"/>
          <ac:spMkLst>
            <pc:docMk/>
            <pc:sldMk cId="3430787294" sldId="352"/>
            <ac:spMk id="27" creationId="{8428F76A-ABE0-B98B-009F-F09AA7420BB3}"/>
          </ac:spMkLst>
        </pc:spChg>
        <pc:grpChg chg="add del mod">
          <ac:chgData name="Hans Gelissen (DHL SSC Maastricht)" userId="1afa8510-4eed-4b73-a29e-678838cd8acd" providerId="ADAL" clId="{F3A22D4D-2B68-4909-BFE7-4E46D0708FA9}" dt="2023-05-04T14:07:16.843" v="3484" actId="165"/>
          <ac:grpSpMkLst>
            <pc:docMk/>
            <pc:sldMk cId="3430787294" sldId="352"/>
            <ac:grpSpMk id="3" creationId="{A9EDB911-EE83-4A34-F347-BD747F08625B}"/>
          </ac:grpSpMkLst>
        </pc:grpChg>
        <pc:grpChg chg="add del mod">
          <ac:chgData name="Hans Gelissen (DHL SSC Maastricht)" userId="1afa8510-4eed-4b73-a29e-678838cd8acd" providerId="ADAL" clId="{F3A22D4D-2B68-4909-BFE7-4E46D0708FA9}" dt="2023-05-03T15:47:12.598" v="3246" actId="165"/>
          <ac:grpSpMkLst>
            <pc:docMk/>
            <pc:sldMk cId="3430787294" sldId="352"/>
            <ac:grpSpMk id="13" creationId="{916A27E9-8098-9547-EBDE-29DCDC9B588A}"/>
          </ac:grpSpMkLst>
        </pc:grpChg>
        <pc:grpChg chg="add mod topLvl">
          <ac:chgData name="Hans Gelissen (DHL SSC Maastricht)" userId="1afa8510-4eed-4b73-a29e-678838cd8acd" providerId="ADAL" clId="{F3A22D4D-2B68-4909-BFE7-4E46D0708FA9}" dt="2023-05-05T11:47:56.002" v="7146" actId="1076"/>
          <ac:grpSpMkLst>
            <pc:docMk/>
            <pc:sldMk cId="3430787294" sldId="352"/>
            <ac:grpSpMk id="15" creationId="{CADAF465-6260-8D1F-1059-FCCD856114D2}"/>
          </ac:grpSpMkLst>
        </pc:grpChg>
        <pc:grpChg chg="add mod topLvl">
          <ac:chgData name="Hans Gelissen (DHL SSC Maastricht)" userId="1afa8510-4eed-4b73-a29e-678838cd8acd" providerId="ADAL" clId="{F3A22D4D-2B68-4909-BFE7-4E46D0708FA9}" dt="2023-05-05T11:47:56.002" v="7146" actId="1076"/>
          <ac:grpSpMkLst>
            <pc:docMk/>
            <pc:sldMk cId="3430787294" sldId="352"/>
            <ac:grpSpMk id="17" creationId="{A145592E-218A-F6B6-84FF-9108E88F2DA8}"/>
          </ac:grpSpMkLst>
        </pc:grpChg>
        <pc:grpChg chg="add mod topLvl">
          <ac:chgData name="Hans Gelissen (DHL SSC Maastricht)" userId="1afa8510-4eed-4b73-a29e-678838cd8acd" providerId="ADAL" clId="{F3A22D4D-2B68-4909-BFE7-4E46D0708FA9}" dt="2023-05-05T11:47:56.002" v="7146" actId="1076"/>
          <ac:grpSpMkLst>
            <pc:docMk/>
            <pc:sldMk cId="3430787294" sldId="352"/>
            <ac:grpSpMk id="18" creationId="{CB7B9CC2-963A-54D0-36F6-DD9D452BB4A3}"/>
          </ac:grpSpMkLst>
        </pc:grpChg>
        <pc:grpChg chg="add mod topLvl">
          <ac:chgData name="Hans Gelissen (DHL SSC Maastricht)" userId="1afa8510-4eed-4b73-a29e-678838cd8acd" providerId="ADAL" clId="{F3A22D4D-2B68-4909-BFE7-4E46D0708FA9}" dt="2023-05-04T14:07:16.843" v="3484" actId="165"/>
          <ac:grpSpMkLst>
            <pc:docMk/>
            <pc:sldMk cId="3430787294" sldId="352"/>
            <ac:grpSpMk id="28" creationId="{0A5B8016-6CEE-FF22-DE8F-D2EEC686F445}"/>
          </ac:grpSpMkLst>
        </pc:grpChg>
        <pc:picChg chg="del">
          <ac:chgData name="Hans Gelissen (DHL SSC Maastricht)" userId="1afa8510-4eed-4b73-a29e-678838cd8acd" providerId="ADAL" clId="{F3A22D4D-2B68-4909-BFE7-4E46D0708FA9}" dt="2023-05-03T15:00:07.813" v="2558" actId="478"/>
          <ac:picMkLst>
            <pc:docMk/>
            <pc:sldMk cId="3430787294" sldId="352"/>
            <ac:picMk id="3" creationId="{58FA0815-A55B-E199-113D-B737B72FBFD5}"/>
          </ac:picMkLst>
        </pc:picChg>
        <pc:picChg chg="del">
          <ac:chgData name="Hans Gelissen (DHL SSC Maastricht)" userId="1afa8510-4eed-4b73-a29e-678838cd8acd" providerId="ADAL" clId="{F3A22D4D-2B68-4909-BFE7-4E46D0708FA9}" dt="2023-05-03T15:00:09.033" v="2559" actId="478"/>
          <ac:picMkLst>
            <pc:docMk/>
            <pc:sldMk cId="3430787294" sldId="352"/>
            <ac:picMk id="4" creationId="{CCEE5155-B304-FC42-C6CE-4E37DE704C95}"/>
          </ac:picMkLst>
        </pc:picChg>
        <pc:picChg chg="del">
          <ac:chgData name="Hans Gelissen (DHL SSC Maastricht)" userId="1afa8510-4eed-4b73-a29e-678838cd8acd" providerId="ADAL" clId="{F3A22D4D-2B68-4909-BFE7-4E46D0708FA9}" dt="2023-05-03T15:00:06.324" v="2556" actId="478"/>
          <ac:picMkLst>
            <pc:docMk/>
            <pc:sldMk cId="3430787294" sldId="352"/>
            <ac:picMk id="6" creationId="{E04FA604-DC34-9FB3-1FF9-7CB34E019B8C}"/>
          </ac:picMkLst>
        </pc:picChg>
        <pc:picChg chg="del">
          <ac:chgData name="Hans Gelissen (DHL SSC Maastricht)" userId="1afa8510-4eed-4b73-a29e-678838cd8acd" providerId="ADAL" clId="{F3A22D4D-2B68-4909-BFE7-4E46D0708FA9}" dt="2023-05-03T15:00:07.046" v="2557" actId="478"/>
          <ac:picMkLst>
            <pc:docMk/>
            <pc:sldMk cId="3430787294" sldId="352"/>
            <ac:picMk id="8" creationId="{66B491F0-2DF0-5E4B-E44F-0EE137C0F7FA}"/>
          </ac:picMkLst>
        </pc:picChg>
        <pc:picChg chg="del">
          <ac:chgData name="Hans Gelissen (DHL SSC Maastricht)" userId="1afa8510-4eed-4b73-a29e-678838cd8acd" providerId="ADAL" clId="{F3A22D4D-2B68-4909-BFE7-4E46D0708FA9}" dt="2023-05-03T15:00:04.631" v="2554" actId="478"/>
          <ac:picMkLst>
            <pc:docMk/>
            <pc:sldMk cId="3430787294" sldId="352"/>
            <ac:picMk id="9" creationId="{9B103CAC-4A60-0C0C-6DAB-C749DDBE4295}"/>
          </ac:picMkLst>
        </pc:picChg>
        <pc:picChg chg="del">
          <ac:chgData name="Hans Gelissen (DHL SSC Maastricht)" userId="1afa8510-4eed-4b73-a29e-678838cd8acd" providerId="ADAL" clId="{F3A22D4D-2B68-4909-BFE7-4E46D0708FA9}" dt="2023-05-03T15:00:05.732" v="2555" actId="478"/>
          <ac:picMkLst>
            <pc:docMk/>
            <pc:sldMk cId="3430787294" sldId="352"/>
            <ac:picMk id="11" creationId="{5E1479B6-40B2-ED9D-53DA-F260DB2AF8F5}"/>
          </ac:picMkLst>
        </pc:picChg>
        <pc:picChg chg="mod ord">
          <ac:chgData name="Hans Gelissen (DHL SSC Maastricht)" userId="1afa8510-4eed-4b73-a29e-678838cd8acd" providerId="ADAL" clId="{F3A22D4D-2B68-4909-BFE7-4E46D0708FA9}" dt="2023-05-03T15:13:10.542" v="2650" actId="1076"/>
          <ac:picMkLst>
            <pc:docMk/>
            <pc:sldMk cId="3430787294" sldId="352"/>
            <ac:picMk id="14" creationId="{DB02B294-0F47-379D-8D4B-B3A930CF0D01}"/>
          </ac:picMkLst>
        </pc:picChg>
        <pc:picChg chg="mod">
          <ac:chgData name="Hans Gelissen (DHL SSC Maastricht)" userId="1afa8510-4eed-4b73-a29e-678838cd8acd" providerId="ADAL" clId="{F3A22D4D-2B68-4909-BFE7-4E46D0708FA9}" dt="2023-05-03T15:01:52.693" v="2564"/>
          <ac:picMkLst>
            <pc:docMk/>
            <pc:sldMk cId="3430787294" sldId="352"/>
            <ac:picMk id="7174" creationId="{F803D9BE-575B-FD4D-7F23-42187E0771F4}"/>
          </ac:picMkLst>
        </pc:picChg>
        <pc:picChg chg="add del mod">
          <ac:chgData name="Hans Gelissen (DHL SSC Maastricht)" userId="1afa8510-4eed-4b73-a29e-678838cd8acd" providerId="ADAL" clId="{F3A22D4D-2B68-4909-BFE7-4E46D0708FA9}" dt="2023-05-03T15:09:56.590" v="2616" actId="478"/>
          <ac:picMkLst>
            <pc:docMk/>
            <pc:sldMk cId="3430787294" sldId="352"/>
            <ac:picMk id="11266" creationId="{74C6F3D1-E108-F05B-7DC9-F3097E4B9D17}"/>
          </ac:picMkLst>
        </pc:picChg>
        <pc:picChg chg="add del mod">
          <ac:chgData name="Hans Gelissen (DHL SSC Maastricht)" userId="1afa8510-4eed-4b73-a29e-678838cd8acd" providerId="ADAL" clId="{F3A22D4D-2B68-4909-BFE7-4E46D0708FA9}" dt="2023-05-03T15:10:12.470" v="2617" actId="478"/>
          <ac:picMkLst>
            <pc:docMk/>
            <pc:sldMk cId="3430787294" sldId="352"/>
            <ac:picMk id="11268" creationId="{A83E4A57-BBE6-1F15-5B24-EF78DF8C45FA}"/>
          </ac:picMkLst>
        </pc:picChg>
        <pc:picChg chg="add mod topLvl">
          <ac:chgData name="Hans Gelissen (DHL SSC Maastricht)" userId="1afa8510-4eed-4b73-a29e-678838cd8acd" providerId="ADAL" clId="{F3A22D4D-2B68-4909-BFE7-4E46D0708FA9}" dt="2023-05-04T14:07:16.843" v="3484" actId="165"/>
          <ac:picMkLst>
            <pc:docMk/>
            <pc:sldMk cId="3430787294" sldId="352"/>
            <ac:picMk id="11270" creationId="{6F47A5C9-B6D1-3336-6567-CFFE93803290}"/>
          </ac:picMkLst>
        </pc:picChg>
        <pc:picChg chg="add mod topLvl">
          <ac:chgData name="Hans Gelissen (DHL SSC Maastricht)" userId="1afa8510-4eed-4b73-a29e-678838cd8acd" providerId="ADAL" clId="{F3A22D4D-2B68-4909-BFE7-4E46D0708FA9}" dt="2023-05-05T11:47:56.002" v="7146" actId="1076"/>
          <ac:picMkLst>
            <pc:docMk/>
            <pc:sldMk cId="3430787294" sldId="352"/>
            <ac:picMk id="11272" creationId="{EA8629FE-BA8A-EE40-D3F4-13A530E5CEE3}"/>
          </ac:picMkLst>
        </pc:picChg>
        <pc:picChg chg="add mod topLvl">
          <ac:chgData name="Hans Gelissen (DHL SSC Maastricht)" userId="1afa8510-4eed-4b73-a29e-678838cd8acd" providerId="ADAL" clId="{F3A22D4D-2B68-4909-BFE7-4E46D0708FA9}" dt="2023-05-05T11:47:56.002" v="7146" actId="1076"/>
          <ac:picMkLst>
            <pc:docMk/>
            <pc:sldMk cId="3430787294" sldId="352"/>
            <ac:picMk id="11274" creationId="{E51FF589-4F69-6D62-D7A4-DDBD11745467}"/>
          </ac:picMkLst>
        </pc:picChg>
        <pc:picChg chg="add mod topLvl">
          <ac:chgData name="Hans Gelissen (DHL SSC Maastricht)" userId="1afa8510-4eed-4b73-a29e-678838cd8acd" providerId="ADAL" clId="{F3A22D4D-2B68-4909-BFE7-4E46D0708FA9}" dt="2023-05-05T11:47:56.002" v="7146" actId="1076"/>
          <ac:picMkLst>
            <pc:docMk/>
            <pc:sldMk cId="3430787294" sldId="352"/>
            <ac:picMk id="11276" creationId="{001E63AA-1890-E3AB-B83E-5651C96DD155}"/>
          </ac:picMkLst>
        </pc:picChg>
      </pc:sldChg>
      <pc:sldChg chg="addSp delSp modSp add mod modClrScheme addAnim delAnim modAnim chgLayout">
        <pc:chgData name="Hans Gelissen (DHL SSC Maastricht)" userId="1afa8510-4eed-4b73-a29e-678838cd8acd" providerId="ADAL" clId="{F3A22D4D-2B68-4909-BFE7-4E46D0708FA9}" dt="2023-05-10T11:21:46.468" v="10364" actId="478"/>
        <pc:sldMkLst>
          <pc:docMk/>
          <pc:sldMk cId="2180282456" sldId="353"/>
        </pc:sldMkLst>
        <pc:spChg chg="del mod ord">
          <ac:chgData name="Hans Gelissen (DHL SSC Maastricht)" userId="1afa8510-4eed-4b73-a29e-678838cd8acd" providerId="ADAL" clId="{F3A22D4D-2B68-4909-BFE7-4E46D0708FA9}" dt="2023-05-03T15:23:06.575" v="2758" actId="700"/>
          <ac:spMkLst>
            <pc:docMk/>
            <pc:sldMk cId="2180282456" sldId="353"/>
            <ac:spMk id="2" creationId="{38E33848-C1C9-3AC8-069E-5A62743CE835}"/>
          </ac:spMkLst>
        </pc:spChg>
        <pc:spChg chg="del">
          <ac:chgData name="Hans Gelissen (DHL SSC Maastricht)" userId="1afa8510-4eed-4b73-a29e-678838cd8acd" providerId="ADAL" clId="{F3A22D4D-2B68-4909-BFE7-4E46D0708FA9}" dt="2023-05-03T15:21:37.430" v="2754" actId="478"/>
          <ac:spMkLst>
            <pc:docMk/>
            <pc:sldMk cId="2180282456" sldId="353"/>
            <ac:spMk id="3" creationId="{06C31ADB-1BF6-C596-EC1D-8ED5CDE6F7C3}"/>
          </ac:spMkLst>
        </pc:spChg>
        <pc:spChg chg="add mod ord">
          <ac:chgData name="Hans Gelissen (DHL SSC Maastricht)" userId="1afa8510-4eed-4b73-a29e-678838cd8acd" providerId="ADAL" clId="{F3A22D4D-2B68-4909-BFE7-4E46D0708FA9}" dt="2023-05-03T15:23:42.570" v="2778" actId="20577"/>
          <ac:spMkLst>
            <pc:docMk/>
            <pc:sldMk cId="2180282456" sldId="353"/>
            <ac:spMk id="4" creationId="{1CB3A4A3-F9D4-2584-BFCD-8510BB515C15}"/>
          </ac:spMkLst>
        </pc:spChg>
        <pc:spChg chg="add del mod ord">
          <ac:chgData name="Hans Gelissen (DHL SSC Maastricht)" userId="1afa8510-4eed-4b73-a29e-678838cd8acd" providerId="ADAL" clId="{F3A22D4D-2B68-4909-BFE7-4E46D0708FA9}" dt="2023-05-03T15:23:14.193" v="2759" actId="931"/>
          <ac:spMkLst>
            <pc:docMk/>
            <pc:sldMk cId="2180282456" sldId="353"/>
            <ac:spMk id="5" creationId="{ADB3E75E-0585-4FDA-E2CF-19FAD1B3057B}"/>
          </ac:spMkLst>
        </pc:spChg>
        <pc:spChg chg="add del mod ord">
          <ac:chgData name="Hans Gelissen (DHL SSC Maastricht)" userId="1afa8510-4eed-4b73-a29e-678838cd8acd" providerId="ADAL" clId="{F3A22D4D-2B68-4909-BFE7-4E46D0708FA9}" dt="2023-05-04T14:09:56.063" v="3495" actId="478"/>
          <ac:spMkLst>
            <pc:docMk/>
            <pc:sldMk cId="2180282456" sldId="353"/>
            <ac:spMk id="6" creationId="{0E9210B6-0331-3523-A7E2-CB2ED4D36DED}"/>
          </ac:spMkLst>
        </pc:spChg>
        <pc:spChg chg="add del mod">
          <ac:chgData name="Hans Gelissen (DHL SSC Maastricht)" userId="1afa8510-4eed-4b73-a29e-678838cd8acd" providerId="ADAL" clId="{F3A22D4D-2B68-4909-BFE7-4E46D0708FA9}" dt="2023-05-04T14:16:20.735" v="3582"/>
          <ac:spMkLst>
            <pc:docMk/>
            <pc:sldMk cId="2180282456" sldId="353"/>
            <ac:spMk id="9" creationId="{8298BF77-79E3-CFC1-C05C-A8F976BEDC45}"/>
          </ac:spMkLst>
        </pc:spChg>
        <pc:spChg chg="add del mod ord">
          <ac:chgData name="Hans Gelissen (DHL SSC Maastricht)" userId="1afa8510-4eed-4b73-a29e-678838cd8acd" providerId="ADAL" clId="{F3A22D4D-2B68-4909-BFE7-4E46D0708FA9}" dt="2023-05-10T11:21:46.468" v="10364" actId="478"/>
          <ac:spMkLst>
            <pc:docMk/>
            <pc:sldMk cId="2180282456" sldId="353"/>
            <ac:spMk id="10" creationId="{BD77EA13-4AB9-D072-42AE-F8F437F2D1CF}"/>
          </ac:spMkLst>
        </pc:spChg>
        <pc:spChg chg="add del mod">
          <ac:chgData name="Hans Gelissen (DHL SSC Maastricht)" userId="1afa8510-4eed-4b73-a29e-678838cd8acd" providerId="ADAL" clId="{F3A22D4D-2B68-4909-BFE7-4E46D0708FA9}" dt="2023-05-03T15:26:58.817" v="2798" actId="931"/>
          <ac:spMkLst>
            <pc:docMk/>
            <pc:sldMk cId="2180282456" sldId="353"/>
            <ac:spMk id="10" creationId="{EA8902A2-F8A4-7DFE-1045-2486CA519D4F}"/>
          </ac:spMkLst>
        </pc:spChg>
        <pc:spChg chg="add del mod ord">
          <ac:chgData name="Hans Gelissen (DHL SSC Maastricht)" userId="1afa8510-4eed-4b73-a29e-678838cd8acd" providerId="ADAL" clId="{F3A22D4D-2B68-4909-BFE7-4E46D0708FA9}" dt="2023-05-04T14:16:20.735" v="3582"/>
          <ac:spMkLst>
            <pc:docMk/>
            <pc:sldMk cId="2180282456" sldId="353"/>
            <ac:spMk id="11" creationId="{7C2B3F42-DAE1-7B1C-0701-419F3C723152}"/>
          </ac:spMkLst>
        </pc:spChg>
        <pc:spChg chg="add del mod">
          <ac:chgData name="Hans Gelissen (DHL SSC Maastricht)" userId="1afa8510-4eed-4b73-a29e-678838cd8acd" providerId="ADAL" clId="{F3A22D4D-2B68-4909-BFE7-4E46D0708FA9}" dt="2023-05-04T14:16:42.151" v="3589"/>
          <ac:spMkLst>
            <pc:docMk/>
            <pc:sldMk cId="2180282456" sldId="353"/>
            <ac:spMk id="13" creationId="{DB8A2230-530D-4574-E347-89BE5A6CD99D}"/>
          </ac:spMkLst>
        </pc:spChg>
        <pc:spChg chg="add del mod">
          <ac:chgData name="Hans Gelissen (DHL SSC Maastricht)" userId="1afa8510-4eed-4b73-a29e-678838cd8acd" providerId="ADAL" clId="{F3A22D4D-2B68-4909-BFE7-4E46D0708FA9}" dt="2023-05-04T14:16:42.151" v="3589"/>
          <ac:spMkLst>
            <pc:docMk/>
            <pc:sldMk cId="2180282456" sldId="353"/>
            <ac:spMk id="14" creationId="{FCBB156B-B082-5156-67E5-D973DE0B3EEF}"/>
          </ac:spMkLst>
        </pc:spChg>
        <pc:spChg chg="mod">
          <ac:chgData name="Hans Gelissen (DHL SSC Maastricht)" userId="1afa8510-4eed-4b73-a29e-678838cd8acd" providerId="ADAL" clId="{F3A22D4D-2B68-4909-BFE7-4E46D0708FA9}" dt="2023-05-04T14:16:27.410" v="3583" actId="14861"/>
          <ac:spMkLst>
            <pc:docMk/>
            <pc:sldMk cId="2180282456" sldId="353"/>
            <ac:spMk id="15" creationId="{8AFD572A-4193-BE02-BC59-FDFE4B9CDAF4}"/>
          </ac:spMkLst>
        </pc:spChg>
        <pc:spChg chg="mod">
          <ac:chgData name="Hans Gelissen (DHL SSC Maastricht)" userId="1afa8510-4eed-4b73-a29e-678838cd8acd" providerId="ADAL" clId="{F3A22D4D-2B68-4909-BFE7-4E46D0708FA9}" dt="2023-05-04T14:16:48.902" v="3590" actId="108"/>
          <ac:spMkLst>
            <pc:docMk/>
            <pc:sldMk cId="2180282456" sldId="353"/>
            <ac:spMk id="16" creationId="{25E5339F-D318-EFDF-9F0B-0128ADF9057C}"/>
          </ac:spMkLst>
        </pc:spChg>
        <pc:spChg chg="add del mod">
          <ac:chgData name="Hans Gelissen (DHL SSC Maastricht)" userId="1afa8510-4eed-4b73-a29e-678838cd8acd" providerId="ADAL" clId="{F3A22D4D-2B68-4909-BFE7-4E46D0708FA9}" dt="2023-05-10T11:21:46.468" v="10364" actId="478"/>
          <ac:spMkLst>
            <pc:docMk/>
            <pc:sldMk cId="2180282456" sldId="353"/>
            <ac:spMk id="17" creationId="{5744B41F-C7BF-6A75-9C77-C5C0EE686381}"/>
          </ac:spMkLst>
        </pc:spChg>
        <pc:graphicFrameChg chg="add del mod modGraphic">
          <ac:chgData name="Hans Gelissen (DHL SSC Maastricht)" userId="1afa8510-4eed-4b73-a29e-678838cd8acd" providerId="ADAL" clId="{F3A22D4D-2B68-4909-BFE7-4E46D0708FA9}" dt="2023-05-04T14:10:24.970" v="3499" actId="478"/>
          <ac:graphicFrameMkLst>
            <pc:docMk/>
            <pc:sldMk cId="2180282456" sldId="353"/>
            <ac:graphicFrameMk id="2" creationId="{58533F76-85DD-3302-72D8-9D0A1FCED41C}"/>
          </ac:graphicFrameMkLst>
        </pc:graphicFrameChg>
        <pc:picChg chg="add mod ord">
          <ac:chgData name="Hans Gelissen (DHL SSC Maastricht)" userId="1afa8510-4eed-4b73-a29e-678838cd8acd" providerId="ADAL" clId="{F3A22D4D-2B68-4909-BFE7-4E46D0708FA9}" dt="2023-05-04T14:16:36.116" v="3588" actId="1036"/>
          <ac:picMkLst>
            <pc:docMk/>
            <pc:sldMk cId="2180282456" sldId="353"/>
            <ac:picMk id="5" creationId="{A8FB0E63-0118-BE62-D45E-36AEC5FB9693}"/>
          </ac:picMkLst>
        </pc:picChg>
        <pc:picChg chg="add mod ord">
          <ac:chgData name="Hans Gelissen (DHL SSC Maastricht)" userId="1afa8510-4eed-4b73-a29e-678838cd8acd" providerId="ADAL" clId="{F3A22D4D-2B68-4909-BFE7-4E46D0708FA9}" dt="2023-05-04T14:16:57.998" v="3599" actId="1038"/>
          <ac:picMkLst>
            <pc:docMk/>
            <pc:sldMk cId="2180282456" sldId="353"/>
            <ac:picMk id="8" creationId="{55682465-1D15-865D-5D58-F8223FF27BE8}"/>
          </ac:picMkLst>
        </pc:picChg>
        <pc:picChg chg="add del mod modCrop">
          <ac:chgData name="Hans Gelissen (DHL SSC Maastricht)" userId="1afa8510-4eed-4b73-a29e-678838cd8acd" providerId="ADAL" clId="{F3A22D4D-2B68-4909-BFE7-4E46D0708FA9}" dt="2023-05-03T15:25:51.289" v="2793" actId="478"/>
          <ac:picMkLst>
            <pc:docMk/>
            <pc:sldMk cId="2180282456" sldId="353"/>
            <ac:picMk id="8" creationId="{8C347A04-49BD-AC46-0007-34AB71476B2F}"/>
          </ac:picMkLst>
        </pc:picChg>
        <pc:picChg chg="add mod modCrop">
          <ac:chgData name="Hans Gelissen (DHL SSC Maastricht)" userId="1afa8510-4eed-4b73-a29e-678838cd8acd" providerId="ADAL" clId="{F3A22D4D-2B68-4909-BFE7-4E46D0708FA9}" dt="2023-05-03T15:27:21.268" v="2806" actId="18131"/>
          <ac:picMkLst>
            <pc:docMk/>
            <pc:sldMk cId="2180282456" sldId="353"/>
            <ac:picMk id="12" creationId="{2BEBA16A-0410-1030-D21A-B26CCC4F2995}"/>
          </ac:picMkLst>
        </pc:picChg>
      </pc:sldChg>
      <pc:sldChg chg="addSp delSp modSp add mod modClrScheme addAnim delAnim modAnim chgLayout">
        <pc:chgData name="Hans Gelissen (DHL SSC Maastricht)" userId="1afa8510-4eed-4b73-a29e-678838cd8acd" providerId="ADAL" clId="{F3A22D4D-2B68-4909-BFE7-4E46D0708FA9}" dt="2023-05-10T11:57:48.955" v="10377" actId="20577"/>
        <pc:sldMkLst>
          <pc:docMk/>
          <pc:sldMk cId="1852614433" sldId="354"/>
        </pc:sldMkLst>
        <pc:spChg chg="del mod ord">
          <ac:chgData name="Hans Gelissen (DHL SSC Maastricht)" userId="1afa8510-4eed-4b73-a29e-678838cd8acd" providerId="ADAL" clId="{F3A22D4D-2B68-4909-BFE7-4E46D0708FA9}" dt="2023-05-03T15:24:48.754" v="2782" actId="700"/>
          <ac:spMkLst>
            <pc:docMk/>
            <pc:sldMk cId="1852614433" sldId="354"/>
            <ac:spMk id="2" creationId="{38E33848-C1C9-3AC8-069E-5A62743CE835}"/>
          </ac:spMkLst>
        </pc:spChg>
        <pc:spChg chg="add mod">
          <ac:chgData name="Hans Gelissen (DHL SSC Maastricht)" userId="1afa8510-4eed-4b73-a29e-678838cd8acd" providerId="ADAL" clId="{F3A22D4D-2B68-4909-BFE7-4E46D0708FA9}" dt="2023-05-04T14:27:08.337" v="3865"/>
          <ac:spMkLst>
            <pc:docMk/>
            <pc:sldMk cId="1852614433" sldId="354"/>
            <ac:spMk id="2" creationId="{BD962FD1-05E1-CE55-6B11-D6C2443E93A0}"/>
          </ac:spMkLst>
        </pc:spChg>
        <pc:spChg chg="add del mod ord">
          <ac:chgData name="Hans Gelissen (DHL SSC Maastricht)" userId="1afa8510-4eed-4b73-a29e-678838cd8acd" providerId="ADAL" clId="{F3A22D4D-2B68-4909-BFE7-4E46D0708FA9}" dt="2023-05-03T15:25:19.005" v="2785" actId="700"/>
          <ac:spMkLst>
            <pc:docMk/>
            <pc:sldMk cId="1852614433" sldId="354"/>
            <ac:spMk id="3" creationId="{3F1C1D88-296D-75C3-E75F-F9F62D2DE163}"/>
          </ac:spMkLst>
        </pc:spChg>
        <pc:spChg chg="add del mod ord">
          <ac:chgData name="Hans Gelissen (DHL SSC Maastricht)" userId="1afa8510-4eed-4b73-a29e-678838cd8acd" providerId="ADAL" clId="{F3A22D4D-2B68-4909-BFE7-4E46D0708FA9}" dt="2023-05-03T15:25:19.005" v="2785" actId="700"/>
          <ac:spMkLst>
            <pc:docMk/>
            <pc:sldMk cId="1852614433" sldId="354"/>
            <ac:spMk id="4" creationId="{532CB6AE-3DBE-2E5D-91D8-4E016CD68C27}"/>
          </ac:spMkLst>
        </pc:spChg>
        <pc:spChg chg="add mod">
          <ac:chgData name="Hans Gelissen (DHL SSC Maastricht)" userId="1afa8510-4eed-4b73-a29e-678838cd8acd" providerId="ADAL" clId="{F3A22D4D-2B68-4909-BFE7-4E46D0708FA9}" dt="2023-05-04T14:27:08.337" v="3865"/>
          <ac:spMkLst>
            <pc:docMk/>
            <pc:sldMk cId="1852614433" sldId="354"/>
            <ac:spMk id="4" creationId="{7B82A54A-AF52-305F-9CE1-BA59910512F5}"/>
          </ac:spMkLst>
        </pc:spChg>
        <pc:spChg chg="add del mod ord">
          <ac:chgData name="Hans Gelissen (DHL SSC Maastricht)" userId="1afa8510-4eed-4b73-a29e-678838cd8acd" providerId="ADAL" clId="{F3A22D4D-2B68-4909-BFE7-4E46D0708FA9}" dt="2023-05-03T15:25:19.005" v="2785" actId="700"/>
          <ac:spMkLst>
            <pc:docMk/>
            <pc:sldMk cId="1852614433" sldId="354"/>
            <ac:spMk id="5" creationId="{BD235953-F7FC-DE90-2015-227203A1950E}"/>
          </ac:spMkLst>
        </pc:spChg>
        <pc:spChg chg="add mod ord">
          <ac:chgData name="Hans Gelissen (DHL SSC Maastricht)" userId="1afa8510-4eed-4b73-a29e-678838cd8acd" providerId="ADAL" clId="{F3A22D4D-2B68-4909-BFE7-4E46D0708FA9}" dt="2023-05-03T15:29:01.795" v="2861" actId="20577"/>
          <ac:spMkLst>
            <pc:docMk/>
            <pc:sldMk cId="1852614433" sldId="354"/>
            <ac:spMk id="6" creationId="{2AB6010A-E6F0-AC15-A5B7-9DECD2A6DCA4}"/>
          </ac:spMkLst>
        </pc:spChg>
        <pc:spChg chg="add del mod ord">
          <ac:chgData name="Hans Gelissen (DHL SSC Maastricht)" userId="1afa8510-4eed-4b73-a29e-678838cd8acd" providerId="ADAL" clId="{F3A22D4D-2B68-4909-BFE7-4E46D0708FA9}" dt="2023-05-03T15:29:07.492" v="2862" actId="931"/>
          <ac:spMkLst>
            <pc:docMk/>
            <pc:sldMk cId="1852614433" sldId="354"/>
            <ac:spMk id="7" creationId="{1421FD8E-62E1-9946-DA5C-F166ACE02A49}"/>
          </ac:spMkLst>
        </pc:spChg>
        <pc:spChg chg="add del mod">
          <ac:chgData name="Hans Gelissen (DHL SSC Maastricht)" userId="1afa8510-4eed-4b73-a29e-678838cd8acd" providerId="ADAL" clId="{F3A22D4D-2B68-4909-BFE7-4E46D0708FA9}" dt="2023-05-10T11:57:48.955" v="10377" actId="20577"/>
          <ac:spMkLst>
            <pc:docMk/>
            <pc:sldMk cId="1852614433" sldId="354"/>
            <ac:spMk id="7" creationId="{5D714379-EB7B-2339-13DE-49557A056D0F}"/>
          </ac:spMkLst>
        </pc:spChg>
        <pc:spChg chg="add del mod ord">
          <ac:chgData name="Hans Gelissen (DHL SSC Maastricht)" userId="1afa8510-4eed-4b73-a29e-678838cd8acd" providerId="ADAL" clId="{F3A22D4D-2B68-4909-BFE7-4E46D0708FA9}" dt="2023-05-04T14:26:50.286" v="3863" actId="478"/>
          <ac:spMkLst>
            <pc:docMk/>
            <pc:sldMk cId="1852614433" sldId="354"/>
            <ac:spMk id="8" creationId="{2A670517-EB20-865F-21A8-0180E5C5B6B9}"/>
          </ac:spMkLst>
        </pc:spChg>
        <pc:spChg chg="add del mod">
          <ac:chgData name="Hans Gelissen (DHL SSC Maastricht)" userId="1afa8510-4eed-4b73-a29e-678838cd8acd" providerId="ADAL" clId="{F3A22D4D-2B68-4909-BFE7-4E46D0708FA9}" dt="2023-05-10T11:23:05.206" v="10368" actId="478"/>
          <ac:spMkLst>
            <pc:docMk/>
            <pc:sldMk cId="1852614433" sldId="354"/>
            <ac:spMk id="9" creationId="{177190F7-8CE4-975D-DDE5-60CB8A782498}"/>
          </ac:spMkLst>
        </pc:spChg>
        <pc:spChg chg="add del mod">
          <ac:chgData name="Hans Gelissen (DHL SSC Maastricht)" userId="1afa8510-4eed-4b73-a29e-678838cd8acd" providerId="ADAL" clId="{F3A22D4D-2B68-4909-BFE7-4E46D0708FA9}" dt="2023-05-03T15:29:44.327" v="2871" actId="931"/>
          <ac:spMkLst>
            <pc:docMk/>
            <pc:sldMk cId="1852614433" sldId="354"/>
            <ac:spMk id="12" creationId="{98338B89-1F3F-B4A1-C231-3C698178FD39}"/>
          </ac:spMkLst>
        </pc:spChg>
        <pc:picChg chg="add mod">
          <ac:chgData name="Hans Gelissen (DHL SSC Maastricht)" userId="1afa8510-4eed-4b73-a29e-678838cd8acd" providerId="ADAL" clId="{F3A22D4D-2B68-4909-BFE7-4E46D0708FA9}" dt="2023-05-04T14:27:08.337" v="3865"/>
          <ac:picMkLst>
            <pc:docMk/>
            <pc:sldMk cId="1852614433" sldId="354"/>
            <ac:picMk id="3" creationId="{12AE0A6A-FE03-13A8-8544-5543B77EA5DB}"/>
          </ac:picMkLst>
        </pc:picChg>
        <pc:picChg chg="add mod">
          <ac:chgData name="Hans Gelissen (DHL SSC Maastricht)" userId="1afa8510-4eed-4b73-a29e-678838cd8acd" providerId="ADAL" clId="{F3A22D4D-2B68-4909-BFE7-4E46D0708FA9}" dt="2023-05-04T14:27:08.337" v="3865"/>
          <ac:picMkLst>
            <pc:docMk/>
            <pc:sldMk cId="1852614433" sldId="354"/>
            <ac:picMk id="5" creationId="{BE5F71EF-678C-CB87-1548-8EE868147E2E}"/>
          </ac:picMkLst>
        </pc:picChg>
        <pc:picChg chg="add del mod">
          <ac:chgData name="Hans Gelissen (DHL SSC Maastricht)" userId="1afa8510-4eed-4b73-a29e-678838cd8acd" providerId="ADAL" clId="{F3A22D4D-2B68-4909-BFE7-4E46D0708FA9}" dt="2023-05-03T15:29:12.278" v="2866" actId="478"/>
          <ac:picMkLst>
            <pc:docMk/>
            <pc:sldMk cId="1852614433" sldId="354"/>
            <ac:picMk id="10" creationId="{58FA39CC-7720-7A90-F0E2-ACC052E4E8CC}"/>
          </ac:picMkLst>
        </pc:picChg>
        <pc:picChg chg="add del mod">
          <ac:chgData name="Hans Gelissen (DHL SSC Maastricht)" userId="1afa8510-4eed-4b73-a29e-678838cd8acd" providerId="ADAL" clId="{F3A22D4D-2B68-4909-BFE7-4E46D0708FA9}" dt="2023-05-03T15:29:41.058" v="2870" actId="478"/>
          <ac:picMkLst>
            <pc:docMk/>
            <pc:sldMk cId="1852614433" sldId="354"/>
            <ac:picMk id="13" creationId="{82B2183C-E751-15A6-A4F5-1D7495ED2862}"/>
          </ac:picMkLst>
        </pc:picChg>
        <pc:picChg chg="add mod modCrop">
          <ac:chgData name="Hans Gelissen (DHL SSC Maastricht)" userId="1afa8510-4eed-4b73-a29e-678838cd8acd" providerId="ADAL" clId="{F3A22D4D-2B68-4909-BFE7-4E46D0708FA9}" dt="2023-05-03T15:30:19.924" v="2883" actId="18131"/>
          <ac:picMkLst>
            <pc:docMk/>
            <pc:sldMk cId="1852614433" sldId="354"/>
            <ac:picMk id="15" creationId="{E48ECC78-7F08-D5B4-1434-F59B7F4A2202}"/>
          </ac:picMkLst>
        </pc:picChg>
      </pc:sldChg>
      <pc:sldChg chg="addSp delSp modSp add mod modClrScheme addAnim delAnim modAnim chgLayout">
        <pc:chgData name="Hans Gelissen (DHL SSC Maastricht)" userId="1afa8510-4eed-4b73-a29e-678838cd8acd" providerId="ADAL" clId="{F3A22D4D-2B68-4909-BFE7-4E46D0708FA9}" dt="2023-05-10T11:23:32.282" v="10370" actId="478"/>
        <pc:sldMkLst>
          <pc:docMk/>
          <pc:sldMk cId="660131861" sldId="355"/>
        </pc:sldMkLst>
        <pc:spChg chg="add mod">
          <ac:chgData name="Hans Gelissen (DHL SSC Maastricht)" userId="1afa8510-4eed-4b73-a29e-678838cd8acd" providerId="ADAL" clId="{F3A22D4D-2B68-4909-BFE7-4E46D0708FA9}" dt="2023-05-04T14:27:30.076" v="3872"/>
          <ac:spMkLst>
            <pc:docMk/>
            <pc:sldMk cId="660131861" sldId="355"/>
            <ac:spMk id="2" creationId="{5290CA80-742D-CF5B-4FD9-480235398BEC}"/>
          </ac:spMkLst>
        </pc:spChg>
        <pc:spChg chg="mod ord">
          <ac:chgData name="Hans Gelissen (DHL SSC Maastricht)" userId="1afa8510-4eed-4b73-a29e-678838cd8acd" providerId="ADAL" clId="{F3A22D4D-2B68-4909-BFE7-4E46D0708FA9}" dt="2023-05-05T11:12:38.825" v="6427" actId="700"/>
          <ac:spMkLst>
            <pc:docMk/>
            <pc:sldMk cId="660131861" sldId="355"/>
            <ac:spMk id="4" creationId="{F4C7A97F-36C7-A08C-C3E2-3DD5B0E6E57A}"/>
          </ac:spMkLst>
        </pc:spChg>
        <pc:spChg chg="del">
          <ac:chgData name="Hans Gelissen (DHL SSC Maastricht)" userId="1afa8510-4eed-4b73-a29e-678838cd8acd" providerId="ADAL" clId="{F3A22D4D-2B68-4909-BFE7-4E46D0708FA9}" dt="2023-05-03T15:30:27.295" v="2884" actId="931"/>
          <ac:spMkLst>
            <pc:docMk/>
            <pc:sldMk cId="660131861" sldId="355"/>
            <ac:spMk id="5" creationId="{64D74A59-FE77-A700-0CA7-74E4100C553E}"/>
          </ac:spMkLst>
        </pc:spChg>
        <pc:spChg chg="add mod">
          <ac:chgData name="Hans Gelissen (DHL SSC Maastricht)" userId="1afa8510-4eed-4b73-a29e-678838cd8acd" providerId="ADAL" clId="{F3A22D4D-2B68-4909-BFE7-4E46D0708FA9}" dt="2023-05-04T14:27:30.076" v="3872"/>
          <ac:spMkLst>
            <pc:docMk/>
            <pc:sldMk cId="660131861" sldId="355"/>
            <ac:spMk id="5" creationId="{936A65BB-B97A-9E6A-867E-05E868E10D2E}"/>
          </ac:spMkLst>
        </pc:spChg>
        <pc:spChg chg="add del mod ord">
          <ac:chgData name="Hans Gelissen (DHL SSC Maastricht)" userId="1afa8510-4eed-4b73-a29e-678838cd8acd" providerId="ADAL" clId="{F3A22D4D-2B68-4909-BFE7-4E46D0708FA9}" dt="2023-05-08T09:58:56.773" v="9042" actId="478"/>
          <ac:spMkLst>
            <pc:docMk/>
            <pc:sldMk cId="660131861" sldId="355"/>
            <ac:spMk id="6" creationId="{D8B3820B-3DAA-8BEF-216D-45657C07CC11}"/>
          </ac:spMkLst>
        </pc:spChg>
        <pc:spChg chg="del">
          <ac:chgData name="Hans Gelissen (DHL SSC Maastricht)" userId="1afa8510-4eed-4b73-a29e-678838cd8acd" providerId="ADAL" clId="{F3A22D4D-2B68-4909-BFE7-4E46D0708FA9}" dt="2023-05-04T14:26:54.156" v="3864" actId="478"/>
          <ac:spMkLst>
            <pc:docMk/>
            <pc:sldMk cId="660131861" sldId="355"/>
            <ac:spMk id="6" creationId="{DBA6F90E-143F-5D85-98FD-7C7A297A9B04}"/>
          </ac:spMkLst>
        </pc:spChg>
        <pc:spChg chg="add del mod">
          <ac:chgData name="Hans Gelissen (DHL SSC Maastricht)" userId="1afa8510-4eed-4b73-a29e-678838cd8acd" providerId="ADAL" clId="{F3A22D4D-2B68-4909-BFE7-4E46D0708FA9}" dt="2023-05-10T11:23:32.282" v="10370" actId="478"/>
          <ac:spMkLst>
            <pc:docMk/>
            <pc:sldMk cId="660131861" sldId="355"/>
            <ac:spMk id="8" creationId="{229E86AB-1160-01B3-11AB-AC7FD1EECD75}"/>
          </ac:spMkLst>
        </pc:spChg>
        <pc:spChg chg="add del mod">
          <ac:chgData name="Hans Gelissen (DHL SSC Maastricht)" userId="1afa8510-4eed-4b73-a29e-678838cd8acd" providerId="ADAL" clId="{F3A22D4D-2B68-4909-BFE7-4E46D0708FA9}" dt="2023-05-03T15:31:19.282" v="2893" actId="931"/>
          <ac:spMkLst>
            <pc:docMk/>
            <pc:sldMk cId="660131861" sldId="355"/>
            <ac:spMk id="8" creationId="{A511EDDD-6172-AC29-75EC-34D8CBF8B30A}"/>
          </ac:spMkLst>
        </pc:spChg>
        <pc:spChg chg="add del mod">
          <ac:chgData name="Hans Gelissen (DHL SSC Maastricht)" userId="1afa8510-4eed-4b73-a29e-678838cd8acd" providerId="ADAL" clId="{F3A22D4D-2B68-4909-BFE7-4E46D0708FA9}" dt="2023-05-10T11:23:32.282" v="10370" actId="478"/>
          <ac:spMkLst>
            <pc:docMk/>
            <pc:sldMk cId="660131861" sldId="355"/>
            <ac:spMk id="9" creationId="{C305CC9F-35AE-0600-1B1B-3149C1A91B8F}"/>
          </ac:spMkLst>
        </pc:spChg>
        <pc:picChg chg="add del mod">
          <ac:chgData name="Hans Gelissen (DHL SSC Maastricht)" userId="1afa8510-4eed-4b73-a29e-678838cd8acd" providerId="ADAL" clId="{F3A22D4D-2B68-4909-BFE7-4E46D0708FA9}" dt="2023-05-03T15:30:33.175" v="2888" actId="478"/>
          <ac:picMkLst>
            <pc:docMk/>
            <pc:sldMk cId="660131861" sldId="355"/>
            <ac:picMk id="3" creationId="{5CAD88FF-C1FA-07C1-26B5-FFFCB29D380F}"/>
          </ac:picMkLst>
        </pc:picChg>
        <pc:picChg chg="add mod">
          <ac:chgData name="Hans Gelissen (DHL SSC Maastricht)" userId="1afa8510-4eed-4b73-a29e-678838cd8acd" providerId="ADAL" clId="{F3A22D4D-2B68-4909-BFE7-4E46D0708FA9}" dt="2023-05-04T14:27:30.076" v="3872"/>
          <ac:picMkLst>
            <pc:docMk/>
            <pc:sldMk cId="660131861" sldId="355"/>
            <ac:picMk id="3" creationId="{BE7E29D5-27CF-10FE-47C7-91A1D57F49AD}"/>
          </ac:picMkLst>
        </pc:picChg>
        <pc:picChg chg="add mod">
          <ac:chgData name="Hans Gelissen (DHL SSC Maastricht)" userId="1afa8510-4eed-4b73-a29e-678838cd8acd" providerId="ADAL" clId="{F3A22D4D-2B68-4909-BFE7-4E46D0708FA9}" dt="2023-05-04T14:27:30.076" v="3872"/>
          <ac:picMkLst>
            <pc:docMk/>
            <pc:sldMk cId="660131861" sldId="355"/>
            <ac:picMk id="7" creationId="{D8C00F75-EC1E-F803-1902-FB4332B67458}"/>
          </ac:picMkLst>
        </pc:picChg>
        <pc:picChg chg="add del mod">
          <ac:chgData name="Hans Gelissen (DHL SSC Maastricht)" userId="1afa8510-4eed-4b73-a29e-678838cd8acd" providerId="ADAL" clId="{F3A22D4D-2B68-4909-BFE7-4E46D0708FA9}" dt="2023-05-03T15:31:05.509" v="2892" actId="478"/>
          <ac:picMkLst>
            <pc:docMk/>
            <pc:sldMk cId="660131861" sldId="355"/>
            <ac:picMk id="9" creationId="{82FAE740-3987-B82C-CA72-43A233110DC4}"/>
          </ac:picMkLst>
        </pc:picChg>
        <pc:picChg chg="add mod ord modCrop">
          <ac:chgData name="Hans Gelissen (DHL SSC Maastricht)" userId="1afa8510-4eed-4b73-a29e-678838cd8acd" providerId="ADAL" clId="{F3A22D4D-2B68-4909-BFE7-4E46D0708FA9}" dt="2023-05-05T11:12:38.825" v="6427" actId="700"/>
          <ac:picMkLst>
            <pc:docMk/>
            <pc:sldMk cId="660131861" sldId="355"/>
            <ac:picMk id="11" creationId="{29C082DA-430B-5304-DAF6-4AABE02F2EC1}"/>
          </ac:picMkLst>
        </pc:picChg>
      </pc:sldChg>
      <pc:sldChg chg="addSp modSp new mod">
        <pc:chgData name="Hans Gelissen (DHL SSC Maastricht)" userId="1afa8510-4eed-4b73-a29e-678838cd8acd" providerId="ADAL" clId="{F3A22D4D-2B68-4909-BFE7-4E46D0708FA9}" dt="2023-05-03T15:44:27.742" v="3140" actId="1076"/>
        <pc:sldMkLst>
          <pc:docMk/>
          <pc:sldMk cId="1223010633" sldId="356"/>
        </pc:sldMkLst>
        <pc:spChg chg="mod">
          <ac:chgData name="Hans Gelissen (DHL SSC Maastricht)" userId="1afa8510-4eed-4b73-a29e-678838cd8acd" providerId="ADAL" clId="{F3A22D4D-2B68-4909-BFE7-4E46D0708FA9}" dt="2023-05-03T15:42:47.930" v="3056" actId="20577"/>
          <ac:spMkLst>
            <pc:docMk/>
            <pc:sldMk cId="1223010633" sldId="356"/>
            <ac:spMk id="2" creationId="{BF8DFE4F-E76B-0E22-4DE3-F4DC4CB90315}"/>
          </ac:spMkLst>
        </pc:spChg>
        <pc:spChg chg="add mod">
          <ac:chgData name="Hans Gelissen (DHL SSC Maastricht)" userId="1afa8510-4eed-4b73-a29e-678838cd8acd" providerId="ADAL" clId="{F3A22D4D-2B68-4909-BFE7-4E46D0708FA9}" dt="2023-05-03T15:43:48.487" v="3098" actId="1076"/>
          <ac:spMkLst>
            <pc:docMk/>
            <pc:sldMk cId="1223010633" sldId="356"/>
            <ac:spMk id="3" creationId="{3A6ED71D-17CE-7739-F30D-C52FA0CB08D6}"/>
          </ac:spMkLst>
        </pc:spChg>
        <pc:spChg chg="add mod">
          <ac:chgData name="Hans Gelissen (DHL SSC Maastricht)" userId="1afa8510-4eed-4b73-a29e-678838cd8acd" providerId="ADAL" clId="{F3A22D4D-2B68-4909-BFE7-4E46D0708FA9}" dt="2023-05-03T15:44:27.742" v="3140" actId="1076"/>
          <ac:spMkLst>
            <pc:docMk/>
            <pc:sldMk cId="1223010633" sldId="356"/>
            <ac:spMk id="4" creationId="{1657D975-0B75-A93A-8F76-D41AD3FF7434}"/>
          </ac:spMkLst>
        </pc:spChg>
      </pc:sldChg>
      <pc:sldChg chg="delSp modSp add del mod">
        <pc:chgData name="Hans Gelissen (DHL SSC Maastricht)" userId="1afa8510-4eed-4b73-a29e-678838cd8acd" providerId="ADAL" clId="{F3A22D4D-2B68-4909-BFE7-4E46D0708FA9}" dt="2023-05-03T15:26:51.566" v="2797" actId="47"/>
        <pc:sldMkLst>
          <pc:docMk/>
          <pc:sldMk cId="3848802586" sldId="356"/>
        </pc:sldMkLst>
        <pc:spChg chg="del">
          <ac:chgData name="Hans Gelissen (DHL SSC Maastricht)" userId="1afa8510-4eed-4b73-a29e-678838cd8acd" providerId="ADAL" clId="{F3A22D4D-2B68-4909-BFE7-4E46D0708FA9}" dt="2023-05-03T15:26:07.955" v="2795" actId="478"/>
          <ac:spMkLst>
            <pc:docMk/>
            <pc:sldMk cId="3848802586" sldId="356"/>
            <ac:spMk id="5" creationId="{E5700FB0-75AE-A6A6-FF0B-8600EAB82504}"/>
          </ac:spMkLst>
        </pc:spChg>
        <pc:spChg chg="del">
          <ac:chgData name="Hans Gelissen (DHL SSC Maastricht)" userId="1afa8510-4eed-4b73-a29e-678838cd8acd" providerId="ADAL" clId="{F3A22D4D-2B68-4909-BFE7-4E46D0708FA9}" dt="2023-05-03T15:26:07.955" v="2795" actId="478"/>
          <ac:spMkLst>
            <pc:docMk/>
            <pc:sldMk cId="3848802586" sldId="356"/>
            <ac:spMk id="7" creationId="{3AC7206C-93A8-B1A5-E677-69F1DA3991D6}"/>
          </ac:spMkLst>
        </pc:spChg>
        <pc:spChg chg="del">
          <ac:chgData name="Hans Gelissen (DHL SSC Maastricht)" userId="1afa8510-4eed-4b73-a29e-678838cd8acd" providerId="ADAL" clId="{F3A22D4D-2B68-4909-BFE7-4E46D0708FA9}" dt="2023-05-03T15:26:07.955" v="2795" actId="478"/>
          <ac:spMkLst>
            <pc:docMk/>
            <pc:sldMk cId="3848802586" sldId="356"/>
            <ac:spMk id="10" creationId="{1B6CAE01-CC8E-B780-95FB-61B5FF72AD9E}"/>
          </ac:spMkLst>
        </pc:spChg>
        <pc:spChg chg="del">
          <ac:chgData name="Hans Gelissen (DHL SSC Maastricht)" userId="1afa8510-4eed-4b73-a29e-678838cd8acd" providerId="ADAL" clId="{F3A22D4D-2B68-4909-BFE7-4E46D0708FA9}" dt="2023-05-03T15:26:07.955" v="2795" actId="478"/>
          <ac:spMkLst>
            <pc:docMk/>
            <pc:sldMk cId="3848802586" sldId="356"/>
            <ac:spMk id="12" creationId="{BB0D617D-1D3E-DD8C-3CA7-233264590A39}"/>
          </ac:spMkLst>
        </pc:spChg>
        <pc:picChg chg="mod">
          <ac:chgData name="Hans Gelissen (DHL SSC Maastricht)" userId="1afa8510-4eed-4b73-a29e-678838cd8acd" providerId="ADAL" clId="{F3A22D4D-2B68-4909-BFE7-4E46D0708FA9}" dt="2023-05-03T15:26:20.578" v="2796" actId="14861"/>
          <ac:picMkLst>
            <pc:docMk/>
            <pc:sldMk cId="3848802586" sldId="356"/>
            <ac:picMk id="11270" creationId="{6F47A5C9-B6D1-3336-6567-CFFE93803290}"/>
          </ac:picMkLst>
        </pc:picChg>
        <pc:picChg chg="mod">
          <ac:chgData name="Hans Gelissen (DHL SSC Maastricht)" userId="1afa8510-4eed-4b73-a29e-678838cd8acd" providerId="ADAL" clId="{F3A22D4D-2B68-4909-BFE7-4E46D0708FA9}" dt="2023-05-03T15:26:20.578" v="2796" actId="14861"/>
          <ac:picMkLst>
            <pc:docMk/>
            <pc:sldMk cId="3848802586" sldId="356"/>
            <ac:picMk id="11272" creationId="{EA8629FE-BA8A-EE40-D3F4-13A530E5CEE3}"/>
          </ac:picMkLst>
        </pc:picChg>
        <pc:picChg chg="mod">
          <ac:chgData name="Hans Gelissen (DHL SSC Maastricht)" userId="1afa8510-4eed-4b73-a29e-678838cd8acd" providerId="ADAL" clId="{F3A22D4D-2B68-4909-BFE7-4E46D0708FA9}" dt="2023-05-03T15:26:20.578" v="2796" actId="14861"/>
          <ac:picMkLst>
            <pc:docMk/>
            <pc:sldMk cId="3848802586" sldId="356"/>
            <ac:picMk id="11274" creationId="{E51FF589-4F69-6D62-D7A4-DDBD11745467}"/>
          </ac:picMkLst>
        </pc:picChg>
        <pc:picChg chg="mod">
          <ac:chgData name="Hans Gelissen (DHL SSC Maastricht)" userId="1afa8510-4eed-4b73-a29e-678838cd8acd" providerId="ADAL" clId="{F3A22D4D-2B68-4909-BFE7-4E46D0708FA9}" dt="2023-05-03T15:26:20.578" v="2796" actId="14861"/>
          <ac:picMkLst>
            <pc:docMk/>
            <pc:sldMk cId="3848802586" sldId="356"/>
            <ac:picMk id="11276" creationId="{001E63AA-1890-E3AB-B83E-5651C96DD155}"/>
          </ac:picMkLst>
        </pc:picChg>
      </pc:sldChg>
      <pc:sldChg chg="delSp new mod modClrScheme chgLayout">
        <pc:chgData name="Hans Gelissen (DHL SSC Maastricht)" userId="1afa8510-4eed-4b73-a29e-678838cd8acd" providerId="ADAL" clId="{F3A22D4D-2B68-4909-BFE7-4E46D0708FA9}" dt="2023-05-03T15:45:41.743" v="3178" actId="700"/>
        <pc:sldMkLst>
          <pc:docMk/>
          <pc:sldMk cId="3320191383" sldId="357"/>
        </pc:sldMkLst>
        <pc:spChg chg="del">
          <ac:chgData name="Hans Gelissen (DHL SSC Maastricht)" userId="1afa8510-4eed-4b73-a29e-678838cd8acd" providerId="ADAL" clId="{F3A22D4D-2B68-4909-BFE7-4E46D0708FA9}" dt="2023-05-03T15:45:32.688" v="3177" actId="700"/>
          <ac:spMkLst>
            <pc:docMk/>
            <pc:sldMk cId="3320191383" sldId="357"/>
            <ac:spMk id="2" creationId="{E59E3F53-7A54-F733-2045-3875C72EA7B2}"/>
          </ac:spMkLst>
        </pc:spChg>
        <pc:spChg chg="del">
          <ac:chgData name="Hans Gelissen (DHL SSC Maastricht)" userId="1afa8510-4eed-4b73-a29e-678838cd8acd" providerId="ADAL" clId="{F3A22D4D-2B68-4909-BFE7-4E46D0708FA9}" dt="2023-05-03T15:45:32.688" v="3177" actId="700"/>
          <ac:spMkLst>
            <pc:docMk/>
            <pc:sldMk cId="3320191383" sldId="357"/>
            <ac:spMk id="3" creationId="{69CFC62A-49F1-6D40-552E-1AA4ED051E0E}"/>
          </ac:spMkLst>
        </pc:spChg>
      </pc:sldChg>
      <pc:sldChg chg="addSp delSp modSp add del mod modClrScheme delAnim modAnim chgLayout">
        <pc:chgData name="Hans Gelissen (DHL SSC Maastricht)" userId="1afa8510-4eed-4b73-a29e-678838cd8acd" providerId="ADAL" clId="{F3A22D4D-2B68-4909-BFE7-4E46D0708FA9}" dt="2023-05-04T15:04:08.124" v="5003" actId="47"/>
        <pc:sldMkLst>
          <pc:docMk/>
          <pc:sldMk cId="4251001136" sldId="358"/>
        </pc:sldMkLst>
        <pc:spChg chg="add del mod">
          <ac:chgData name="Hans Gelissen (DHL SSC Maastricht)" userId="1afa8510-4eed-4b73-a29e-678838cd8acd" providerId="ADAL" clId="{F3A22D4D-2B68-4909-BFE7-4E46D0708FA9}" dt="2023-05-04T14:54:41.323" v="4822" actId="478"/>
          <ac:spMkLst>
            <pc:docMk/>
            <pc:sldMk cId="4251001136" sldId="358"/>
            <ac:spMk id="2" creationId="{5C26DA7A-F7D1-BC6F-9BE2-9DA57E836D8C}"/>
          </ac:spMkLst>
        </pc:spChg>
        <pc:spChg chg="del mod ord">
          <ac:chgData name="Hans Gelissen (DHL SSC Maastricht)" userId="1afa8510-4eed-4b73-a29e-678838cd8acd" providerId="ADAL" clId="{F3A22D4D-2B68-4909-BFE7-4E46D0708FA9}" dt="2023-05-03T15:46:04.273" v="3180" actId="700"/>
          <ac:spMkLst>
            <pc:docMk/>
            <pc:sldMk cId="4251001136" sldId="358"/>
            <ac:spMk id="2" creationId="{E59E3F53-7A54-F733-2045-3875C72EA7B2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41.323" v="4822" actId="478"/>
          <ac:spMkLst>
            <pc:docMk/>
            <pc:sldMk cId="4251001136" sldId="358"/>
            <ac:spMk id="3" creationId="{0198BACA-8907-489C-C005-E3DD07A7BA00}"/>
          </ac:spMkLst>
        </pc:spChg>
        <pc:spChg chg="del">
          <ac:chgData name="Hans Gelissen (DHL SSC Maastricht)" userId="1afa8510-4eed-4b73-a29e-678838cd8acd" providerId="ADAL" clId="{F3A22D4D-2B68-4909-BFE7-4E46D0708FA9}" dt="2023-05-03T15:46:04.273" v="3180" actId="700"/>
          <ac:spMkLst>
            <pc:docMk/>
            <pc:sldMk cId="4251001136" sldId="358"/>
            <ac:spMk id="3" creationId="{69CFC62A-49F1-6D40-552E-1AA4ED051E0E}"/>
          </ac:spMkLst>
        </pc:spChg>
        <pc:spChg chg="add mod ord">
          <ac:chgData name="Hans Gelissen (DHL SSC Maastricht)" userId="1afa8510-4eed-4b73-a29e-678838cd8acd" providerId="ADAL" clId="{F3A22D4D-2B68-4909-BFE7-4E46D0708FA9}" dt="2023-05-03T15:46:31.095" v="3225" actId="20577"/>
          <ac:spMkLst>
            <pc:docMk/>
            <pc:sldMk cId="4251001136" sldId="358"/>
            <ac:spMk id="4" creationId="{759B736B-1DEF-DAF6-B9EB-691CD7317D33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41.323" v="4822" actId="478"/>
          <ac:spMkLst>
            <pc:docMk/>
            <pc:sldMk cId="4251001136" sldId="358"/>
            <ac:spMk id="5" creationId="{0D03B517-DC35-9BEA-AC96-1A4146D821D1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41.323" v="4822" actId="478"/>
          <ac:spMkLst>
            <pc:docMk/>
            <pc:sldMk cId="4251001136" sldId="358"/>
            <ac:spMk id="6" creationId="{43DE7D16-DB2F-E0BF-E570-351BECD8E9D8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41.323" v="4822" actId="478"/>
          <ac:spMkLst>
            <pc:docMk/>
            <pc:sldMk cId="4251001136" sldId="358"/>
            <ac:spMk id="7" creationId="{8405E749-26D8-5820-5270-7A60CAE86D51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41.323" v="4822" actId="478"/>
          <ac:spMkLst>
            <pc:docMk/>
            <pc:sldMk cId="4251001136" sldId="358"/>
            <ac:spMk id="8" creationId="{60602B5F-1A0C-3423-AF7D-4515A7982D71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41.323" v="4822" actId="478"/>
          <ac:spMkLst>
            <pc:docMk/>
            <pc:sldMk cId="4251001136" sldId="358"/>
            <ac:spMk id="9" creationId="{30AC5A79-9584-D335-80BB-665C926DD048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41.323" v="4822" actId="478"/>
          <ac:spMkLst>
            <pc:docMk/>
            <pc:sldMk cId="4251001136" sldId="358"/>
            <ac:spMk id="10" creationId="{F392EC94-1F37-5081-E365-DE6B024F10E4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41.323" v="4822" actId="478"/>
          <ac:spMkLst>
            <pc:docMk/>
            <pc:sldMk cId="4251001136" sldId="358"/>
            <ac:spMk id="11" creationId="{D1B616C3-2426-6EA1-AADB-9837A372C9FA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41.323" v="4822" actId="478"/>
          <ac:spMkLst>
            <pc:docMk/>
            <pc:sldMk cId="4251001136" sldId="358"/>
            <ac:spMk id="12" creationId="{B1F7F98F-2A30-293C-3784-667664BBA509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41.323" v="4822" actId="478"/>
          <ac:spMkLst>
            <pc:docMk/>
            <pc:sldMk cId="4251001136" sldId="358"/>
            <ac:spMk id="13" creationId="{7DEBA789-6354-86EE-DE11-02CF45211B6C}"/>
          </ac:spMkLst>
        </pc:spChg>
        <pc:spChg chg="add mod">
          <ac:chgData name="Hans Gelissen (DHL SSC Maastricht)" userId="1afa8510-4eed-4b73-a29e-678838cd8acd" providerId="ADAL" clId="{F3A22D4D-2B68-4909-BFE7-4E46D0708FA9}" dt="2023-05-04T15:00:03.450" v="4939" actId="1076"/>
          <ac:spMkLst>
            <pc:docMk/>
            <pc:sldMk cId="4251001136" sldId="358"/>
            <ac:spMk id="14" creationId="{C08F39BA-29B7-CBDF-E129-8D8BCC0B4E41}"/>
          </ac:spMkLst>
        </pc:spChg>
        <pc:spChg chg="mod">
          <ac:chgData name="Hans Gelissen (DHL SSC Maastricht)" userId="1afa8510-4eed-4b73-a29e-678838cd8acd" providerId="ADAL" clId="{F3A22D4D-2B68-4909-BFE7-4E46D0708FA9}" dt="2023-05-04T15:02:40.791" v="4993" actId="14100"/>
          <ac:spMkLst>
            <pc:docMk/>
            <pc:sldMk cId="4251001136" sldId="358"/>
            <ac:spMk id="17" creationId="{1BB8518B-40BA-7FF9-6C95-EBF2F152E25E}"/>
          </ac:spMkLst>
        </pc:spChg>
        <pc:spChg chg="add del mod">
          <ac:chgData name="Hans Gelissen (DHL SSC Maastricht)" userId="1afa8510-4eed-4b73-a29e-678838cd8acd" providerId="ADAL" clId="{F3A22D4D-2B68-4909-BFE7-4E46D0708FA9}" dt="2023-05-04T14:56:16.795" v="4840" actId="478"/>
          <ac:spMkLst>
            <pc:docMk/>
            <pc:sldMk cId="4251001136" sldId="358"/>
            <ac:spMk id="18" creationId="{DA8614C0-AE13-DC41-D82A-5B2D26472266}"/>
          </ac:spMkLst>
        </pc:spChg>
        <pc:spChg chg="add mod">
          <ac:chgData name="Hans Gelissen (DHL SSC Maastricht)" userId="1afa8510-4eed-4b73-a29e-678838cd8acd" providerId="ADAL" clId="{F3A22D4D-2B68-4909-BFE7-4E46D0708FA9}" dt="2023-05-04T15:02:18.875" v="4988" actId="1035"/>
          <ac:spMkLst>
            <pc:docMk/>
            <pc:sldMk cId="4251001136" sldId="358"/>
            <ac:spMk id="19" creationId="{1BA9BB94-8A3A-45FF-4FB7-51A2C4F4842E}"/>
          </ac:spMkLst>
        </pc:spChg>
        <pc:spChg chg="add del mod">
          <ac:chgData name="Hans Gelissen (DHL SSC Maastricht)" userId="1afa8510-4eed-4b73-a29e-678838cd8acd" providerId="ADAL" clId="{F3A22D4D-2B68-4909-BFE7-4E46D0708FA9}" dt="2023-05-04T14:56:16.192" v="4839" actId="478"/>
          <ac:spMkLst>
            <pc:docMk/>
            <pc:sldMk cId="4251001136" sldId="358"/>
            <ac:spMk id="20" creationId="{FF9596E3-C899-0C55-4A08-B30AA2C47F6C}"/>
          </ac:spMkLst>
        </pc:spChg>
        <pc:spChg chg="add mod">
          <ac:chgData name="Hans Gelissen (DHL SSC Maastricht)" userId="1afa8510-4eed-4b73-a29e-678838cd8acd" providerId="ADAL" clId="{F3A22D4D-2B68-4909-BFE7-4E46D0708FA9}" dt="2023-05-04T15:02:51.481" v="4995" actId="404"/>
          <ac:spMkLst>
            <pc:docMk/>
            <pc:sldMk cId="4251001136" sldId="358"/>
            <ac:spMk id="21" creationId="{7651A7C8-1210-45D9-C284-81D28FE2258E}"/>
          </ac:spMkLst>
        </pc:spChg>
        <pc:spChg chg="add del mod">
          <ac:chgData name="Hans Gelissen (DHL SSC Maastricht)" userId="1afa8510-4eed-4b73-a29e-678838cd8acd" providerId="ADAL" clId="{F3A22D4D-2B68-4909-BFE7-4E46D0708FA9}" dt="2023-05-04T14:58:57.925" v="4887" actId="478"/>
          <ac:spMkLst>
            <pc:docMk/>
            <pc:sldMk cId="4251001136" sldId="358"/>
            <ac:spMk id="22" creationId="{98723CC4-FB9F-26A7-5ADA-713BC0AEA79F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57.863" v="4824" actId="478"/>
          <ac:spMkLst>
            <pc:docMk/>
            <pc:sldMk cId="4251001136" sldId="358"/>
            <ac:spMk id="23" creationId="{EDCACF19-98D7-BC74-82FC-DC57174DA671}"/>
          </ac:spMkLst>
        </pc:spChg>
        <pc:spChg chg="add mod">
          <ac:chgData name="Hans Gelissen (DHL SSC Maastricht)" userId="1afa8510-4eed-4b73-a29e-678838cd8acd" providerId="ADAL" clId="{F3A22D4D-2B68-4909-BFE7-4E46D0708FA9}" dt="2023-05-04T15:00:03.450" v="4939" actId="1076"/>
          <ac:spMkLst>
            <pc:docMk/>
            <pc:sldMk cId="4251001136" sldId="358"/>
            <ac:spMk id="24" creationId="{FBD1CC87-A98D-C1F9-9C70-773A0228533E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57.863" v="4824" actId="478"/>
          <ac:spMkLst>
            <pc:docMk/>
            <pc:sldMk cId="4251001136" sldId="358"/>
            <ac:spMk id="25" creationId="{A4FFBDC4-DB08-959E-6A27-512E03E5D3F6}"/>
          </ac:spMkLst>
        </pc:spChg>
        <pc:spChg chg="add del mod">
          <ac:chgData name="Hans Gelissen (DHL SSC Maastricht)" userId="1afa8510-4eed-4b73-a29e-678838cd8acd" providerId="ADAL" clId="{F3A22D4D-2B68-4909-BFE7-4E46D0708FA9}" dt="2023-05-04T14:58:57.925" v="4887" actId="478"/>
          <ac:spMkLst>
            <pc:docMk/>
            <pc:sldMk cId="4251001136" sldId="358"/>
            <ac:spMk id="26" creationId="{8AC8BABB-A3AD-F68D-02EC-53870B80CCBA}"/>
          </ac:spMkLst>
        </pc:spChg>
        <pc:spChg chg="add del mod">
          <ac:chgData name="Hans Gelissen (DHL SSC Maastricht)" userId="1afa8510-4eed-4b73-a29e-678838cd8acd" providerId="ADAL" clId="{F3A22D4D-2B68-4909-BFE7-4E46D0708FA9}" dt="2023-05-04T14:54:57.863" v="4824" actId="478"/>
          <ac:spMkLst>
            <pc:docMk/>
            <pc:sldMk cId="4251001136" sldId="358"/>
            <ac:spMk id="27" creationId="{06D1FBE9-EB75-038A-FDBC-A93533ADA14E}"/>
          </ac:spMkLst>
        </pc:spChg>
        <pc:spChg chg="mod">
          <ac:chgData name="Hans Gelissen (DHL SSC Maastricht)" userId="1afa8510-4eed-4b73-a29e-678838cd8acd" providerId="ADAL" clId="{F3A22D4D-2B68-4909-BFE7-4E46D0708FA9}" dt="2023-05-04T15:00:03.450" v="4939" actId="1076"/>
          <ac:spMkLst>
            <pc:docMk/>
            <pc:sldMk cId="4251001136" sldId="358"/>
            <ac:spMk id="30" creationId="{35C31B3E-0C44-DEB7-BD5F-0D6912ADBEA7}"/>
          </ac:spMkLst>
        </pc:spChg>
        <pc:spChg chg="add del mod">
          <ac:chgData name="Hans Gelissen (DHL SSC Maastricht)" userId="1afa8510-4eed-4b73-a29e-678838cd8acd" providerId="ADAL" clId="{F3A22D4D-2B68-4909-BFE7-4E46D0708FA9}" dt="2023-05-04T14:58:16.088" v="4876" actId="478"/>
          <ac:spMkLst>
            <pc:docMk/>
            <pc:sldMk cId="4251001136" sldId="358"/>
            <ac:spMk id="31" creationId="{4B2002AE-E66A-DBF6-35D0-90B884C3B9B8}"/>
          </ac:spMkLst>
        </pc:spChg>
        <pc:spChg chg="add del mod">
          <ac:chgData name="Hans Gelissen (DHL SSC Maastricht)" userId="1afa8510-4eed-4b73-a29e-678838cd8acd" providerId="ADAL" clId="{F3A22D4D-2B68-4909-BFE7-4E46D0708FA9}" dt="2023-05-04T14:58:16.088" v="4876" actId="478"/>
          <ac:spMkLst>
            <pc:docMk/>
            <pc:sldMk cId="4251001136" sldId="358"/>
            <ac:spMk id="32" creationId="{A90E8FC6-AAB3-1602-93B9-DAF989145772}"/>
          </ac:spMkLst>
        </pc:spChg>
        <pc:spChg chg="add del mod">
          <ac:chgData name="Hans Gelissen (DHL SSC Maastricht)" userId="1afa8510-4eed-4b73-a29e-678838cd8acd" providerId="ADAL" clId="{F3A22D4D-2B68-4909-BFE7-4E46D0708FA9}" dt="2023-05-04T14:58:16.088" v="4876" actId="478"/>
          <ac:spMkLst>
            <pc:docMk/>
            <pc:sldMk cId="4251001136" sldId="358"/>
            <ac:spMk id="33" creationId="{771C34FF-C242-DDFA-4A15-86403359E812}"/>
          </ac:spMkLst>
        </pc:spChg>
        <pc:spChg chg="add del mod">
          <ac:chgData name="Hans Gelissen (DHL SSC Maastricht)" userId="1afa8510-4eed-4b73-a29e-678838cd8acd" providerId="ADAL" clId="{F3A22D4D-2B68-4909-BFE7-4E46D0708FA9}" dt="2023-05-04T14:58:16.088" v="4876" actId="478"/>
          <ac:spMkLst>
            <pc:docMk/>
            <pc:sldMk cId="4251001136" sldId="358"/>
            <ac:spMk id="34" creationId="{D726DB3C-65EE-41DE-8FF1-C763AA53D460}"/>
          </ac:spMkLst>
        </pc:spChg>
        <pc:spChg chg="add mod">
          <ac:chgData name="Hans Gelissen (DHL SSC Maastricht)" userId="1afa8510-4eed-4b73-a29e-678838cd8acd" providerId="ADAL" clId="{F3A22D4D-2B68-4909-BFE7-4E46D0708FA9}" dt="2023-05-04T15:00:03.450" v="4939" actId="1076"/>
          <ac:spMkLst>
            <pc:docMk/>
            <pc:sldMk cId="4251001136" sldId="358"/>
            <ac:spMk id="35" creationId="{A4B15E12-938E-827C-EC6D-5061E47E9CC4}"/>
          </ac:spMkLst>
        </pc:spChg>
        <pc:spChg chg="add mod">
          <ac:chgData name="Hans Gelissen (DHL SSC Maastricht)" userId="1afa8510-4eed-4b73-a29e-678838cd8acd" providerId="ADAL" clId="{F3A22D4D-2B68-4909-BFE7-4E46D0708FA9}" dt="2023-05-04T15:00:03.450" v="4939" actId="1076"/>
          <ac:spMkLst>
            <pc:docMk/>
            <pc:sldMk cId="4251001136" sldId="358"/>
            <ac:spMk id="36" creationId="{D92E9435-6E77-24C0-5707-7EE9269290DD}"/>
          </ac:spMkLst>
        </pc:spChg>
        <pc:spChg chg="add mod">
          <ac:chgData name="Hans Gelissen (DHL SSC Maastricht)" userId="1afa8510-4eed-4b73-a29e-678838cd8acd" providerId="ADAL" clId="{F3A22D4D-2B68-4909-BFE7-4E46D0708FA9}" dt="2023-05-04T15:00:03.450" v="4939" actId="1076"/>
          <ac:spMkLst>
            <pc:docMk/>
            <pc:sldMk cId="4251001136" sldId="358"/>
            <ac:spMk id="37" creationId="{F1CE3128-9F13-0350-E114-82033B12EDF4}"/>
          </ac:spMkLst>
        </pc:spChg>
        <pc:spChg chg="add mod">
          <ac:chgData name="Hans Gelissen (DHL SSC Maastricht)" userId="1afa8510-4eed-4b73-a29e-678838cd8acd" providerId="ADAL" clId="{F3A22D4D-2B68-4909-BFE7-4E46D0708FA9}" dt="2023-05-04T15:00:03.450" v="4939" actId="1076"/>
          <ac:spMkLst>
            <pc:docMk/>
            <pc:sldMk cId="4251001136" sldId="358"/>
            <ac:spMk id="38" creationId="{44FEE606-ABD1-1D09-E3DF-D9B8EDB5042E}"/>
          </ac:spMkLst>
        </pc:spChg>
        <pc:spChg chg="mod">
          <ac:chgData name="Hans Gelissen (DHL SSC Maastricht)" userId="1afa8510-4eed-4b73-a29e-678838cd8acd" providerId="ADAL" clId="{F3A22D4D-2B68-4909-BFE7-4E46D0708FA9}" dt="2023-05-04T15:00:53.093" v="4946" actId="1076"/>
          <ac:spMkLst>
            <pc:docMk/>
            <pc:sldMk cId="4251001136" sldId="358"/>
            <ac:spMk id="41" creationId="{42F85463-24FB-FEF0-1DA7-BC61F15DBB01}"/>
          </ac:spMkLst>
        </pc:spChg>
        <pc:spChg chg="mod">
          <ac:chgData name="Hans Gelissen (DHL SSC Maastricht)" userId="1afa8510-4eed-4b73-a29e-678838cd8acd" providerId="ADAL" clId="{F3A22D4D-2B68-4909-BFE7-4E46D0708FA9}" dt="2023-05-04T15:00:49.043" v="4945" actId="1076"/>
          <ac:spMkLst>
            <pc:docMk/>
            <pc:sldMk cId="4251001136" sldId="358"/>
            <ac:spMk id="44" creationId="{0626A4AB-EE14-8B84-30F2-C2721AED1F91}"/>
          </ac:spMkLst>
        </pc:spChg>
        <pc:spChg chg="mod">
          <ac:chgData name="Hans Gelissen (DHL SSC Maastricht)" userId="1afa8510-4eed-4b73-a29e-678838cd8acd" providerId="ADAL" clId="{F3A22D4D-2B68-4909-BFE7-4E46D0708FA9}" dt="2023-05-04T15:01:01.081" v="4947" actId="1076"/>
          <ac:spMkLst>
            <pc:docMk/>
            <pc:sldMk cId="4251001136" sldId="358"/>
            <ac:spMk id="47" creationId="{D9C50015-F905-BAD3-05E0-296C3F3022D8}"/>
          </ac:spMkLst>
        </pc:spChg>
        <pc:grpChg chg="add mod">
          <ac:chgData name="Hans Gelissen (DHL SSC Maastricht)" userId="1afa8510-4eed-4b73-a29e-678838cd8acd" providerId="ADAL" clId="{F3A22D4D-2B68-4909-BFE7-4E46D0708FA9}" dt="2023-05-04T15:02:40.791" v="4993" actId="14100"/>
          <ac:grpSpMkLst>
            <pc:docMk/>
            <pc:sldMk cId="4251001136" sldId="358"/>
            <ac:grpSpMk id="15" creationId="{605100FD-47C1-119D-D93C-9E815A7EBF2C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0:03.450" v="4939" actId="1076"/>
          <ac:grpSpMkLst>
            <pc:docMk/>
            <pc:sldMk cId="4251001136" sldId="358"/>
            <ac:grpSpMk id="28" creationId="{9A153154-6988-1FFC-1871-83277906CE6B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0:53.093" v="4946" actId="1076"/>
          <ac:grpSpMkLst>
            <pc:docMk/>
            <pc:sldMk cId="4251001136" sldId="358"/>
            <ac:grpSpMk id="39" creationId="{68467ECF-D4AF-7C1D-C907-193AF40A1C87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0:49.043" v="4945" actId="1076"/>
          <ac:grpSpMkLst>
            <pc:docMk/>
            <pc:sldMk cId="4251001136" sldId="358"/>
            <ac:grpSpMk id="42" creationId="{810B626E-2AFC-971C-0666-9FA98C3BC437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1:01.081" v="4947" actId="1076"/>
          <ac:grpSpMkLst>
            <pc:docMk/>
            <pc:sldMk cId="4251001136" sldId="358"/>
            <ac:grpSpMk id="45" creationId="{4AD0D5A4-280C-B2CA-BEC7-EB08D93D8868}"/>
          </ac:grpSpMkLst>
        </pc:grpChg>
        <pc:picChg chg="mod">
          <ac:chgData name="Hans Gelissen (DHL SSC Maastricht)" userId="1afa8510-4eed-4b73-a29e-678838cd8acd" providerId="ADAL" clId="{F3A22D4D-2B68-4909-BFE7-4E46D0708FA9}" dt="2023-05-04T15:02:40.791" v="4993" actId="14100"/>
          <ac:picMkLst>
            <pc:docMk/>
            <pc:sldMk cId="4251001136" sldId="358"/>
            <ac:picMk id="16" creationId="{441BEC0E-40A5-7F23-CD45-42FE18A52A33}"/>
          </ac:picMkLst>
        </pc:picChg>
        <pc:picChg chg="mod">
          <ac:chgData name="Hans Gelissen (DHL SSC Maastricht)" userId="1afa8510-4eed-4b73-a29e-678838cd8acd" providerId="ADAL" clId="{F3A22D4D-2B68-4909-BFE7-4E46D0708FA9}" dt="2023-05-04T15:00:03.450" v="4939" actId="1076"/>
          <ac:picMkLst>
            <pc:docMk/>
            <pc:sldMk cId="4251001136" sldId="358"/>
            <ac:picMk id="29" creationId="{6E6A3AFE-ECF9-DACD-46C9-5848BAAF04DB}"/>
          </ac:picMkLst>
        </pc:picChg>
        <pc:picChg chg="mod">
          <ac:chgData name="Hans Gelissen (DHL SSC Maastricht)" userId="1afa8510-4eed-4b73-a29e-678838cd8acd" providerId="ADAL" clId="{F3A22D4D-2B68-4909-BFE7-4E46D0708FA9}" dt="2023-05-04T15:00:53.093" v="4946" actId="1076"/>
          <ac:picMkLst>
            <pc:docMk/>
            <pc:sldMk cId="4251001136" sldId="358"/>
            <ac:picMk id="40" creationId="{1FFF477A-0FE9-FE91-E5DC-F66A3F042BD9}"/>
          </ac:picMkLst>
        </pc:picChg>
        <pc:picChg chg="mod">
          <ac:chgData name="Hans Gelissen (DHL SSC Maastricht)" userId="1afa8510-4eed-4b73-a29e-678838cd8acd" providerId="ADAL" clId="{F3A22D4D-2B68-4909-BFE7-4E46D0708FA9}" dt="2023-05-04T15:00:49.043" v="4945" actId="1076"/>
          <ac:picMkLst>
            <pc:docMk/>
            <pc:sldMk cId="4251001136" sldId="358"/>
            <ac:picMk id="43" creationId="{F0555A1A-07A2-3ECA-50C5-79469207217D}"/>
          </ac:picMkLst>
        </pc:picChg>
        <pc:picChg chg="mod">
          <ac:chgData name="Hans Gelissen (DHL SSC Maastricht)" userId="1afa8510-4eed-4b73-a29e-678838cd8acd" providerId="ADAL" clId="{F3A22D4D-2B68-4909-BFE7-4E46D0708FA9}" dt="2023-05-04T15:01:01.081" v="4947" actId="1076"/>
          <ac:picMkLst>
            <pc:docMk/>
            <pc:sldMk cId="4251001136" sldId="358"/>
            <ac:picMk id="46" creationId="{DC0209CD-7BAC-EEEB-FD5D-E44DC2266163}"/>
          </ac:picMkLst>
        </pc:picChg>
      </pc:sldChg>
      <pc:sldChg chg="addSp delSp modSp add mod modClrScheme chgLayout">
        <pc:chgData name="Hans Gelissen (DHL SSC Maastricht)" userId="1afa8510-4eed-4b73-a29e-678838cd8acd" providerId="ADAL" clId="{F3A22D4D-2B68-4909-BFE7-4E46D0708FA9}" dt="2023-05-04T14:05:22.634" v="3482" actId="18131"/>
        <pc:sldMkLst>
          <pc:docMk/>
          <pc:sldMk cId="1894465020" sldId="359"/>
        </pc:sldMkLst>
        <pc:spChg chg="del mod ord">
          <ac:chgData name="Hans Gelissen (DHL SSC Maastricht)" userId="1afa8510-4eed-4b73-a29e-678838cd8acd" providerId="ADAL" clId="{F3A22D4D-2B68-4909-BFE7-4E46D0708FA9}" dt="2023-05-04T14:00:27.071" v="3400" actId="700"/>
          <ac:spMkLst>
            <pc:docMk/>
            <pc:sldMk cId="1894465020" sldId="359"/>
            <ac:spMk id="2" creationId="{E59E3F53-7A54-F733-2045-3875C72EA7B2}"/>
          </ac:spMkLst>
        </pc:spChg>
        <pc:spChg chg="del">
          <ac:chgData name="Hans Gelissen (DHL SSC Maastricht)" userId="1afa8510-4eed-4b73-a29e-678838cd8acd" providerId="ADAL" clId="{F3A22D4D-2B68-4909-BFE7-4E46D0708FA9}" dt="2023-05-04T14:00:27.071" v="3400" actId="700"/>
          <ac:spMkLst>
            <pc:docMk/>
            <pc:sldMk cId="1894465020" sldId="359"/>
            <ac:spMk id="3" creationId="{69CFC62A-49F1-6D40-552E-1AA4ED051E0E}"/>
          </ac:spMkLst>
        </pc:spChg>
        <pc:spChg chg="add del mod ord">
          <ac:chgData name="Hans Gelissen (DHL SSC Maastricht)" userId="1afa8510-4eed-4b73-a29e-678838cd8acd" providerId="ADAL" clId="{F3A22D4D-2B68-4909-BFE7-4E46D0708FA9}" dt="2023-05-04T14:03:11.947" v="3445" actId="478"/>
          <ac:spMkLst>
            <pc:docMk/>
            <pc:sldMk cId="1894465020" sldId="359"/>
            <ac:spMk id="4" creationId="{5224D7DE-D192-62AE-FD55-C27728BBC829}"/>
          </ac:spMkLst>
        </pc:spChg>
        <pc:spChg chg="add del mod ord">
          <ac:chgData name="Hans Gelissen (DHL SSC Maastricht)" userId="1afa8510-4eed-4b73-a29e-678838cd8acd" providerId="ADAL" clId="{F3A22D4D-2B68-4909-BFE7-4E46D0708FA9}" dt="2023-05-04T14:03:12.155" v="3447" actId="931"/>
          <ac:spMkLst>
            <pc:docMk/>
            <pc:sldMk cId="1894465020" sldId="359"/>
            <ac:spMk id="5" creationId="{216618FD-07AA-4E1F-DAAD-37F213A002A4}"/>
          </ac:spMkLst>
        </pc:spChg>
        <pc:spChg chg="add del mod">
          <ac:chgData name="Hans Gelissen (DHL SSC Maastricht)" userId="1afa8510-4eed-4b73-a29e-678838cd8acd" providerId="ADAL" clId="{F3A22D4D-2B68-4909-BFE7-4E46D0708FA9}" dt="2023-05-04T14:04:07.779" v="3473" actId="20577"/>
          <ac:spMkLst>
            <pc:docMk/>
            <pc:sldMk cId="1894465020" sldId="359"/>
            <ac:spMk id="6" creationId="{018D157D-C5E3-8719-26D4-E060BEDE4801}"/>
          </ac:spMkLst>
        </pc:spChg>
        <pc:spChg chg="add del mod">
          <ac:chgData name="Hans Gelissen (DHL SSC Maastricht)" userId="1afa8510-4eed-4b73-a29e-678838cd8acd" providerId="ADAL" clId="{F3A22D4D-2B68-4909-BFE7-4E46D0708FA9}" dt="2023-05-04T14:05:02.589" v="3477" actId="931"/>
          <ac:spMkLst>
            <pc:docMk/>
            <pc:sldMk cId="1894465020" sldId="359"/>
            <ac:spMk id="10" creationId="{5208016A-B59A-ECAF-04C1-257560AAEC3E}"/>
          </ac:spMkLst>
        </pc:spChg>
        <pc:picChg chg="add del mod modCrop">
          <ac:chgData name="Hans Gelissen (DHL SSC Maastricht)" userId="1afa8510-4eed-4b73-a29e-678838cd8acd" providerId="ADAL" clId="{F3A22D4D-2B68-4909-BFE7-4E46D0708FA9}" dt="2023-05-04T14:04:58.036" v="3476" actId="478"/>
          <ac:picMkLst>
            <pc:docMk/>
            <pc:sldMk cId="1894465020" sldId="359"/>
            <ac:picMk id="8" creationId="{BDC7A053-2989-5BCA-F547-11866478C9D2}"/>
          </ac:picMkLst>
        </pc:picChg>
        <pc:picChg chg="add mod modCrop">
          <ac:chgData name="Hans Gelissen (DHL SSC Maastricht)" userId="1afa8510-4eed-4b73-a29e-678838cd8acd" providerId="ADAL" clId="{F3A22D4D-2B68-4909-BFE7-4E46D0708FA9}" dt="2023-05-04T14:05:22.634" v="3482" actId="18131"/>
          <ac:picMkLst>
            <pc:docMk/>
            <pc:sldMk cId="1894465020" sldId="359"/>
            <ac:picMk id="12" creationId="{95073A1F-7A56-85EB-1028-7A6A4C5FB111}"/>
          </ac:picMkLst>
        </pc:picChg>
        <pc:picChg chg="add del mod">
          <ac:chgData name="Hans Gelissen (DHL SSC Maastricht)" userId="1afa8510-4eed-4b73-a29e-678838cd8acd" providerId="ADAL" clId="{F3A22D4D-2B68-4909-BFE7-4E46D0708FA9}" dt="2023-05-04T14:03:11.947" v="3445" actId="478"/>
          <ac:picMkLst>
            <pc:docMk/>
            <pc:sldMk cId="1894465020" sldId="359"/>
            <ac:picMk id="1026" creationId="{4F6C0FBA-9526-D9DF-4AF3-6D485DD2893A}"/>
          </ac:picMkLst>
        </pc:picChg>
        <pc:picChg chg="add del">
          <ac:chgData name="Hans Gelissen (DHL SSC Maastricht)" userId="1afa8510-4eed-4b73-a29e-678838cd8acd" providerId="ADAL" clId="{F3A22D4D-2B68-4909-BFE7-4E46D0708FA9}" dt="2023-05-04T14:04:56.063" v="3475" actId="478"/>
          <ac:picMkLst>
            <pc:docMk/>
            <pc:sldMk cId="1894465020" sldId="359"/>
            <ac:picMk id="1028" creationId="{30FE4F59-767F-86C4-0BCB-05EA07319227}"/>
          </ac:picMkLst>
        </pc:picChg>
      </pc:sldChg>
      <pc:sldChg chg="addSp delSp modSp add mod modClrScheme chgLayout">
        <pc:chgData name="Hans Gelissen (DHL SSC Maastricht)" userId="1afa8510-4eed-4b73-a29e-678838cd8acd" providerId="ADAL" clId="{F3A22D4D-2B68-4909-BFE7-4E46D0708FA9}" dt="2023-05-08T09:14:29.850" v="7802" actId="962"/>
        <pc:sldMkLst>
          <pc:docMk/>
          <pc:sldMk cId="205119952" sldId="360"/>
        </pc:sldMkLst>
        <pc:spChg chg="add del mod ord">
          <ac:chgData name="Hans Gelissen (DHL SSC Maastricht)" userId="1afa8510-4eed-4b73-a29e-678838cd8acd" providerId="ADAL" clId="{F3A22D4D-2B68-4909-BFE7-4E46D0708FA9}" dt="2023-05-08T09:04:09.186" v="7755" actId="931"/>
          <ac:spMkLst>
            <pc:docMk/>
            <pc:sldMk cId="205119952" sldId="360"/>
            <ac:spMk id="2" creationId="{3F648C25-4521-D7D6-A924-541595D69DF0}"/>
          </ac:spMkLst>
        </pc:spChg>
        <pc:spChg chg="del mod ord">
          <ac:chgData name="Hans Gelissen (DHL SSC Maastricht)" userId="1afa8510-4eed-4b73-a29e-678838cd8acd" providerId="ADAL" clId="{F3A22D4D-2B68-4909-BFE7-4E46D0708FA9}" dt="2023-05-05T11:36:06.182" v="6502" actId="700"/>
          <ac:spMkLst>
            <pc:docMk/>
            <pc:sldMk cId="205119952" sldId="360"/>
            <ac:spMk id="2" creationId="{E59E3F53-7A54-F733-2045-3875C72EA7B2}"/>
          </ac:spMkLst>
        </pc:spChg>
        <pc:spChg chg="del">
          <ac:chgData name="Hans Gelissen (DHL SSC Maastricht)" userId="1afa8510-4eed-4b73-a29e-678838cd8acd" providerId="ADAL" clId="{F3A22D4D-2B68-4909-BFE7-4E46D0708FA9}" dt="2023-05-05T11:36:06.182" v="6502" actId="700"/>
          <ac:spMkLst>
            <pc:docMk/>
            <pc:sldMk cId="205119952" sldId="360"/>
            <ac:spMk id="3" creationId="{69CFC62A-49F1-6D40-552E-1AA4ED051E0E}"/>
          </ac:spMkLst>
        </pc:spChg>
        <pc:spChg chg="add mod ord">
          <ac:chgData name="Hans Gelissen (DHL SSC Maastricht)" userId="1afa8510-4eed-4b73-a29e-678838cd8acd" providerId="ADAL" clId="{F3A22D4D-2B68-4909-BFE7-4E46D0708FA9}" dt="2023-05-08T09:04:01.351" v="7754" actId="14100"/>
          <ac:spMkLst>
            <pc:docMk/>
            <pc:sldMk cId="205119952" sldId="360"/>
            <ac:spMk id="4" creationId="{F61C9E9F-B2A9-FDBE-59C7-6236D82308BA}"/>
          </ac:spMkLst>
        </pc:spChg>
        <pc:spChg chg="add del mod">
          <ac:chgData name="Hans Gelissen (DHL SSC Maastricht)" userId="1afa8510-4eed-4b73-a29e-678838cd8acd" providerId="ADAL" clId="{F3A22D4D-2B68-4909-BFE7-4E46D0708FA9}" dt="2023-05-08T09:09:01.345" v="7778" actId="931"/>
          <ac:spMkLst>
            <pc:docMk/>
            <pc:sldMk cId="205119952" sldId="360"/>
            <ac:spMk id="7" creationId="{2F735830-56B8-7DAB-7C56-7A17D3609562}"/>
          </ac:spMkLst>
        </pc:spChg>
        <pc:spChg chg="add del mod">
          <ac:chgData name="Hans Gelissen (DHL SSC Maastricht)" userId="1afa8510-4eed-4b73-a29e-678838cd8acd" providerId="ADAL" clId="{F3A22D4D-2B68-4909-BFE7-4E46D0708FA9}" dt="2023-05-08T09:14:28.678" v="7800" actId="931"/>
          <ac:spMkLst>
            <pc:docMk/>
            <pc:sldMk cId="205119952" sldId="360"/>
            <ac:spMk id="11" creationId="{22561243-C65E-4E55-BA15-7E078A5B422A}"/>
          </ac:spMkLst>
        </pc:spChg>
        <pc:picChg chg="add del mod">
          <ac:chgData name="Hans Gelissen (DHL SSC Maastricht)" userId="1afa8510-4eed-4b73-a29e-678838cd8acd" providerId="ADAL" clId="{F3A22D4D-2B68-4909-BFE7-4E46D0708FA9}" dt="2023-05-08T09:08:17.265" v="7777" actId="478"/>
          <ac:picMkLst>
            <pc:docMk/>
            <pc:sldMk cId="205119952" sldId="360"/>
            <ac:picMk id="5" creationId="{2A0AE276-D040-AB81-0D18-6FACB8888E5D}"/>
          </ac:picMkLst>
        </pc:picChg>
        <pc:picChg chg="add del mod">
          <ac:chgData name="Hans Gelissen (DHL SSC Maastricht)" userId="1afa8510-4eed-4b73-a29e-678838cd8acd" providerId="ADAL" clId="{F3A22D4D-2B68-4909-BFE7-4E46D0708FA9}" dt="2023-05-08T09:14:21.672" v="7799" actId="478"/>
          <ac:picMkLst>
            <pc:docMk/>
            <pc:sldMk cId="205119952" sldId="360"/>
            <ac:picMk id="9" creationId="{15860C2B-F210-2EB9-E195-2DFFA17539E0}"/>
          </ac:picMkLst>
        </pc:picChg>
        <pc:picChg chg="add mod">
          <ac:chgData name="Hans Gelissen (DHL SSC Maastricht)" userId="1afa8510-4eed-4b73-a29e-678838cd8acd" providerId="ADAL" clId="{F3A22D4D-2B68-4909-BFE7-4E46D0708FA9}" dt="2023-05-08T09:14:29.850" v="7802" actId="962"/>
          <ac:picMkLst>
            <pc:docMk/>
            <pc:sldMk cId="205119952" sldId="360"/>
            <ac:picMk id="13" creationId="{5CFB45C6-FA69-C96A-FBCB-BE9BF805FE25}"/>
          </ac:picMkLst>
        </pc:picChg>
      </pc:sldChg>
      <pc:sldChg chg="addSp delSp modSp add mod modClrScheme chgLayout">
        <pc:chgData name="Hans Gelissen (DHL SSC Maastricht)" userId="1afa8510-4eed-4b73-a29e-678838cd8acd" providerId="ADAL" clId="{F3A22D4D-2B68-4909-BFE7-4E46D0708FA9}" dt="2023-05-10T13:09:31.587" v="10403" actId="20577"/>
        <pc:sldMkLst>
          <pc:docMk/>
          <pc:sldMk cId="2852413498" sldId="361"/>
        </pc:sldMkLst>
        <pc:spChg chg="add mod ord">
          <ac:chgData name="Hans Gelissen (DHL SSC Maastricht)" userId="1afa8510-4eed-4b73-a29e-678838cd8acd" providerId="ADAL" clId="{F3A22D4D-2B68-4909-BFE7-4E46D0708FA9}" dt="2023-05-08T09:23:05.093" v="7856" actId="20577"/>
          <ac:spMkLst>
            <pc:docMk/>
            <pc:sldMk cId="2852413498" sldId="361"/>
            <ac:spMk id="2" creationId="{0DFE97EE-161E-B38E-E6A2-ECAA9DD5E1AA}"/>
          </ac:spMkLst>
        </pc:spChg>
        <pc:spChg chg="del mod ord">
          <ac:chgData name="Hans Gelissen (DHL SSC Maastricht)" userId="1afa8510-4eed-4b73-a29e-678838cd8acd" providerId="ADAL" clId="{F3A22D4D-2B68-4909-BFE7-4E46D0708FA9}" dt="2023-05-05T11:36:26.290" v="6504" actId="700"/>
          <ac:spMkLst>
            <pc:docMk/>
            <pc:sldMk cId="2852413498" sldId="361"/>
            <ac:spMk id="2" creationId="{E59E3F53-7A54-F733-2045-3875C72EA7B2}"/>
          </ac:spMkLst>
        </pc:spChg>
        <pc:spChg chg="del mod ord">
          <ac:chgData name="Hans Gelissen (DHL SSC Maastricht)" userId="1afa8510-4eed-4b73-a29e-678838cd8acd" providerId="ADAL" clId="{F3A22D4D-2B68-4909-BFE7-4E46D0708FA9}" dt="2023-05-05T11:36:26.290" v="6504" actId="700"/>
          <ac:spMkLst>
            <pc:docMk/>
            <pc:sldMk cId="2852413498" sldId="361"/>
            <ac:spMk id="3" creationId="{69CFC62A-49F1-6D40-552E-1AA4ED051E0E}"/>
          </ac:spMkLst>
        </pc:spChg>
        <pc:spChg chg="add del mod ord">
          <ac:chgData name="Hans Gelissen (DHL SSC Maastricht)" userId="1afa8510-4eed-4b73-a29e-678838cd8acd" providerId="ADAL" clId="{F3A22D4D-2B68-4909-BFE7-4E46D0708FA9}" dt="2023-05-08T09:16:37.100" v="7814" actId="931"/>
          <ac:spMkLst>
            <pc:docMk/>
            <pc:sldMk cId="2852413498" sldId="361"/>
            <ac:spMk id="3" creationId="{9CC6A133-8BA7-EED5-56A7-C372A894A1FF}"/>
          </ac:spMkLst>
        </pc:spChg>
        <pc:spChg chg="add mod ord">
          <ac:chgData name="Hans Gelissen (DHL SSC Maastricht)" userId="1afa8510-4eed-4b73-a29e-678838cd8acd" providerId="ADAL" clId="{F3A22D4D-2B68-4909-BFE7-4E46D0708FA9}" dt="2023-05-08T09:16:30.003" v="7813" actId="700"/>
          <ac:spMkLst>
            <pc:docMk/>
            <pc:sldMk cId="2852413498" sldId="361"/>
            <ac:spMk id="4" creationId="{AB85E415-9642-4C0F-D717-39179AA8B527}"/>
          </ac:spMkLst>
        </pc:spChg>
        <pc:spChg chg="add del mod ord">
          <ac:chgData name="Hans Gelissen (DHL SSC Maastricht)" userId="1afa8510-4eed-4b73-a29e-678838cd8acd" providerId="ADAL" clId="{F3A22D4D-2B68-4909-BFE7-4E46D0708FA9}" dt="2023-05-08T09:16:30.003" v="7813" actId="700"/>
          <ac:spMkLst>
            <pc:docMk/>
            <pc:sldMk cId="2852413498" sldId="361"/>
            <ac:spMk id="5" creationId="{B23CD2E5-DAA8-E0D0-963D-6A85AA403DB7}"/>
          </ac:spMkLst>
        </pc:spChg>
        <pc:spChg chg="add mod ord">
          <ac:chgData name="Hans Gelissen (DHL SSC Maastricht)" userId="1afa8510-4eed-4b73-a29e-678838cd8acd" providerId="ADAL" clId="{F3A22D4D-2B68-4909-BFE7-4E46D0708FA9}" dt="2023-05-10T13:09:31.587" v="10403" actId="20577"/>
          <ac:spMkLst>
            <pc:docMk/>
            <pc:sldMk cId="2852413498" sldId="361"/>
            <ac:spMk id="6" creationId="{11B95A27-FADB-BC17-A655-413DCEEB7F0D}"/>
          </ac:spMkLst>
        </pc:spChg>
        <pc:spChg chg="add mod ord">
          <ac:chgData name="Hans Gelissen (DHL SSC Maastricht)" userId="1afa8510-4eed-4b73-a29e-678838cd8acd" providerId="ADAL" clId="{F3A22D4D-2B68-4909-BFE7-4E46D0708FA9}" dt="2023-05-08T09:16:30.003" v="7813" actId="700"/>
          <ac:spMkLst>
            <pc:docMk/>
            <pc:sldMk cId="2852413498" sldId="361"/>
            <ac:spMk id="7" creationId="{BD8DF5AF-39F7-C3B7-856F-AA5CA8121743}"/>
          </ac:spMkLst>
        </pc:spChg>
        <pc:picChg chg="add mod">
          <ac:chgData name="Hans Gelissen (DHL SSC Maastricht)" userId="1afa8510-4eed-4b73-a29e-678838cd8acd" providerId="ADAL" clId="{F3A22D4D-2B68-4909-BFE7-4E46D0708FA9}" dt="2023-05-08T09:16:37.984" v="7816" actId="962"/>
          <ac:picMkLst>
            <pc:docMk/>
            <pc:sldMk cId="2852413498" sldId="361"/>
            <ac:picMk id="9" creationId="{F532818C-A107-6993-4850-540A4F79B38F}"/>
          </ac:picMkLst>
        </pc:picChg>
      </pc:sldChg>
      <pc:sldChg chg="addSp modSp add del mod modAnim">
        <pc:chgData name="Hans Gelissen (DHL SSC Maastricht)" userId="1afa8510-4eed-4b73-a29e-678838cd8acd" providerId="ADAL" clId="{F3A22D4D-2B68-4909-BFE7-4E46D0708FA9}" dt="2023-05-04T15:04:08.124" v="5003" actId="47"/>
        <pc:sldMkLst>
          <pc:docMk/>
          <pc:sldMk cId="3925508973" sldId="362"/>
        </pc:sldMkLst>
        <pc:spChg chg="add 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2" creationId="{B287581E-C442-6013-C959-7FB2BDE32E4F}"/>
          </ac:spMkLst>
        </pc:spChg>
        <pc:spChg chg="mod">
          <ac:chgData name="Hans Gelissen (DHL SSC Maastricht)" userId="1afa8510-4eed-4b73-a29e-678838cd8acd" providerId="ADAL" clId="{F3A22D4D-2B68-4909-BFE7-4E46D0708FA9}" dt="2023-05-03T15:46:35.545" v="3235" actId="20577"/>
          <ac:spMkLst>
            <pc:docMk/>
            <pc:sldMk cId="3925508973" sldId="362"/>
            <ac:spMk id="4" creationId="{759B736B-1DEF-DAF6-B9EB-691CD7317D33}"/>
          </ac:spMkLst>
        </pc:spChg>
        <pc:spChg chg="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6" creationId="{8B70587F-5C16-72C5-0A01-3E5F927A4065}"/>
          </ac:spMkLst>
        </pc:spChg>
        <pc:spChg chg="add 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7" creationId="{65318EA8-0785-9D7C-3B3D-2281C181F9EF}"/>
          </ac:spMkLst>
        </pc:spChg>
        <pc:spChg chg="add 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8" creationId="{94833242-A0AE-C2AD-EAFC-84061200BC9E}"/>
          </ac:spMkLst>
        </pc:spChg>
        <pc:spChg chg="add 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9" creationId="{7EBF2F6F-B651-02F3-B3C9-F93DA3ADB218}"/>
          </ac:spMkLst>
        </pc:spChg>
        <pc:spChg chg="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12" creationId="{5BCFF0BB-2528-3D50-9922-CE5B7F84A942}"/>
          </ac:spMkLst>
        </pc:spChg>
        <pc:spChg chg="add 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13" creationId="{04C90871-D127-2C29-ECBB-E406FAFB1590}"/>
          </ac:spMkLst>
        </pc:spChg>
        <pc:spChg chg="add 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14" creationId="{2078A974-C6FF-8E55-2E19-30B67B6B26BE}"/>
          </ac:spMkLst>
        </pc:spChg>
        <pc:spChg chg="add 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15" creationId="{D6F13CEC-C152-4CE2-3B5A-996C1BB0F5DC}"/>
          </ac:spMkLst>
        </pc:spChg>
        <pc:spChg chg="add 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16" creationId="{6C53A586-90FD-0456-3DD3-7F46E3D8D60B}"/>
          </ac:spMkLst>
        </pc:spChg>
        <pc:spChg chg="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19" creationId="{D439E373-5FF4-604A-071B-784CC9C22ADD}"/>
          </ac:spMkLst>
        </pc:spChg>
        <pc:spChg chg="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22" creationId="{8A548B71-906E-1D55-B285-51AD68250D27}"/>
          </ac:spMkLst>
        </pc:spChg>
        <pc:spChg chg="mod">
          <ac:chgData name="Hans Gelissen (DHL SSC Maastricht)" userId="1afa8510-4eed-4b73-a29e-678838cd8acd" providerId="ADAL" clId="{F3A22D4D-2B68-4909-BFE7-4E46D0708FA9}" dt="2023-05-04T15:03:29.617" v="5000"/>
          <ac:spMkLst>
            <pc:docMk/>
            <pc:sldMk cId="3925508973" sldId="362"/>
            <ac:spMk id="25" creationId="{88469C14-9C02-5E26-6973-FB63297ADD97}"/>
          </ac:spMkLst>
        </pc:spChg>
        <pc:grpChg chg="add mod">
          <ac:chgData name="Hans Gelissen (DHL SSC Maastricht)" userId="1afa8510-4eed-4b73-a29e-678838cd8acd" providerId="ADAL" clId="{F3A22D4D-2B68-4909-BFE7-4E46D0708FA9}" dt="2023-05-04T15:03:29.617" v="5000"/>
          <ac:grpSpMkLst>
            <pc:docMk/>
            <pc:sldMk cId="3925508973" sldId="362"/>
            <ac:grpSpMk id="3" creationId="{B9E5F26B-A5E2-DCE0-0A6A-74671F7D8591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3:29.617" v="5000"/>
          <ac:grpSpMkLst>
            <pc:docMk/>
            <pc:sldMk cId="3925508973" sldId="362"/>
            <ac:grpSpMk id="10" creationId="{F8F91F62-E5EA-F515-588D-0A71B829A77A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3:29.617" v="5000"/>
          <ac:grpSpMkLst>
            <pc:docMk/>
            <pc:sldMk cId="3925508973" sldId="362"/>
            <ac:grpSpMk id="17" creationId="{6E2E241B-D978-E277-E381-0F2042CABADC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3:29.617" v="5000"/>
          <ac:grpSpMkLst>
            <pc:docMk/>
            <pc:sldMk cId="3925508973" sldId="362"/>
            <ac:grpSpMk id="20" creationId="{C43AF461-7FEF-20DA-8DFD-838E042127D3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3:29.617" v="5000"/>
          <ac:grpSpMkLst>
            <pc:docMk/>
            <pc:sldMk cId="3925508973" sldId="362"/>
            <ac:grpSpMk id="23" creationId="{B1D4E621-A1C4-7AA1-0E7B-CF2B8D6C59DA}"/>
          </ac:grpSpMkLst>
        </pc:grpChg>
        <pc:picChg chg="mod">
          <ac:chgData name="Hans Gelissen (DHL SSC Maastricht)" userId="1afa8510-4eed-4b73-a29e-678838cd8acd" providerId="ADAL" clId="{F3A22D4D-2B68-4909-BFE7-4E46D0708FA9}" dt="2023-05-04T15:03:29.617" v="5000"/>
          <ac:picMkLst>
            <pc:docMk/>
            <pc:sldMk cId="3925508973" sldId="362"/>
            <ac:picMk id="5" creationId="{6CBFACAA-2BEA-8531-7581-82643931C440}"/>
          </ac:picMkLst>
        </pc:picChg>
        <pc:picChg chg="mod">
          <ac:chgData name="Hans Gelissen (DHL SSC Maastricht)" userId="1afa8510-4eed-4b73-a29e-678838cd8acd" providerId="ADAL" clId="{F3A22D4D-2B68-4909-BFE7-4E46D0708FA9}" dt="2023-05-04T15:03:29.617" v="5000"/>
          <ac:picMkLst>
            <pc:docMk/>
            <pc:sldMk cId="3925508973" sldId="362"/>
            <ac:picMk id="11" creationId="{9A603C02-384E-79C2-9FB4-32FF731DDE6B}"/>
          </ac:picMkLst>
        </pc:picChg>
        <pc:picChg chg="mod">
          <ac:chgData name="Hans Gelissen (DHL SSC Maastricht)" userId="1afa8510-4eed-4b73-a29e-678838cd8acd" providerId="ADAL" clId="{F3A22D4D-2B68-4909-BFE7-4E46D0708FA9}" dt="2023-05-04T15:03:29.617" v="5000"/>
          <ac:picMkLst>
            <pc:docMk/>
            <pc:sldMk cId="3925508973" sldId="362"/>
            <ac:picMk id="18" creationId="{4AD6E100-A21D-7A51-DCF7-2C6D74804E1E}"/>
          </ac:picMkLst>
        </pc:picChg>
        <pc:picChg chg="mod">
          <ac:chgData name="Hans Gelissen (DHL SSC Maastricht)" userId="1afa8510-4eed-4b73-a29e-678838cd8acd" providerId="ADAL" clId="{F3A22D4D-2B68-4909-BFE7-4E46D0708FA9}" dt="2023-05-04T15:03:29.617" v="5000"/>
          <ac:picMkLst>
            <pc:docMk/>
            <pc:sldMk cId="3925508973" sldId="362"/>
            <ac:picMk id="21" creationId="{EC96D255-D2F6-ACCF-22A3-8DC1C73BD9F3}"/>
          </ac:picMkLst>
        </pc:picChg>
        <pc:picChg chg="mod">
          <ac:chgData name="Hans Gelissen (DHL SSC Maastricht)" userId="1afa8510-4eed-4b73-a29e-678838cd8acd" providerId="ADAL" clId="{F3A22D4D-2B68-4909-BFE7-4E46D0708FA9}" dt="2023-05-04T15:03:29.617" v="5000"/>
          <ac:picMkLst>
            <pc:docMk/>
            <pc:sldMk cId="3925508973" sldId="362"/>
            <ac:picMk id="24" creationId="{E06A225D-366C-45F5-6B0A-B7EFE27FD66F}"/>
          </ac:picMkLst>
        </pc:picChg>
      </pc:sldChg>
      <pc:sldChg chg="addSp modSp add del mod modAnim">
        <pc:chgData name="Hans Gelissen (DHL SSC Maastricht)" userId="1afa8510-4eed-4b73-a29e-678838cd8acd" providerId="ADAL" clId="{F3A22D4D-2B68-4909-BFE7-4E46D0708FA9}" dt="2023-05-04T15:04:08.124" v="5003" actId="47"/>
        <pc:sldMkLst>
          <pc:docMk/>
          <pc:sldMk cId="356852888" sldId="363"/>
        </pc:sldMkLst>
        <pc:spChg chg="add mod">
          <ac:chgData name="Hans Gelissen (DHL SSC Maastricht)" userId="1afa8510-4eed-4b73-a29e-678838cd8acd" providerId="ADAL" clId="{F3A22D4D-2B68-4909-BFE7-4E46D0708FA9}" dt="2023-05-04T15:03:31.092" v="5001"/>
          <ac:spMkLst>
            <pc:docMk/>
            <pc:sldMk cId="356852888" sldId="363"/>
            <ac:spMk id="2" creationId="{251DEBE3-5225-711F-C932-4A01B3ECD7F3}"/>
          </ac:spMkLst>
        </pc:spChg>
        <pc:spChg chg="mod">
          <ac:chgData name="Hans Gelissen (DHL SSC Maastricht)" userId="1afa8510-4eed-4b73-a29e-678838cd8acd" providerId="ADAL" clId="{F3A22D4D-2B68-4909-BFE7-4E46D0708FA9}" dt="2023-05-03T15:46:40.120" v="3245" actId="20577"/>
          <ac:spMkLst>
            <pc:docMk/>
            <pc:sldMk cId="356852888" sldId="363"/>
            <ac:spMk id="4" creationId="{759B736B-1DEF-DAF6-B9EB-691CD7317D33}"/>
          </ac:spMkLst>
        </pc:spChg>
        <pc:spChg chg="mod">
          <ac:chgData name="Hans Gelissen (DHL SSC Maastricht)" userId="1afa8510-4eed-4b73-a29e-678838cd8acd" providerId="ADAL" clId="{F3A22D4D-2B68-4909-BFE7-4E46D0708FA9}" dt="2023-05-04T15:03:31.092" v="5001"/>
          <ac:spMkLst>
            <pc:docMk/>
            <pc:sldMk cId="356852888" sldId="363"/>
            <ac:spMk id="6" creationId="{05BF2527-B805-7FF8-EC02-7D0F686673AD}"/>
          </ac:spMkLst>
        </pc:spChg>
        <pc:spChg chg="add mod">
          <ac:chgData name="Hans Gelissen (DHL SSC Maastricht)" userId="1afa8510-4eed-4b73-a29e-678838cd8acd" providerId="ADAL" clId="{F3A22D4D-2B68-4909-BFE7-4E46D0708FA9}" dt="2023-05-04T15:03:31.092" v="5001"/>
          <ac:spMkLst>
            <pc:docMk/>
            <pc:sldMk cId="356852888" sldId="363"/>
            <ac:spMk id="7" creationId="{DA4FF76A-AC12-49B3-3D34-CD0153C84078}"/>
          </ac:spMkLst>
        </pc:spChg>
        <pc:spChg chg="add mod">
          <ac:chgData name="Hans Gelissen (DHL SSC Maastricht)" userId="1afa8510-4eed-4b73-a29e-678838cd8acd" providerId="ADAL" clId="{F3A22D4D-2B68-4909-BFE7-4E46D0708FA9}" dt="2023-05-04T15:03:57.810" v="5002" actId="403"/>
          <ac:spMkLst>
            <pc:docMk/>
            <pc:sldMk cId="356852888" sldId="363"/>
            <ac:spMk id="8" creationId="{1050B7FD-A8E6-E3F2-39E0-28C3AEB37EE6}"/>
          </ac:spMkLst>
        </pc:spChg>
        <pc:spChg chg="add mod">
          <ac:chgData name="Hans Gelissen (DHL SSC Maastricht)" userId="1afa8510-4eed-4b73-a29e-678838cd8acd" providerId="ADAL" clId="{F3A22D4D-2B68-4909-BFE7-4E46D0708FA9}" dt="2023-05-04T15:03:31.092" v="5001"/>
          <ac:spMkLst>
            <pc:docMk/>
            <pc:sldMk cId="356852888" sldId="363"/>
            <ac:spMk id="9" creationId="{AD9280F5-9FAA-676B-18AF-2E06C3E0B941}"/>
          </ac:spMkLst>
        </pc:spChg>
        <pc:spChg chg="mod">
          <ac:chgData name="Hans Gelissen (DHL SSC Maastricht)" userId="1afa8510-4eed-4b73-a29e-678838cd8acd" providerId="ADAL" clId="{F3A22D4D-2B68-4909-BFE7-4E46D0708FA9}" dt="2023-05-04T15:03:31.092" v="5001"/>
          <ac:spMkLst>
            <pc:docMk/>
            <pc:sldMk cId="356852888" sldId="363"/>
            <ac:spMk id="12" creationId="{785DB885-C959-D2A6-72AC-6A0AD3E14CAD}"/>
          </ac:spMkLst>
        </pc:spChg>
        <pc:spChg chg="add mod">
          <ac:chgData name="Hans Gelissen (DHL SSC Maastricht)" userId="1afa8510-4eed-4b73-a29e-678838cd8acd" providerId="ADAL" clId="{F3A22D4D-2B68-4909-BFE7-4E46D0708FA9}" dt="2023-05-04T15:03:31.092" v="5001"/>
          <ac:spMkLst>
            <pc:docMk/>
            <pc:sldMk cId="356852888" sldId="363"/>
            <ac:spMk id="13" creationId="{07084818-C226-666F-EA71-3CF9E1A0F900}"/>
          </ac:spMkLst>
        </pc:spChg>
        <pc:spChg chg="add mod">
          <ac:chgData name="Hans Gelissen (DHL SSC Maastricht)" userId="1afa8510-4eed-4b73-a29e-678838cd8acd" providerId="ADAL" clId="{F3A22D4D-2B68-4909-BFE7-4E46D0708FA9}" dt="2023-05-04T15:03:31.092" v="5001"/>
          <ac:spMkLst>
            <pc:docMk/>
            <pc:sldMk cId="356852888" sldId="363"/>
            <ac:spMk id="14" creationId="{3271EA09-0AA5-C3AC-C582-7CA60E07BEAE}"/>
          </ac:spMkLst>
        </pc:spChg>
        <pc:spChg chg="add mod">
          <ac:chgData name="Hans Gelissen (DHL SSC Maastricht)" userId="1afa8510-4eed-4b73-a29e-678838cd8acd" providerId="ADAL" clId="{F3A22D4D-2B68-4909-BFE7-4E46D0708FA9}" dt="2023-05-04T15:03:31.092" v="5001"/>
          <ac:spMkLst>
            <pc:docMk/>
            <pc:sldMk cId="356852888" sldId="363"/>
            <ac:spMk id="15" creationId="{9A0153E4-CAA9-555B-62AF-15EBFA0EF8F3}"/>
          </ac:spMkLst>
        </pc:spChg>
        <pc:spChg chg="add mod">
          <ac:chgData name="Hans Gelissen (DHL SSC Maastricht)" userId="1afa8510-4eed-4b73-a29e-678838cd8acd" providerId="ADAL" clId="{F3A22D4D-2B68-4909-BFE7-4E46D0708FA9}" dt="2023-05-04T15:03:31.092" v="5001"/>
          <ac:spMkLst>
            <pc:docMk/>
            <pc:sldMk cId="356852888" sldId="363"/>
            <ac:spMk id="16" creationId="{747DBEF9-A348-8811-BA9C-3AE08AA18803}"/>
          </ac:spMkLst>
        </pc:spChg>
        <pc:spChg chg="mod">
          <ac:chgData name="Hans Gelissen (DHL SSC Maastricht)" userId="1afa8510-4eed-4b73-a29e-678838cd8acd" providerId="ADAL" clId="{F3A22D4D-2B68-4909-BFE7-4E46D0708FA9}" dt="2023-05-04T15:03:31.092" v="5001"/>
          <ac:spMkLst>
            <pc:docMk/>
            <pc:sldMk cId="356852888" sldId="363"/>
            <ac:spMk id="19" creationId="{73B11E41-AA1A-BBC2-BC96-C5C67C8E3370}"/>
          </ac:spMkLst>
        </pc:spChg>
        <pc:spChg chg="mod">
          <ac:chgData name="Hans Gelissen (DHL SSC Maastricht)" userId="1afa8510-4eed-4b73-a29e-678838cd8acd" providerId="ADAL" clId="{F3A22D4D-2B68-4909-BFE7-4E46D0708FA9}" dt="2023-05-04T15:03:31.092" v="5001"/>
          <ac:spMkLst>
            <pc:docMk/>
            <pc:sldMk cId="356852888" sldId="363"/>
            <ac:spMk id="22" creationId="{FE453873-E4C8-A68F-18AE-30CE9F98AF9E}"/>
          </ac:spMkLst>
        </pc:spChg>
        <pc:spChg chg="mod">
          <ac:chgData name="Hans Gelissen (DHL SSC Maastricht)" userId="1afa8510-4eed-4b73-a29e-678838cd8acd" providerId="ADAL" clId="{F3A22D4D-2B68-4909-BFE7-4E46D0708FA9}" dt="2023-05-04T15:03:31.092" v="5001"/>
          <ac:spMkLst>
            <pc:docMk/>
            <pc:sldMk cId="356852888" sldId="363"/>
            <ac:spMk id="25" creationId="{3CCC9AEF-4875-FB9A-545D-D598A77DF20A}"/>
          </ac:spMkLst>
        </pc:spChg>
        <pc:grpChg chg="add mod">
          <ac:chgData name="Hans Gelissen (DHL SSC Maastricht)" userId="1afa8510-4eed-4b73-a29e-678838cd8acd" providerId="ADAL" clId="{F3A22D4D-2B68-4909-BFE7-4E46D0708FA9}" dt="2023-05-04T15:03:31.092" v="5001"/>
          <ac:grpSpMkLst>
            <pc:docMk/>
            <pc:sldMk cId="356852888" sldId="363"/>
            <ac:grpSpMk id="3" creationId="{3D3E2436-C2E2-ED0B-9B33-FA708EFE1D12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3:31.092" v="5001"/>
          <ac:grpSpMkLst>
            <pc:docMk/>
            <pc:sldMk cId="356852888" sldId="363"/>
            <ac:grpSpMk id="10" creationId="{B6AE1828-9562-B7A8-0610-60DA3C797DA6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3:31.092" v="5001"/>
          <ac:grpSpMkLst>
            <pc:docMk/>
            <pc:sldMk cId="356852888" sldId="363"/>
            <ac:grpSpMk id="17" creationId="{5B3CFF2E-E00E-4D97-C216-C4E6E87B8CFC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3:31.092" v="5001"/>
          <ac:grpSpMkLst>
            <pc:docMk/>
            <pc:sldMk cId="356852888" sldId="363"/>
            <ac:grpSpMk id="20" creationId="{D61379DF-E583-C04D-E33A-70AD08933EE3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3:31.092" v="5001"/>
          <ac:grpSpMkLst>
            <pc:docMk/>
            <pc:sldMk cId="356852888" sldId="363"/>
            <ac:grpSpMk id="23" creationId="{76D5C0C2-5FAD-4C90-594A-BB02D702042A}"/>
          </ac:grpSpMkLst>
        </pc:grpChg>
        <pc:picChg chg="mod">
          <ac:chgData name="Hans Gelissen (DHL SSC Maastricht)" userId="1afa8510-4eed-4b73-a29e-678838cd8acd" providerId="ADAL" clId="{F3A22D4D-2B68-4909-BFE7-4E46D0708FA9}" dt="2023-05-04T15:03:31.092" v="5001"/>
          <ac:picMkLst>
            <pc:docMk/>
            <pc:sldMk cId="356852888" sldId="363"/>
            <ac:picMk id="5" creationId="{BF9F2565-FF7D-12F7-A21E-03EF7F8DB036}"/>
          </ac:picMkLst>
        </pc:picChg>
        <pc:picChg chg="mod">
          <ac:chgData name="Hans Gelissen (DHL SSC Maastricht)" userId="1afa8510-4eed-4b73-a29e-678838cd8acd" providerId="ADAL" clId="{F3A22D4D-2B68-4909-BFE7-4E46D0708FA9}" dt="2023-05-04T15:03:31.092" v="5001"/>
          <ac:picMkLst>
            <pc:docMk/>
            <pc:sldMk cId="356852888" sldId="363"/>
            <ac:picMk id="11" creationId="{8185909B-4ECE-1825-A22B-A94FB89D25B1}"/>
          </ac:picMkLst>
        </pc:picChg>
        <pc:picChg chg="mod">
          <ac:chgData name="Hans Gelissen (DHL SSC Maastricht)" userId="1afa8510-4eed-4b73-a29e-678838cd8acd" providerId="ADAL" clId="{F3A22D4D-2B68-4909-BFE7-4E46D0708FA9}" dt="2023-05-04T15:03:31.092" v="5001"/>
          <ac:picMkLst>
            <pc:docMk/>
            <pc:sldMk cId="356852888" sldId="363"/>
            <ac:picMk id="18" creationId="{90ED17FE-99D5-15C7-9A59-82493FA1132C}"/>
          </ac:picMkLst>
        </pc:picChg>
        <pc:picChg chg="mod">
          <ac:chgData name="Hans Gelissen (DHL SSC Maastricht)" userId="1afa8510-4eed-4b73-a29e-678838cd8acd" providerId="ADAL" clId="{F3A22D4D-2B68-4909-BFE7-4E46D0708FA9}" dt="2023-05-04T15:03:31.092" v="5001"/>
          <ac:picMkLst>
            <pc:docMk/>
            <pc:sldMk cId="356852888" sldId="363"/>
            <ac:picMk id="21" creationId="{29EC6567-ED71-F859-5040-C6DC09FE198C}"/>
          </ac:picMkLst>
        </pc:picChg>
        <pc:picChg chg="mod">
          <ac:chgData name="Hans Gelissen (DHL SSC Maastricht)" userId="1afa8510-4eed-4b73-a29e-678838cd8acd" providerId="ADAL" clId="{F3A22D4D-2B68-4909-BFE7-4E46D0708FA9}" dt="2023-05-04T15:03:31.092" v="5001"/>
          <ac:picMkLst>
            <pc:docMk/>
            <pc:sldMk cId="356852888" sldId="363"/>
            <ac:picMk id="24" creationId="{9252201A-975D-E471-90F3-D078A05F7716}"/>
          </ac:picMkLst>
        </pc:picChg>
      </pc:sldChg>
      <pc:sldChg chg="addSp delSp modSp add mod ord modClrScheme modAnim chgLayout">
        <pc:chgData name="Hans Gelissen (DHL SSC Maastricht)" userId="1afa8510-4eed-4b73-a29e-678838cd8acd" providerId="ADAL" clId="{F3A22D4D-2B68-4909-BFE7-4E46D0708FA9}" dt="2023-05-08T12:42:07.805" v="10235" actId="20577"/>
        <pc:sldMkLst>
          <pc:docMk/>
          <pc:sldMk cId="3243376164" sldId="364"/>
        </pc:sldMkLst>
        <pc:spChg chg="mod ord">
          <ac:chgData name="Hans Gelissen (DHL SSC Maastricht)" userId="1afa8510-4eed-4b73-a29e-678838cd8acd" providerId="ADAL" clId="{F3A22D4D-2B68-4909-BFE7-4E46D0708FA9}" dt="2023-05-04T15:04:54.621" v="5006" actId="700"/>
          <ac:spMkLst>
            <pc:docMk/>
            <pc:sldMk cId="3243376164" sldId="364"/>
            <ac:spMk id="4" creationId="{759B736B-1DEF-DAF6-B9EB-691CD7317D33}"/>
          </ac:spMkLst>
        </pc:spChg>
        <pc:spChg chg="mod">
          <ac:chgData name="Hans Gelissen (DHL SSC Maastricht)" userId="1afa8510-4eed-4b73-a29e-678838cd8acd" providerId="ADAL" clId="{F3A22D4D-2B68-4909-BFE7-4E46D0708FA9}" dt="2023-05-04T14:53:25.217" v="4816" actId="1076"/>
          <ac:spMkLst>
            <pc:docMk/>
            <pc:sldMk cId="3243376164" sldId="364"/>
            <ac:spMk id="9" creationId="{33A41099-DE88-19D7-7247-A613E6F28A8B}"/>
          </ac:spMkLst>
        </pc:spChg>
        <pc:spChg chg="mod">
          <ac:chgData name="Hans Gelissen (DHL SSC Maastricht)" userId="1afa8510-4eed-4b73-a29e-678838cd8acd" providerId="ADAL" clId="{F3A22D4D-2B68-4909-BFE7-4E46D0708FA9}" dt="2023-05-04T14:53:41.211" v="4820" actId="1076"/>
          <ac:spMkLst>
            <pc:docMk/>
            <pc:sldMk cId="3243376164" sldId="364"/>
            <ac:spMk id="11" creationId="{CC7AF72C-3239-613D-87BE-74D5A21A55CE}"/>
          </ac:spMkLst>
        </pc:spChg>
        <pc:spChg chg="mod">
          <ac:chgData name="Hans Gelissen (DHL SSC Maastricht)" userId="1afa8510-4eed-4b73-a29e-678838cd8acd" providerId="ADAL" clId="{F3A22D4D-2B68-4909-BFE7-4E46D0708FA9}" dt="2023-05-04T14:53:29.174" v="4818" actId="1076"/>
          <ac:spMkLst>
            <pc:docMk/>
            <pc:sldMk cId="3243376164" sldId="364"/>
            <ac:spMk id="13" creationId="{CDE3F17C-3197-41CF-7C89-16517605B7FF}"/>
          </ac:spMkLst>
        </pc:spChg>
        <pc:spChg chg="mod">
          <ac:chgData name="Hans Gelissen (DHL SSC Maastricht)" userId="1afa8510-4eed-4b73-a29e-678838cd8acd" providerId="ADAL" clId="{F3A22D4D-2B68-4909-BFE7-4E46D0708FA9}" dt="2023-05-04T14:53:37.327" v="4819" actId="1076"/>
          <ac:spMkLst>
            <pc:docMk/>
            <pc:sldMk cId="3243376164" sldId="364"/>
            <ac:spMk id="15" creationId="{57584013-6817-9CB4-72FB-0676A29CFC09}"/>
          </ac:spMkLst>
        </pc:spChg>
        <pc:spChg chg="mod">
          <ac:chgData name="Hans Gelissen (DHL SSC Maastricht)" userId="1afa8510-4eed-4b73-a29e-678838cd8acd" providerId="ADAL" clId="{F3A22D4D-2B68-4909-BFE7-4E46D0708FA9}" dt="2023-05-04T15:03:10.530" v="4997"/>
          <ac:spMkLst>
            <pc:docMk/>
            <pc:sldMk cId="3243376164" sldId="364"/>
            <ac:spMk id="18" creationId="{C4D5B3E5-7EC3-3A73-065C-4317071FDF11}"/>
          </ac:spMkLst>
        </pc:spChg>
        <pc:spChg chg="add del mod">
          <ac:chgData name="Hans Gelissen (DHL SSC Maastricht)" userId="1afa8510-4eed-4b73-a29e-678838cd8acd" providerId="ADAL" clId="{F3A22D4D-2B68-4909-BFE7-4E46D0708FA9}" dt="2023-05-04T15:03:13.922" v="4998"/>
          <ac:spMkLst>
            <pc:docMk/>
            <pc:sldMk cId="3243376164" sldId="364"/>
            <ac:spMk id="19" creationId="{C9FB65F8-B87A-B280-D5D4-97C964AE67D2}"/>
          </ac:spMkLst>
        </pc:spChg>
        <pc:spChg chg="add del mod">
          <ac:chgData name="Hans Gelissen (DHL SSC Maastricht)" userId="1afa8510-4eed-4b73-a29e-678838cd8acd" providerId="ADAL" clId="{F3A22D4D-2B68-4909-BFE7-4E46D0708FA9}" dt="2023-05-04T15:03:13.922" v="4998"/>
          <ac:spMkLst>
            <pc:docMk/>
            <pc:sldMk cId="3243376164" sldId="364"/>
            <ac:spMk id="20" creationId="{3AEBADFA-62A2-32C5-30DF-BD8523FAFD90}"/>
          </ac:spMkLst>
        </pc:spChg>
        <pc:spChg chg="add del mod">
          <ac:chgData name="Hans Gelissen (DHL SSC Maastricht)" userId="1afa8510-4eed-4b73-a29e-678838cd8acd" providerId="ADAL" clId="{F3A22D4D-2B68-4909-BFE7-4E46D0708FA9}" dt="2023-05-04T15:03:13.922" v="4998"/>
          <ac:spMkLst>
            <pc:docMk/>
            <pc:sldMk cId="3243376164" sldId="364"/>
            <ac:spMk id="21" creationId="{ACAF9AFA-F9CA-621E-5041-413D899C94D7}"/>
          </ac:spMkLst>
        </pc:spChg>
        <pc:spChg chg="mod">
          <ac:chgData name="Hans Gelissen (DHL SSC Maastricht)" userId="1afa8510-4eed-4b73-a29e-678838cd8acd" providerId="ADAL" clId="{F3A22D4D-2B68-4909-BFE7-4E46D0708FA9}" dt="2023-05-04T15:03:10.530" v="4997"/>
          <ac:spMkLst>
            <pc:docMk/>
            <pc:sldMk cId="3243376164" sldId="364"/>
            <ac:spMk id="24" creationId="{D001F2C1-1FEC-3B61-CB26-C156BD38A9C7}"/>
          </ac:spMkLst>
        </pc:spChg>
        <pc:spChg chg="mod">
          <ac:chgData name="Hans Gelissen (DHL SSC Maastricht)" userId="1afa8510-4eed-4b73-a29e-678838cd8acd" providerId="ADAL" clId="{F3A22D4D-2B68-4909-BFE7-4E46D0708FA9}" dt="2023-05-04T15:03:10.530" v="4997"/>
          <ac:spMkLst>
            <pc:docMk/>
            <pc:sldMk cId="3243376164" sldId="364"/>
            <ac:spMk id="27" creationId="{B637FBF9-D786-EE4B-7C21-6D154B721182}"/>
          </ac:spMkLst>
        </pc:spChg>
        <pc:spChg chg="add mod">
          <ac:chgData name="Hans Gelissen (DHL SSC Maastricht)" userId="1afa8510-4eed-4b73-a29e-678838cd8acd" providerId="ADAL" clId="{F3A22D4D-2B68-4909-BFE7-4E46D0708FA9}" dt="2023-05-04T15:06:21.229" v="5027" actId="14100"/>
          <ac:spMkLst>
            <pc:docMk/>
            <pc:sldMk cId="3243376164" sldId="364"/>
            <ac:spMk id="28" creationId="{B312FB55-54C4-B039-0367-D537C58FD361}"/>
          </ac:spMkLst>
        </pc:spChg>
        <pc:spChg chg="mod">
          <ac:chgData name="Hans Gelissen (DHL SSC Maastricht)" userId="1afa8510-4eed-4b73-a29e-678838cd8acd" providerId="ADAL" clId="{F3A22D4D-2B68-4909-BFE7-4E46D0708FA9}" dt="2023-05-05T10:50:37.697" v="5052" actId="1037"/>
          <ac:spMkLst>
            <pc:docMk/>
            <pc:sldMk cId="3243376164" sldId="364"/>
            <ac:spMk id="31" creationId="{E2020873-4D37-EC44-39DE-779877DA8E9B}"/>
          </ac:spMkLst>
        </pc:spChg>
        <pc:spChg chg="add mod">
          <ac:chgData name="Hans Gelissen (DHL SSC Maastricht)" userId="1afa8510-4eed-4b73-a29e-678838cd8acd" providerId="ADAL" clId="{F3A22D4D-2B68-4909-BFE7-4E46D0708FA9}" dt="2023-05-04T15:05:32.220" v="5011" actId="14100"/>
          <ac:spMkLst>
            <pc:docMk/>
            <pc:sldMk cId="3243376164" sldId="364"/>
            <ac:spMk id="32" creationId="{5F958963-BBB2-C17A-0646-69B25AE81C2A}"/>
          </ac:spMkLst>
        </pc:spChg>
        <pc:spChg chg="add mod">
          <ac:chgData name="Hans Gelissen (DHL SSC Maastricht)" userId="1afa8510-4eed-4b73-a29e-678838cd8acd" providerId="ADAL" clId="{F3A22D4D-2B68-4909-BFE7-4E46D0708FA9}" dt="2023-05-08T12:42:07.805" v="10235" actId="20577"/>
          <ac:spMkLst>
            <pc:docMk/>
            <pc:sldMk cId="3243376164" sldId="364"/>
            <ac:spMk id="33" creationId="{ADEE67E1-2C69-B5EF-F5DE-185D38361EA9}"/>
          </ac:spMkLst>
        </pc:spChg>
        <pc:spChg chg="add mod">
          <ac:chgData name="Hans Gelissen (DHL SSC Maastricht)" userId="1afa8510-4eed-4b73-a29e-678838cd8acd" providerId="ADAL" clId="{F3A22D4D-2B68-4909-BFE7-4E46D0708FA9}" dt="2023-05-04T15:06:48.607" v="5033" actId="1076"/>
          <ac:spMkLst>
            <pc:docMk/>
            <pc:sldMk cId="3243376164" sldId="364"/>
            <ac:spMk id="34" creationId="{2FEB3966-6237-EEDF-39BB-ACBA8020F0B8}"/>
          </ac:spMkLst>
        </pc:spChg>
        <pc:spChg chg="mod">
          <ac:chgData name="Hans Gelissen (DHL SSC Maastricht)" userId="1afa8510-4eed-4b73-a29e-678838cd8acd" providerId="ADAL" clId="{F3A22D4D-2B68-4909-BFE7-4E46D0708FA9}" dt="2023-05-04T15:05:01.082" v="5007" actId="1076"/>
          <ac:spMkLst>
            <pc:docMk/>
            <pc:sldMk cId="3243376164" sldId="364"/>
            <ac:spMk id="37" creationId="{D9AC9057-C24B-50DE-5654-A57BAACA3F24}"/>
          </ac:spMkLst>
        </pc:spChg>
        <pc:spChg chg="add mod">
          <ac:chgData name="Hans Gelissen (DHL SSC Maastricht)" userId="1afa8510-4eed-4b73-a29e-678838cd8acd" providerId="ADAL" clId="{F3A22D4D-2B68-4909-BFE7-4E46D0708FA9}" dt="2023-05-04T15:06:28.105" v="5029" actId="1036"/>
          <ac:spMkLst>
            <pc:docMk/>
            <pc:sldMk cId="3243376164" sldId="364"/>
            <ac:spMk id="38" creationId="{54A9D00B-83CB-753D-4129-0FBD7186161A}"/>
          </ac:spMkLst>
        </pc:spChg>
        <pc:spChg chg="add mod">
          <ac:chgData name="Hans Gelissen (DHL SSC Maastricht)" userId="1afa8510-4eed-4b73-a29e-678838cd8acd" providerId="ADAL" clId="{F3A22D4D-2B68-4909-BFE7-4E46D0708FA9}" dt="2023-05-04T15:06:48.607" v="5033" actId="1076"/>
          <ac:spMkLst>
            <pc:docMk/>
            <pc:sldMk cId="3243376164" sldId="364"/>
            <ac:spMk id="39" creationId="{AAC920CF-17E2-7A33-B3FD-D371C568DF90}"/>
          </ac:spMkLst>
        </pc:spChg>
        <pc:spChg chg="add mod">
          <ac:chgData name="Hans Gelissen (DHL SSC Maastricht)" userId="1afa8510-4eed-4b73-a29e-678838cd8acd" providerId="ADAL" clId="{F3A22D4D-2B68-4909-BFE7-4E46D0708FA9}" dt="2023-05-04T15:05:32.220" v="5011" actId="14100"/>
          <ac:spMkLst>
            <pc:docMk/>
            <pc:sldMk cId="3243376164" sldId="364"/>
            <ac:spMk id="40" creationId="{9631ACDE-12F3-44FC-BB84-F095C43A873B}"/>
          </ac:spMkLst>
        </pc:spChg>
        <pc:spChg chg="add mod">
          <ac:chgData name="Hans Gelissen (DHL SSC Maastricht)" userId="1afa8510-4eed-4b73-a29e-678838cd8acd" providerId="ADAL" clId="{F3A22D4D-2B68-4909-BFE7-4E46D0708FA9}" dt="2023-05-04T15:06:48.607" v="5033" actId="1076"/>
          <ac:spMkLst>
            <pc:docMk/>
            <pc:sldMk cId="3243376164" sldId="364"/>
            <ac:spMk id="41" creationId="{FCE046A2-CAE9-527E-274D-7905C9BA9D60}"/>
          </ac:spMkLst>
        </pc:spChg>
        <pc:spChg chg="mod">
          <ac:chgData name="Hans Gelissen (DHL SSC Maastricht)" userId="1afa8510-4eed-4b73-a29e-678838cd8acd" providerId="ADAL" clId="{F3A22D4D-2B68-4909-BFE7-4E46D0708FA9}" dt="2023-05-04T15:05:01.082" v="5007" actId="1076"/>
          <ac:spMkLst>
            <pc:docMk/>
            <pc:sldMk cId="3243376164" sldId="364"/>
            <ac:spMk id="44" creationId="{7D77F7C3-3B22-4F88-690A-5DF7D05246C1}"/>
          </ac:spMkLst>
        </pc:spChg>
        <pc:spChg chg="mod">
          <ac:chgData name="Hans Gelissen (DHL SSC Maastricht)" userId="1afa8510-4eed-4b73-a29e-678838cd8acd" providerId="ADAL" clId="{F3A22D4D-2B68-4909-BFE7-4E46D0708FA9}" dt="2023-05-04T15:06:28.105" v="5029" actId="1036"/>
          <ac:spMkLst>
            <pc:docMk/>
            <pc:sldMk cId="3243376164" sldId="364"/>
            <ac:spMk id="47" creationId="{28D52BD0-8D95-461A-663A-1081B2B2E744}"/>
          </ac:spMkLst>
        </pc:spChg>
        <pc:spChg chg="mod">
          <ac:chgData name="Hans Gelissen (DHL SSC Maastricht)" userId="1afa8510-4eed-4b73-a29e-678838cd8acd" providerId="ADAL" clId="{F3A22D4D-2B68-4909-BFE7-4E46D0708FA9}" dt="2023-05-04T15:07:40.455" v="5036" actId="1076"/>
          <ac:spMkLst>
            <pc:docMk/>
            <pc:sldMk cId="3243376164" sldId="364"/>
            <ac:spMk id="50" creationId="{2471F920-C68D-D38F-45A3-652C3B06B2E8}"/>
          </ac:spMkLst>
        </pc:spChg>
        <pc:grpChg chg="add del mod">
          <ac:chgData name="Hans Gelissen (DHL SSC Maastricht)" userId="1afa8510-4eed-4b73-a29e-678838cd8acd" providerId="ADAL" clId="{F3A22D4D-2B68-4909-BFE7-4E46D0708FA9}" dt="2023-05-04T14:51:56.038" v="4799" actId="165"/>
          <ac:grpSpMkLst>
            <pc:docMk/>
            <pc:sldMk cId="3243376164" sldId="364"/>
            <ac:grpSpMk id="2" creationId="{79F750BA-9F4B-E7AB-EEFE-C6389C0FCCCC}"/>
          </ac:grpSpMkLst>
        </pc:grpChg>
        <pc:grpChg chg="del mod topLvl">
          <ac:chgData name="Hans Gelissen (DHL SSC Maastricht)" userId="1afa8510-4eed-4b73-a29e-678838cd8acd" providerId="ADAL" clId="{F3A22D4D-2B68-4909-BFE7-4E46D0708FA9}" dt="2023-05-04T15:03:10.077" v="4996" actId="478"/>
          <ac:grpSpMkLst>
            <pc:docMk/>
            <pc:sldMk cId="3243376164" sldId="364"/>
            <ac:grpSpMk id="3" creationId="{6F07642E-180E-64AC-05A7-3511BE316C0C}"/>
          </ac:grpSpMkLst>
        </pc:grpChg>
        <pc:grpChg chg="del mod topLvl">
          <ac:chgData name="Hans Gelissen (DHL SSC Maastricht)" userId="1afa8510-4eed-4b73-a29e-678838cd8acd" providerId="ADAL" clId="{F3A22D4D-2B68-4909-BFE7-4E46D0708FA9}" dt="2023-05-04T15:03:10.077" v="4996" actId="478"/>
          <ac:grpSpMkLst>
            <pc:docMk/>
            <pc:sldMk cId="3243376164" sldId="364"/>
            <ac:grpSpMk id="5" creationId="{DC4304A3-0BFB-87A7-7A12-884543EAA652}"/>
          </ac:grpSpMkLst>
        </pc:grpChg>
        <pc:grpChg chg="del mod topLvl">
          <ac:chgData name="Hans Gelissen (DHL SSC Maastricht)" userId="1afa8510-4eed-4b73-a29e-678838cd8acd" providerId="ADAL" clId="{F3A22D4D-2B68-4909-BFE7-4E46D0708FA9}" dt="2023-05-04T15:03:10.077" v="4996" actId="478"/>
          <ac:grpSpMkLst>
            <pc:docMk/>
            <pc:sldMk cId="3243376164" sldId="364"/>
            <ac:grpSpMk id="6" creationId="{AE37861A-F580-6CE3-835A-EA18BFE99092}"/>
          </ac:grpSpMkLst>
        </pc:grpChg>
        <pc:grpChg chg="del mod topLvl">
          <ac:chgData name="Hans Gelissen (DHL SSC Maastricht)" userId="1afa8510-4eed-4b73-a29e-678838cd8acd" providerId="ADAL" clId="{F3A22D4D-2B68-4909-BFE7-4E46D0708FA9}" dt="2023-05-04T15:03:10.077" v="4996" actId="478"/>
          <ac:grpSpMkLst>
            <pc:docMk/>
            <pc:sldMk cId="3243376164" sldId="364"/>
            <ac:grpSpMk id="7" creationId="{DC5F59D4-C561-F045-60AF-116EF22CD1B5}"/>
          </ac:grpSpMkLst>
        </pc:grpChg>
        <pc:grpChg chg="add del mod">
          <ac:chgData name="Hans Gelissen (DHL SSC Maastricht)" userId="1afa8510-4eed-4b73-a29e-678838cd8acd" providerId="ADAL" clId="{F3A22D4D-2B68-4909-BFE7-4E46D0708FA9}" dt="2023-05-04T15:03:13.922" v="4998"/>
          <ac:grpSpMkLst>
            <pc:docMk/>
            <pc:sldMk cId="3243376164" sldId="364"/>
            <ac:grpSpMk id="16" creationId="{06BDF264-EA47-5CCA-045B-4128F6076AA3}"/>
          </ac:grpSpMkLst>
        </pc:grpChg>
        <pc:grpChg chg="add del mod">
          <ac:chgData name="Hans Gelissen (DHL SSC Maastricht)" userId="1afa8510-4eed-4b73-a29e-678838cd8acd" providerId="ADAL" clId="{F3A22D4D-2B68-4909-BFE7-4E46D0708FA9}" dt="2023-05-04T15:03:13.922" v="4998"/>
          <ac:grpSpMkLst>
            <pc:docMk/>
            <pc:sldMk cId="3243376164" sldId="364"/>
            <ac:grpSpMk id="22" creationId="{3C73F67B-0E4A-E19B-A2F7-7A3F177B86D7}"/>
          </ac:grpSpMkLst>
        </pc:grpChg>
        <pc:grpChg chg="add del mod">
          <ac:chgData name="Hans Gelissen (DHL SSC Maastricht)" userId="1afa8510-4eed-4b73-a29e-678838cd8acd" providerId="ADAL" clId="{F3A22D4D-2B68-4909-BFE7-4E46D0708FA9}" dt="2023-05-04T15:03:13.922" v="4998"/>
          <ac:grpSpMkLst>
            <pc:docMk/>
            <pc:sldMk cId="3243376164" sldId="364"/>
            <ac:grpSpMk id="25" creationId="{8996C121-2A32-CC6A-9010-285C1DC04A54}"/>
          </ac:grpSpMkLst>
        </pc:grpChg>
        <pc:grpChg chg="add mod">
          <ac:chgData name="Hans Gelissen (DHL SSC Maastricht)" userId="1afa8510-4eed-4b73-a29e-678838cd8acd" providerId="ADAL" clId="{F3A22D4D-2B68-4909-BFE7-4E46D0708FA9}" dt="2023-05-05T10:50:37.697" v="5052" actId="1037"/>
          <ac:grpSpMkLst>
            <pc:docMk/>
            <pc:sldMk cId="3243376164" sldId="364"/>
            <ac:grpSpMk id="29" creationId="{274301BD-EA54-B34B-0F5A-1B1EDB9EE79E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5:01.082" v="5007" actId="1076"/>
          <ac:grpSpMkLst>
            <pc:docMk/>
            <pc:sldMk cId="3243376164" sldId="364"/>
            <ac:grpSpMk id="35" creationId="{D6A299C4-92F0-013A-C160-A4F99C938AC8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5:01.082" v="5007" actId="1076"/>
          <ac:grpSpMkLst>
            <pc:docMk/>
            <pc:sldMk cId="3243376164" sldId="364"/>
            <ac:grpSpMk id="42" creationId="{56605960-842C-2D40-F39E-5AE65C99A3B9}"/>
          </ac:grpSpMkLst>
        </pc:grpChg>
        <pc:grpChg chg="add mod">
          <ac:chgData name="Hans Gelissen (DHL SSC Maastricht)" userId="1afa8510-4eed-4b73-a29e-678838cd8acd" providerId="ADAL" clId="{F3A22D4D-2B68-4909-BFE7-4E46D0708FA9}" dt="2023-05-04T15:06:28.105" v="5029" actId="1036"/>
          <ac:grpSpMkLst>
            <pc:docMk/>
            <pc:sldMk cId="3243376164" sldId="364"/>
            <ac:grpSpMk id="45" creationId="{89A5FB56-26F6-4D87-43E6-50E3D94993F1}"/>
          </ac:grpSpMkLst>
        </pc:grpChg>
        <pc:grpChg chg="add del mod">
          <ac:chgData name="Hans Gelissen (DHL SSC Maastricht)" userId="1afa8510-4eed-4b73-a29e-678838cd8acd" providerId="ADAL" clId="{F3A22D4D-2B68-4909-BFE7-4E46D0708FA9}" dt="2023-05-05T10:55:41.070" v="5395" actId="478"/>
          <ac:grpSpMkLst>
            <pc:docMk/>
            <pc:sldMk cId="3243376164" sldId="364"/>
            <ac:grpSpMk id="48" creationId="{49AF71D4-E02B-2568-B215-F107FB9CE669}"/>
          </ac:grpSpMkLst>
        </pc:grpChg>
        <pc:picChg chg="mod">
          <ac:chgData name="Hans Gelissen (DHL SSC Maastricht)" userId="1afa8510-4eed-4b73-a29e-678838cd8acd" providerId="ADAL" clId="{F3A22D4D-2B68-4909-BFE7-4E46D0708FA9}" dt="2023-05-04T14:53:25.217" v="4816" actId="1076"/>
          <ac:picMkLst>
            <pc:docMk/>
            <pc:sldMk cId="3243376164" sldId="364"/>
            <ac:picMk id="8" creationId="{EB1E03EF-8B15-3D62-E531-40092F330453}"/>
          </ac:picMkLst>
        </pc:picChg>
        <pc:picChg chg="mod">
          <ac:chgData name="Hans Gelissen (DHL SSC Maastricht)" userId="1afa8510-4eed-4b73-a29e-678838cd8acd" providerId="ADAL" clId="{F3A22D4D-2B68-4909-BFE7-4E46D0708FA9}" dt="2023-05-04T14:53:41.211" v="4820" actId="1076"/>
          <ac:picMkLst>
            <pc:docMk/>
            <pc:sldMk cId="3243376164" sldId="364"/>
            <ac:picMk id="10" creationId="{6C059C57-63AC-A31A-94BA-2D2BCA6FD8A0}"/>
          </ac:picMkLst>
        </pc:picChg>
        <pc:picChg chg="mod">
          <ac:chgData name="Hans Gelissen (DHL SSC Maastricht)" userId="1afa8510-4eed-4b73-a29e-678838cd8acd" providerId="ADAL" clId="{F3A22D4D-2B68-4909-BFE7-4E46D0708FA9}" dt="2023-05-04T14:53:29.174" v="4818" actId="1076"/>
          <ac:picMkLst>
            <pc:docMk/>
            <pc:sldMk cId="3243376164" sldId="364"/>
            <ac:picMk id="12" creationId="{AA1F1D14-EFD2-ECAE-22A7-525934D3A02E}"/>
          </ac:picMkLst>
        </pc:picChg>
        <pc:picChg chg="mod">
          <ac:chgData name="Hans Gelissen (DHL SSC Maastricht)" userId="1afa8510-4eed-4b73-a29e-678838cd8acd" providerId="ADAL" clId="{F3A22D4D-2B68-4909-BFE7-4E46D0708FA9}" dt="2023-05-04T14:53:37.327" v="4819" actId="1076"/>
          <ac:picMkLst>
            <pc:docMk/>
            <pc:sldMk cId="3243376164" sldId="364"/>
            <ac:picMk id="14" creationId="{C90998B1-46F2-E4CD-820F-F40BB54454D4}"/>
          </ac:picMkLst>
        </pc:picChg>
        <pc:picChg chg="mod">
          <ac:chgData name="Hans Gelissen (DHL SSC Maastricht)" userId="1afa8510-4eed-4b73-a29e-678838cd8acd" providerId="ADAL" clId="{F3A22D4D-2B68-4909-BFE7-4E46D0708FA9}" dt="2023-05-04T15:03:10.530" v="4997"/>
          <ac:picMkLst>
            <pc:docMk/>
            <pc:sldMk cId="3243376164" sldId="364"/>
            <ac:picMk id="17" creationId="{EF1624C3-3608-36B3-0F99-D5528DA835AA}"/>
          </ac:picMkLst>
        </pc:picChg>
        <pc:picChg chg="mod">
          <ac:chgData name="Hans Gelissen (DHL SSC Maastricht)" userId="1afa8510-4eed-4b73-a29e-678838cd8acd" providerId="ADAL" clId="{F3A22D4D-2B68-4909-BFE7-4E46D0708FA9}" dt="2023-05-04T15:03:10.530" v="4997"/>
          <ac:picMkLst>
            <pc:docMk/>
            <pc:sldMk cId="3243376164" sldId="364"/>
            <ac:picMk id="23" creationId="{EA0B8864-CC89-45BA-5432-8BBEF221DFBB}"/>
          </ac:picMkLst>
        </pc:picChg>
        <pc:picChg chg="mod">
          <ac:chgData name="Hans Gelissen (DHL SSC Maastricht)" userId="1afa8510-4eed-4b73-a29e-678838cd8acd" providerId="ADAL" clId="{F3A22D4D-2B68-4909-BFE7-4E46D0708FA9}" dt="2023-05-04T15:03:10.530" v="4997"/>
          <ac:picMkLst>
            <pc:docMk/>
            <pc:sldMk cId="3243376164" sldId="364"/>
            <ac:picMk id="26" creationId="{60466C06-9324-D8AB-60C2-C5C36A9652E3}"/>
          </ac:picMkLst>
        </pc:picChg>
        <pc:picChg chg="mod">
          <ac:chgData name="Hans Gelissen (DHL SSC Maastricht)" userId="1afa8510-4eed-4b73-a29e-678838cd8acd" providerId="ADAL" clId="{F3A22D4D-2B68-4909-BFE7-4E46D0708FA9}" dt="2023-05-05T10:50:37.697" v="5052" actId="1037"/>
          <ac:picMkLst>
            <pc:docMk/>
            <pc:sldMk cId="3243376164" sldId="364"/>
            <ac:picMk id="30" creationId="{AF24179E-9370-36EC-FED8-EB14568E2E56}"/>
          </ac:picMkLst>
        </pc:picChg>
        <pc:picChg chg="mod">
          <ac:chgData name="Hans Gelissen (DHL SSC Maastricht)" userId="1afa8510-4eed-4b73-a29e-678838cd8acd" providerId="ADAL" clId="{F3A22D4D-2B68-4909-BFE7-4E46D0708FA9}" dt="2023-05-04T15:05:01.082" v="5007" actId="1076"/>
          <ac:picMkLst>
            <pc:docMk/>
            <pc:sldMk cId="3243376164" sldId="364"/>
            <ac:picMk id="36" creationId="{8A89C1A7-C684-0BFB-099B-683990C00F52}"/>
          </ac:picMkLst>
        </pc:picChg>
        <pc:picChg chg="mod">
          <ac:chgData name="Hans Gelissen (DHL SSC Maastricht)" userId="1afa8510-4eed-4b73-a29e-678838cd8acd" providerId="ADAL" clId="{F3A22D4D-2B68-4909-BFE7-4E46D0708FA9}" dt="2023-05-04T15:05:01.082" v="5007" actId="1076"/>
          <ac:picMkLst>
            <pc:docMk/>
            <pc:sldMk cId="3243376164" sldId="364"/>
            <ac:picMk id="43" creationId="{A2D11831-C114-2C14-36A0-6AAAA8A81F6B}"/>
          </ac:picMkLst>
        </pc:picChg>
        <pc:picChg chg="mod">
          <ac:chgData name="Hans Gelissen (DHL SSC Maastricht)" userId="1afa8510-4eed-4b73-a29e-678838cd8acd" providerId="ADAL" clId="{F3A22D4D-2B68-4909-BFE7-4E46D0708FA9}" dt="2023-05-04T15:06:28.105" v="5029" actId="1036"/>
          <ac:picMkLst>
            <pc:docMk/>
            <pc:sldMk cId="3243376164" sldId="364"/>
            <ac:picMk id="46" creationId="{1BF62197-5838-FDCC-D083-F14FF7523192}"/>
          </ac:picMkLst>
        </pc:picChg>
        <pc:picChg chg="mod">
          <ac:chgData name="Hans Gelissen (DHL SSC Maastricht)" userId="1afa8510-4eed-4b73-a29e-678838cd8acd" providerId="ADAL" clId="{F3A22D4D-2B68-4909-BFE7-4E46D0708FA9}" dt="2023-05-04T15:07:40.455" v="5036" actId="1076"/>
          <ac:picMkLst>
            <pc:docMk/>
            <pc:sldMk cId="3243376164" sldId="364"/>
            <ac:picMk id="49" creationId="{98FF136C-0E16-7BD6-6B47-E3D838FF6AF3}"/>
          </ac:picMkLst>
        </pc:picChg>
      </pc:sldChg>
      <pc:sldChg chg="delSp modSp add mod">
        <pc:chgData name="Hans Gelissen (DHL SSC Maastricht)" userId="1afa8510-4eed-4b73-a29e-678838cd8acd" providerId="ADAL" clId="{F3A22D4D-2B68-4909-BFE7-4E46D0708FA9}" dt="2023-05-05T11:06:36.618" v="6233" actId="20577"/>
        <pc:sldMkLst>
          <pc:docMk/>
          <pc:sldMk cId="2527344223" sldId="365"/>
        </pc:sldMkLst>
        <pc:spChg chg="mod">
          <ac:chgData name="Hans Gelissen (DHL SSC Maastricht)" userId="1afa8510-4eed-4b73-a29e-678838cd8acd" providerId="ADAL" clId="{F3A22D4D-2B68-4909-BFE7-4E46D0708FA9}" dt="2023-05-04T15:08:04.175" v="5045" actId="20577"/>
          <ac:spMkLst>
            <pc:docMk/>
            <pc:sldMk cId="2527344223" sldId="365"/>
            <ac:spMk id="4" creationId="{759B736B-1DEF-DAF6-B9EB-691CD7317D33}"/>
          </ac:spMkLst>
        </pc:spChg>
        <pc:spChg chg="mod">
          <ac:chgData name="Hans Gelissen (DHL SSC Maastricht)" userId="1afa8510-4eed-4b73-a29e-678838cd8acd" providerId="ADAL" clId="{F3A22D4D-2B68-4909-BFE7-4E46D0708FA9}" dt="2023-05-05T10:53:26.919" v="5264" actId="1038"/>
          <ac:spMkLst>
            <pc:docMk/>
            <pc:sldMk cId="2527344223" sldId="365"/>
            <ac:spMk id="31" creationId="{E2020873-4D37-EC44-39DE-779877DA8E9B}"/>
          </ac:spMkLst>
        </pc:spChg>
        <pc:spChg chg="mod">
          <ac:chgData name="Hans Gelissen (DHL SSC Maastricht)" userId="1afa8510-4eed-4b73-a29e-678838cd8acd" providerId="ADAL" clId="{F3A22D4D-2B68-4909-BFE7-4E46D0708FA9}" dt="2023-05-05T11:06:36.618" v="6233" actId="20577"/>
          <ac:spMkLst>
            <pc:docMk/>
            <pc:sldMk cId="2527344223" sldId="365"/>
            <ac:spMk id="33" creationId="{ADEE67E1-2C69-B5EF-F5DE-185D38361EA9}"/>
          </ac:spMkLst>
        </pc:spChg>
        <pc:spChg chg="mod">
          <ac:chgData name="Hans Gelissen (DHL SSC Maastricht)" userId="1afa8510-4eed-4b73-a29e-678838cd8acd" providerId="ADAL" clId="{F3A22D4D-2B68-4909-BFE7-4E46D0708FA9}" dt="2023-05-05T10:53:14.973" v="5260" actId="1076"/>
          <ac:spMkLst>
            <pc:docMk/>
            <pc:sldMk cId="2527344223" sldId="365"/>
            <ac:spMk id="37" creationId="{D9AC9057-C24B-50DE-5654-A57BAACA3F24}"/>
          </ac:spMkLst>
        </pc:spChg>
        <pc:spChg chg="mod">
          <ac:chgData name="Hans Gelissen (DHL SSC Maastricht)" userId="1afa8510-4eed-4b73-a29e-678838cd8acd" providerId="ADAL" clId="{F3A22D4D-2B68-4909-BFE7-4E46D0708FA9}" dt="2023-05-05T10:53:10.711" v="5259" actId="1076"/>
          <ac:spMkLst>
            <pc:docMk/>
            <pc:sldMk cId="2527344223" sldId="365"/>
            <ac:spMk id="44" creationId="{7D77F7C3-3B22-4F88-690A-5DF7D05246C1}"/>
          </ac:spMkLst>
        </pc:spChg>
        <pc:spChg chg="mod">
          <ac:chgData name="Hans Gelissen (DHL SSC Maastricht)" userId="1afa8510-4eed-4b73-a29e-678838cd8acd" providerId="ADAL" clId="{F3A22D4D-2B68-4909-BFE7-4E46D0708FA9}" dt="2023-05-05T10:52:56.499" v="5256" actId="1076"/>
          <ac:spMkLst>
            <pc:docMk/>
            <pc:sldMk cId="2527344223" sldId="365"/>
            <ac:spMk id="50" creationId="{2471F920-C68D-D38F-45A3-652C3B06B2E8}"/>
          </ac:spMkLst>
        </pc:spChg>
        <pc:grpChg chg="mod">
          <ac:chgData name="Hans Gelissen (DHL SSC Maastricht)" userId="1afa8510-4eed-4b73-a29e-678838cd8acd" providerId="ADAL" clId="{F3A22D4D-2B68-4909-BFE7-4E46D0708FA9}" dt="2023-05-05T10:53:26.919" v="5264" actId="1038"/>
          <ac:grpSpMkLst>
            <pc:docMk/>
            <pc:sldMk cId="2527344223" sldId="365"/>
            <ac:grpSpMk id="29" creationId="{274301BD-EA54-B34B-0F5A-1B1EDB9EE79E}"/>
          </ac:grpSpMkLst>
        </pc:grpChg>
        <pc:grpChg chg="mod">
          <ac:chgData name="Hans Gelissen (DHL SSC Maastricht)" userId="1afa8510-4eed-4b73-a29e-678838cd8acd" providerId="ADAL" clId="{F3A22D4D-2B68-4909-BFE7-4E46D0708FA9}" dt="2023-05-05T10:53:14.973" v="5260" actId="1076"/>
          <ac:grpSpMkLst>
            <pc:docMk/>
            <pc:sldMk cId="2527344223" sldId="365"/>
            <ac:grpSpMk id="35" creationId="{D6A299C4-92F0-013A-C160-A4F99C938AC8}"/>
          </ac:grpSpMkLst>
        </pc:grpChg>
        <pc:grpChg chg="mod">
          <ac:chgData name="Hans Gelissen (DHL SSC Maastricht)" userId="1afa8510-4eed-4b73-a29e-678838cd8acd" providerId="ADAL" clId="{F3A22D4D-2B68-4909-BFE7-4E46D0708FA9}" dt="2023-05-05T10:53:10.711" v="5259" actId="1076"/>
          <ac:grpSpMkLst>
            <pc:docMk/>
            <pc:sldMk cId="2527344223" sldId="365"/>
            <ac:grpSpMk id="42" creationId="{56605960-842C-2D40-F39E-5AE65C99A3B9}"/>
          </ac:grpSpMkLst>
        </pc:grpChg>
        <pc:grpChg chg="del">
          <ac:chgData name="Hans Gelissen (DHL SSC Maastricht)" userId="1afa8510-4eed-4b73-a29e-678838cd8acd" providerId="ADAL" clId="{F3A22D4D-2B68-4909-BFE7-4E46D0708FA9}" dt="2023-05-05T10:52:43.235" v="5253" actId="478"/>
          <ac:grpSpMkLst>
            <pc:docMk/>
            <pc:sldMk cId="2527344223" sldId="365"/>
            <ac:grpSpMk id="45" creationId="{89A5FB56-26F6-4D87-43E6-50E3D94993F1}"/>
          </ac:grpSpMkLst>
        </pc:grpChg>
        <pc:grpChg chg="mod">
          <ac:chgData name="Hans Gelissen (DHL SSC Maastricht)" userId="1afa8510-4eed-4b73-a29e-678838cd8acd" providerId="ADAL" clId="{F3A22D4D-2B68-4909-BFE7-4E46D0708FA9}" dt="2023-05-05T10:52:56.499" v="5256" actId="1076"/>
          <ac:grpSpMkLst>
            <pc:docMk/>
            <pc:sldMk cId="2527344223" sldId="365"/>
            <ac:grpSpMk id="48" creationId="{49AF71D4-E02B-2568-B215-F107FB9CE669}"/>
          </ac:grpSpMkLst>
        </pc:grpChg>
        <pc:picChg chg="mod">
          <ac:chgData name="Hans Gelissen (DHL SSC Maastricht)" userId="1afa8510-4eed-4b73-a29e-678838cd8acd" providerId="ADAL" clId="{F3A22D4D-2B68-4909-BFE7-4E46D0708FA9}" dt="2023-05-05T10:53:26.919" v="5264" actId="1038"/>
          <ac:picMkLst>
            <pc:docMk/>
            <pc:sldMk cId="2527344223" sldId="365"/>
            <ac:picMk id="30" creationId="{AF24179E-9370-36EC-FED8-EB14568E2E56}"/>
          </ac:picMkLst>
        </pc:picChg>
        <pc:picChg chg="mod">
          <ac:chgData name="Hans Gelissen (DHL SSC Maastricht)" userId="1afa8510-4eed-4b73-a29e-678838cd8acd" providerId="ADAL" clId="{F3A22D4D-2B68-4909-BFE7-4E46D0708FA9}" dt="2023-05-05T10:53:14.973" v="5260" actId="1076"/>
          <ac:picMkLst>
            <pc:docMk/>
            <pc:sldMk cId="2527344223" sldId="365"/>
            <ac:picMk id="36" creationId="{8A89C1A7-C684-0BFB-099B-683990C00F52}"/>
          </ac:picMkLst>
        </pc:picChg>
        <pc:picChg chg="mod">
          <ac:chgData name="Hans Gelissen (DHL SSC Maastricht)" userId="1afa8510-4eed-4b73-a29e-678838cd8acd" providerId="ADAL" clId="{F3A22D4D-2B68-4909-BFE7-4E46D0708FA9}" dt="2023-05-05T10:53:10.711" v="5259" actId="1076"/>
          <ac:picMkLst>
            <pc:docMk/>
            <pc:sldMk cId="2527344223" sldId="365"/>
            <ac:picMk id="43" creationId="{A2D11831-C114-2C14-36A0-6AAAA8A81F6B}"/>
          </ac:picMkLst>
        </pc:picChg>
        <pc:picChg chg="mod">
          <ac:chgData name="Hans Gelissen (DHL SSC Maastricht)" userId="1afa8510-4eed-4b73-a29e-678838cd8acd" providerId="ADAL" clId="{F3A22D4D-2B68-4909-BFE7-4E46D0708FA9}" dt="2023-05-05T10:52:56.499" v="5256" actId="1076"/>
          <ac:picMkLst>
            <pc:docMk/>
            <pc:sldMk cId="2527344223" sldId="365"/>
            <ac:picMk id="49" creationId="{98FF136C-0E16-7BD6-6B47-E3D838FF6AF3}"/>
          </ac:picMkLst>
        </pc:picChg>
      </pc:sldChg>
      <pc:sldChg chg="delSp modSp add mod">
        <pc:chgData name="Hans Gelissen (DHL SSC Maastricht)" userId="1afa8510-4eed-4b73-a29e-678838cd8acd" providerId="ADAL" clId="{F3A22D4D-2B68-4909-BFE7-4E46D0708FA9}" dt="2023-05-05T11:06:32.873" v="6227" actId="20577"/>
        <pc:sldMkLst>
          <pc:docMk/>
          <pc:sldMk cId="3549827655" sldId="366"/>
        </pc:sldMkLst>
        <pc:spChg chg="mod">
          <ac:chgData name="Hans Gelissen (DHL SSC Maastricht)" userId="1afa8510-4eed-4b73-a29e-678838cd8acd" providerId="ADAL" clId="{F3A22D4D-2B68-4909-BFE7-4E46D0708FA9}" dt="2023-05-04T15:08:08.295" v="5047" actId="20577"/>
          <ac:spMkLst>
            <pc:docMk/>
            <pc:sldMk cId="3549827655" sldId="366"/>
            <ac:spMk id="4" creationId="{759B736B-1DEF-DAF6-B9EB-691CD7317D33}"/>
          </ac:spMkLst>
        </pc:spChg>
        <pc:spChg chg="mod">
          <ac:chgData name="Hans Gelissen (DHL SSC Maastricht)" userId="1afa8510-4eed-4b73-a29e-678838cd8acd" providerId="ADAL" clId="{F3A22D4D-2B68-4909-BFE7-4E46D0708FA9}" dt="2023-05-05T10:58:34.097" v="5421" actId="1037"/>
          <ac:spMkLst>
            <pc:docMk/>
            <pc:sldMk cId="3549827655" sldId="366"/>
            <ac:spMk id="31" creationId="{E2020873-4D37-EC44-39DE-779877DA8E9B}"/>
          </ac:spMkLst>
        </pc:spChg>
        <pc:spChg chg="mod">
          <ac:chgData name="Hans Gelissen (DHL SSC Maastricht)" userId="1afa8510-4eed-4b73-a29e-678838cd8acd" providerId="ADAL" clId="{F3A22D4D-2B68-4909-BFE7-4E46D0708FA9}" dt="2023-05-05T11:06:32.873" v="6227" actId="20577"/>
          <ac:spMkLst>
            <pc:docMk/>
            <pc:sldMk cId="3549827655" sldId="366"/>
            <ac:spMk id="33" creationId="{ADEE67E1-2C69-B5EF-F5DE-185D38361EA9}"/>
          </ac:spMkLst>
        </pc:spChg>
        <pc:spChg chg="mod">
          <ac:chgData name="Hans Gelissen (DHL SSC Maastricht)" userId="1afa8510-4eed-4b73-a29e-678838cd8acd" providerId="ADAL" clId="{F3A22D4D-2B68-4909-BFE7-4E46D0708FA9}" dt="2023-05-05T10:56:52.782" v="5402" actId="1076"/>
          <ac:spMkLst>
            <pc:docMk/>
            <pc:sldMk cId="3549827655" sldId="366"/>
            <ac:spMk id="44" creationId="{7D77F7C3-3B22-4F88-690A-5DF7D05246C1}"/>
          </ac:spMkLst>
        </pc:spChg>
        <pc:spChg chg="mod">
          <ac:chgData name="Hans Gelissen (DHL SSC Maastricht)" userId="1afa8510-4eed-4b73-a29e-678838cd8acd" providerId="ADAL" clId="{F3A22D4D-2B68-4909-BFE7-4E46D0708FA9}" dt="2023-05-05T10:56:55.754" v="5403" actId="1076"/>
          <ac:spMkLst>
            <pc:docMk/>
            <pc:sldMk cId="3549827655" sldId="366"/>
            <ac:spMk id="47" creationId="{28D52BD0-8D95-461A-663A-1081B2B2E744}"/>
          </ac:spMkLst>
        </pc:spChg>
        <pc:spChg chg="mod">
          <ac:chgData name="Hans Gelissen (DHL SSC Maastricht)" userId="1afa8510-4eed-4b73-a29e-678838cd8acd" providerId="ADAL" clId="{F3A22D4D-2B68-4909-BFE7-4E46D0708FA9}" dt="2023-05-05T10:56:58.313" v="5404" actId="1076"/>
          <ac:spMkLst>
            <pc:docMk/>
            <pc:sldMk cId="3549827655" sldId="366"/>
            <ac:spMk id="50" creationId="{2471F920-C68D-D38F-45A3-652C3B06B2E8}"/>
          </ac:spMkLst>
        </pc:spChg>
        <pc:grpChg chg="mod">
          <ac:chgData name="Hans Gelissen (DHL SSC Maastricht)" userId="1afa8510-4eed-4b73-a29e-678838cd8acd" providerId="ADAL" clId="{F3A22D4D-2B68-4909-BFE7-4E46D0708FA9}" dt="2023-05-05T10:58:34.097" v="5421" actId="1037"/>
          <ac:grpSpMkLst>
            <pc:docMk/>
            <pc:sldMk cId="3549827655" sldId="366"/>
            <ac:grpSpMk id="29" creationId="{274301BD-EA54-B34B-0F5A-1B1EDB9EE79E}"/>
          </ac:grpSpMkLst>
        </pc:grpChg>
        <pc:grpChg chg="del">
          <ac:chgData name="Hans Gelissen (DHL SSC Maastricht)" userId="1afa8510-4eed-4b73-a29e-678838cd8acd" providerId="ADAL" clId="{F3A22D4D-2B68-4909-BFE7-4E46D0708FA9}" dt="2023-05-05T10:54:42.538" v="5386" actId="478"/>
          <ac:grpSpMkLst>
            <pc:docMk/>
            <pc:sldMk cId="3549827655" sldId="366"/>
            <ac:grpSpMk id="35" creationId="{D6A299C4-92F0-013A-C160-A4F99C938AC8}"/>
          </ac:grpSpMkLst>
        </pc:grpChg>
        <pc:grpChg chg="mod">
          <ac:chgData name="Hans Gelissen (DHL SSC Maastricht)" userId="1afa8510-4eed-4b73-a29e-678838cd8acd" providerId="ADAL" clId="{F3A22D4D-2B68-4909-BFE7-4E46D0708FA9}" dt="2023-05-05T10:56:52.782" v="5402" actId="1076"/>
          <ac:grpSpMkLst>
            <pc:docMk/>
            <pc:sldMk cId="3549827655" sldId="366"/>
            <ac:grpSpMk id="42" creationId="{56605960-842C-2D40-F39E-5AE65C99A3B9}"/>
          </ac:grpSpMkLst>
        </pc:grpChg>
        <pc:grpChg chg="mod">
          <ac:chgData name="Hans Gelissen (DHL SSC Maastricht)" userId="1afa8510-4eed-4b73-a29e-678838cd8acd" providerId="ADAL" clId="{F3A22D4D-2B68-4909-BFE7-4E46D0708FA9}" dt="2023-05-05T10:56:55.754" v="5403" actId="1076"/>
          <ac:grpSpMkLst>
            <pc:docMk/>
            <pc:sldMk cId="3549827655" sldId="366"/>
            <ac:grpSpMk id="45" creationId="{89A5FB56-26F6-4D87-43E6-50E3D94993F1}"/>
          </ac:grpSpMkLst>
        </pc:grpChg>
        <pc:grpChg chg="mod">
          <ac:chgData name="Hans Gelissen (DHL SSC Maastricht)" userId="1afa8510-4eed-4b73-a29e-678838cd8acd" providerId="ADAL" clId="{F3A22D4D-2B68-4909-BFE7-4E46D0708FA9}" dt="2023-05-05T10:56:58.313" v="5404" actId="1076"/>
          <ac:grpSpMkLst>
            <pc:docMk/>
            <pc:sldMk cId="3549827655" sldId="366"/>
            <ac:grpSpMk id="48" creationId="{49AF71D4-E02B-2568-B215-F107FB9CE669}"/>
          </ac:grpSpMkLst>
        </pc:grpChg>
        <pc:picChg chg="mod">
          <ac:chgData name="Hans Gelissen (DHL SSC Maastricht)" userId="1afa8510-4eed-4b73-a29e-678838cd8acd" providerId="ADAL" clId="{F3A22D4D-2B68-4909-BFE7-4E46D0708FA9}" dt="2023-05-05T10:58:34.097" v="5421" actId="1037"/>
          <ac:picMkLst>
            <pc:docMk/>
            <pc:sldMk cId="3549827655" sldId="366"/>
            <ac:picMk id="30" creationId="{AF24179E-9370-36EC-FED8-EB14568E2E56}"/>
          </ac:picMkLst>
        </pc:picChg>
        <pc:picChg chg="mod">
          <ac:chgData name="Hans Gelissen (DHL SSC Maastricht)" userId="1afa8510-4eed-4b73-a29e-678838cd8acd" providerId="ADAL" clId="{F3A22D4D-2B68-4909-BFE7-4E46D0708FA9}" dt="2023-05-05T10:56:52.782" v="5402" actId="1076"/>
          <ac:picMkLst>
            <pc:docMk/>
            <pc:sldMk cId="3549827655" sldId="366"/>
            <ac:picMk id="43" creationId="{A2D11831-C114-2C14-36A0-6AAAA8A81F6B}"/>
          </ac:picMkLst>
        </pc:picChg>
        <pc:picChg chg="mod">
          <ac:chgData name="Hans Gelissen (DHL SSC Maastricht)" userId="1afa8510-4eed-4b73-a29e-678838cd8acd" providerId="ADAL" clId="{F3A22D4D-2B68-4909-BFE7-4E46D0708FA9}" dt="2023-05-05T10:56:55.754" v="5403" actId="1076"/>
          <ac:picMkLst>
            <pc:docMk/>
            <pc:sldMk cId="3549827655" sldId="366"/>
            <ac:picMk id="46" creationId="{1BF62197-5838-FDCC-D083-F14FF7523192}"/>
          </ac:picMkLst>
        </pc:picChg>
        <pc:picChg chg="mod">
          <ac:chgData name="Hans Gelissen (DHL SSC Maastricht)" userId="1afa8510-4eed-4b73-a29e-678838cd8acd" providerId="ADAL" clId="{F3A22D4D-2B68-4909-BFE7-4E46D0708FA9}" dt="2023-05-05T10:56:58.313" v="5404" actId="1076"/>
          <ac:picMkLst>
            <pc:docMk/>
            <pc:sldMk cId="3549827655" sldId="366"/>
            <ac:picMk id="49" creationId="{98FF136C-0E16-7BD6-6B47-E3D838FF6AF3}"/>
          </ac:picMkLst>
        </pc:picChg>
      </pc:sldChg>
      <pc:sldChg chg="delSp modSp add mod">
        <pc:chgData name="Hans Gelissen (DHL SSC Maastricht)" userId="1afa8510-4eed-4b73-a29e-678838cd8acd" providerId="ADAL" clId="{F3A22D4D-2B68-4909-BFE7-4E46D0708FA9}" dt="2023-05-05T11:08:04.906" v="6418" actId="20577"/>
        <pc:sldMkLst>
          <pc:docMk/>
          <pc:sldMk cId="2524406840" sldId="367"/>
        </pc:sldMkLst>
        <pc:spChg chg="mod">
          <ac:chgData name="Hans Gelissen (DHL SSC Maastricht)" userId="1afa8510-4eed-4b73-a29e-678838cd8acd" providerId="ADAL" clId="{F3A22D4D-2B68-4909-BFE7-4E46D0708FA9}" dt="2023-05-04T15:08:00.177" v="5043" actId="20577"/>
          <ac:spMkLst>
            <pc:docMk/>
            <pc:sldMk cId="2524406840" sldId="367"/>
            <ac:spMk id="4" creationId="{759B736B-1DEF-DAF6-B9EB-691CD7317D33}"/>
          </ac:spMkLst>
        </pc:spChg>
        <pc:spChg chg="mod">
          <ac:chgData name="Hans Gelissen (DHL SSC Maastricht)" userId="1afa8510-4eed-4b73-a29e-678838cd8acd" providerId="ADAL" clId="{F3A22D4D-2B68-4909-BFE7-4E46D0708FA9}" dt="2023-05-05T11:08:04.906" v="6418" actId="20577"/>
          <ac:spMkLst>
            <pc:docMk/>
            <pc:sldMk cId="2524406840" sldId="367"/>
            <ac:spMk id="33" creationId="{ADEE67E1-2C69-B5EF-F5DE-185D38361EA9}"/>
          </ac:spMkLst>
        </pc:spChg>
        <pc:spChg chg="mod">
          <ac:chgData name="Hans Gelissen (DHL SSC Maastricht)" userId="1afa8510-4eed-4b73-a29e-678838cd8acd" providerId="ADAL" clId="{F3A22D4D-2B68-4909-BFE7-4E46D0708FA9}" dt="2023-05-05T10:57:50.434" v="5419" actId="1035"/>
          <ac:spMkLst>
            <pc:docMk/>
            <pc:sldMk cId="2524406840" sldId="367"/>
            <ac:spMk id="37" creationId="{D9AC9057-C24B-50DE-5654-A57BAACA3F24}"/>
          </ac:spMkLst>
        </pc:spChg>
        <pc:spChg chg="mod">
          <ac:chgData name="Hans Gelissen (DHL SSC Maastricht)" userId="1afa8510-4eed-4b73-a29e-678838cd8acd" providerId="ADAL" clId="{F3A22D4D-2B68-4909-BFE7-4E46D0708FA9}" dt="2023-05-05T10:57:57.963" v="5420" actId="1076"/>
          <ac:spMkLst>
            <pc:docMk/>
            <pc:sldMk cId="2524406840" sldId="367"/>
            <ac:spMk id="50" creationId="{2471F920-C68D-D38F-45A3-652C3B06B2E8}"/>
          </ac:spMkLst>
        </pc:spChg>
        <pc:grpChg chg="mod">
          <ac:chgData name="Hans Gelissen (DHL SSC Maastricht)" userId="1afa8510-4eed-4b73-a29e-678838cd8acd" providerId="ADAL" clId="{F3A22D4D-2B68-4909-BFE7-4E46D0708FA9}" dt="2023-05-05T10:57:50.434" v="5419" actId="1035"/>
          <ac:grpSpMkLst>
            <pc:docMk/>
            <pc:sldMk cId="2524406840" sldId="367"/>
            <ac:grpSpMk id="35" creationId="{D6A299C4-92F0-013A-C160-A4F99C938AC8}"/>
          </ac:grpSpMkLst>
        </pc:grpChg>
        <pc:grpChg chg="del">
          <ac:chgData name="Hans Gelissen (DHL SSC Maastricht)" userId="1afa8510-4eed-4b73-a29e-678838cd8acd" providerId="ADAL" clId="{F3A22D4D-2B68-4909-BFE7-4E46D0708FA9}" dt="2023-05-05T10:57:23.922" v="5408" actId="478"/>
          <ac:grpSpMkLst>
            <pc:docMk/>
            <pc:sldMk cId="2524406840" sldId="367"/>
            <ac:grpSpMk id="42" creationId="{56605960-842C-2D40-F39E-5AE65C99A3B9}"/>
          </ac:grpSpMkLst>
        </pc:grpChg>
        <pc:grpChg chg="mod">
          <ac:chgData name="Hans Gelissen (DHL SSC Maastricht)" userId="1afa8510-4eed-4b73-a29e-678838cd8acd" providerId="ADAL" clId="{F3A22D4D-2B68-4909-BFE7-4E46D0708FA9}" dt="2023-05-05T10:57:57.963" v="5420" actId="1076"/>
          <ac:grpSpMkLst>
            <pc:docMk/>
            <pc:sldMk cId="2524406840" sldId="367"/>
            <ac:grpSpMk id="48" creationId="{49AF71D4-E02B-2568-B215-F107FB9CE669}"/>
          </ac:grpSpMkLst>
        </pc:grpChg>
        <pc:picChg chg="mod">
          <ac:chgData name="Hans Gelissen (DHL SSC Maastricht)" userId="1afa8510-4eed-4b73-a29e-678838cd8acd" providerId="ADAL" clId="{F3A22D4D-2B68-4909-BFE7-4E46D0708FA9}" dt="2023-05-05T10:57:50.434" v="5419" actId="1035"/>
          <ac:picMkLst>
            <pc:docMk/>
            <pc:sldMk cId="2524406840" sldId="367"/>
            <ac:picMk id="36" creationId="{8A89C1A7-C684-0BFB-099B-683990C00F52}"/>
          </ac:picMkLst>
        </pc:picChg>
        <pc:picChg chg="mod">
          <ac:chgData name="Hans Gelissen (DHL SSC Maastricht)" userId="1afa8510-4eed-4b73-a29e-678838cd8acd" providerId="ADAL" clId="{F3A22D4D-2B68-4909-BFE7-4E46D0708FA9}" dt="2023-05-05T10:57:57.963" v="5420" actId="1076"/>
          <ac:picMkLst>
            <pc:docMk/>
            <pc:sldMk cId="2524406840" sldId="367"/>
            <ac:picMk id="49" creationId="{98FF136C-0E16-7BD6-6B47-E3D838FF6AF3}"/>
          </ac:picMkLst>
        </pc:picChg>
      </pc:sldChg>
      <pc:sldChg chg="add del">
        <pc:chgData name="Hans Gelissen (DHL SSC Maastricht)" userId="1afa8510-4eed-4b73-a29e-678838cd8acd" providerId="ADAL" clId="{F3A22D4D-2B68-4909-BFE7-4E46D0708FA9}" dt="2023-05-05T11:38:29.131" v="6589" actId="47"/>
        <pc:sldMkLst>
          <pc:docMk/>
          <pc:sldMk cId="3310274964" sldId="368"/>
        </pc:sldMkLst>
      </pc:sldChg>
      <pc:sldChg chg="addSp delSp modSp add mod modClrScheme chgLayout">
        <pc:chgData name="Hans Gelissen (DHL SSC Maastricht)" userId="1afa8510-4eed-4b73-a29e-678838cd8acd" providerId="ADAL" clId="{F3A22D4D-2B68-4909-BFE7-4E46D0708FA9}" dt="2023-05-05T12:11:15.913" v="7346" actId="700"/>
        <pc:sldMkLst>
          <pc:docMk/>
          <pc:sldMk cId="702120611" sldId="369"/>
        </pc:sldMkLst>
        <pc:spChg chg="del mod ord">
          <ac:chgData name="Hans Gelissen (DHL SSC Maastricht)" userId="1afa8510-4eed-4b73-a29e-678838cd8acd" providerId="ADAL" clId="{F3A22D4D-2B68-4909-BFE7-4E46D0708FA9}" dt="2023-05-05T12:09:48.081" v="7315" actId="700"/>
          <ac:spMkLst>
            <pc:docMk/>
            <pc:sldMk cId="702120611" sldId="369"/>
            <ac:spMk id="2" creationId="{E59E3F53-7A54-F733-2045-3875C72EA7B2}"/>
          </ac:spMkLst>
        </pc:spChg>
        <pc:spChg chg="del">
          <ac:chgData name="Hans Gelissen (DHL SSC Maastricht)" userId="1afa8510-4eed-4b73-a29e-678838cd8acd" providerId="ADAL" clId="{F3A22D4D-2B68-4909-BFE7-4E46D0708FA9}" dt="2023-05-05T12:09:48.081" v="7315" actId="700"/>
          <ac:spMkLst>
            <pc:docMk/>
            <pc:sldMk cId="702120611" sldId="369"/>
            <ac:spMk id="3" creationId="{69CFC62A-49F1-6D40-552E-1AA4ED051E0E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09:57.399" v="7316" actId="700"/>
          <ac:spMkLst>
            <pc:docMk/>
            <pc:sldMk cId="702120611" sldId="369"/>
            <ac:spMk id="4" creationId="{EA8AC13E-046E-C605-139C-047CBD9D482D}"/>
          </ac:spMkLst>
        </pc:spChg>
        <pc:spChg chg="add mod ord">
          <ac:chgData name="Hans Gelissen (DHL SSC Maastricht)" userId="1afa8510-4eed-4b73-a29e-678838cd8acd" providerId="ADAL" clId="{F3A22D4D-2B68-4909-BFE7-4E46D0708FA9}" dt="2023-05-05T12:11:15.913" v="7346" actId="700"/>
          <ac:spMkLst>
            <pc:docMk/>
            <pc:sldMk cId="702120611" sldId="369"/>
            <ac:spMk id="5" creationId="{6191DD66-56FE-1B2F-2838-FB62679B8B7D}"/>
          </ac:spMkLst>
        </pc:spChg>
      </pc:sldChg>
      <pc:sldChg chg="addSp delSp modSp add del mod modClrScheme chgLayout">
        <pc:chgData name="Hans Gelissen (DHL SSC Maastricht)" userId="1afa8510-4eed-4b73-a29e-678838cd8acd" providerId="ADAL" clId="{F3A22D4D-2B68-4909-BFE7-4E46D0708FA9}" dt="2023-05-08T10:39:55.225" v="9344" actId="47"/>
        <pc:sldMkLst>
          <pc:docMk/>
          <pc:sldMk cId="1412932133" sldId="370"/>
        </pc:sldMkLst>
        <pc:spChg chg="mod ord">
          <ac:chgData name="Hans Gelissen (DHL SSC Maastricht)" userId="1afa8510-4eed-4b73-a29e-678838cd8acd" providerId="ADAL" clId="{F3A22D4D-2B68-4909-BFE7-4E46D0708FA9}" dt="2023-05-08T10:05:01.551" v="9092" actId="700"/>
          <ac:spMkLst>
            <pc:docMk/>
            <pc:sldMk cId="1412932133" sldId="370"/>
            <ac:spMk id="2" creationId="{E59E3F53-7A54-F733-2045-3875C72EA7B2}"/>
          </ac:spMkLst>
        </pc:spChg>
        <pc:spChg chg="del mod ord">
          <ac:chgData name="Hans Gelissen (DHL SSC Maastricht)" userId="1afa8510-4eed-4b73-a29e-678838cd8acd" providerId="ADAL" clId="{F3A22D4D-2B68-4909-BFE7-4E46D0708FA9}" dt="2023-05-08T10:05:01.551" v="9092" actId="700"/>
          <ac:spMkLst>
            <pc:docMk/>
            <pc:sldMk cId="1412932133" sldId="370"/>
            <ac:spMk id="3" creationId="{69CFC62A-49F1-6D40-552E-1AA4ED051E0E}"/>
          </ac:spMkLst>
        </pc:spChg>
        <pc:spChg chg="add del mod ord">
          <ac:chgData name="Hans Gelissen (DHL SSC Maastricht)" userId="1afa8510-4eed-4b73-a29e-678838cd8acd" providerId="ADAL" clId="{F3A22D4D-2B68-4909-BFE7-4E46D0708FA9}" dt="2023-05-08T10:05:13.803" v="9093" actId="478"/>
          <ac:spMkLst>
            <pc:docMk/>
            <pc:sldMk cId="1412932133" sldId="370"/>
            <ac:spMk id="7" creationId="{E104BF5C-7F35-65ED-5996-36814B0754ED}"/>
          </ac:spMkLst>
        </pc:spChg>
        <pc:picChg chg="add del mod">
          <ac:chgData name="Hans Gelissen (DHL SSC Maastricht)" userId="1afa8510-4eed-4b73-a29e-678838cd8acd" providerId="ADAL" clId="{F3A22D4D-2B68-4909-BFE7-4E46D0708FA9}" dt="2023-05-08T10:04:46.672" v="9089" actId="478"/>
          <ac:picMkLst>
            <pc:docMk/>
            <pc:sldMk cId="1412932133" sldId="370"/>
            <ac:picMk id="4" creationId="{D185197E-6881-4B59-325E-FFBFC5153683}"/>
          </ac:picMkLst>
        </pc:picChg>
        <pc:picChg chg="add mod">
          <ac:chgData name="Hans Gelissen (DHL SSC Maastricht)" userId="1afa8510-4eed-4b73-a29e-678838cd8acd" providerId="ADAL" clId="{F3A22D4D-2B68-4909-BFE7-4E46D0708FA9}" dt="2023-05-08T10:05:33.152" v="9102" actId="1038"/>
          <ac:picMkLst>
            <pc:docMk/>
            <pc:sldMk cId="1412932133" sldId="370"/>
            <ac:picMk id="5" creationId="{D28B3229-114B-18E2-534E-5D899AB67213}"/>
          </ac:picMkLst>
        </pc:picChg>
        <pc:picChg chg="add mod">
          <ac:chgData name="Hans Gelissen (DHL SSC Maastricht)" userId="1afa8510-4eed-4b73-a29e-678838cd8acd" providerId="ADAL" clId="{F3A22D4D-2B68-4909-BFE7-4E46D0708FA9}" dt="2023-05-08T10:03:57.066" v="9087"/>
          <ac:picMkLst>
            <pc:docMk/>
            <pc:sldMk cId="1412932133" sldId="370"/>
            <ac:picMk id="6" creationId="{A5B502DD-70EA-E6E4-BF03-D50D941EEE1A}"/>
          </ac:picMkLst>
        </pc:picChg>
        <pc:picChg chg="add mod">
          <ac:chgData name="Hans Gelissen (DHL SSC Maastricht)" userId="1afa8510-4eed-4b73-a29e-678838cd8acd" providerId="ADAL" clId="{F3A22D4D-2B68-4909-BFE7-4E46D0708FA9}" dt="2023-05-08T10:27:58.788" v="9189" actId="166"/>
          <ac:picMkLst>
            <pc:docMk/>
            <pc:sldMk cId="1412932133" sldId="370"/>
            <ac:picMk id="8" creationId="{1A3154DA-B687-BBB9-8190-31DA2CAE507D}"/>
          </ac:picMkLst>
        </pc:picChg>
        <pc:picChg chg="add mod">
          <ac:chgData name="Hans Gelissen (DHL SSC Maastricht)" userId="1afa8510-4eed-4b73-a29e-678838cd8acd" providerId="ADAL" clId="{F3A22D4D-2B68-4909-BFE7-4E46D0708FA9}" dt="2023-05-08T10:27:58.788" v="9189" actId="166"/>
          <ac:picMkLst>
            <pc:docMk/>
            <pc:sldMk cId="1412932133" sldId="370"/>
            <ac:picMk id="9" creationId="{8F400FED-1619-D544-B7FF-F71E04A12745}"/>
          </ac:picMkLst>
        </pc:picChg>
        <pc:picChg chg="add mod">
          <ac:chgData name="Hans Gelissen (DHL SSC Maastricht)" userId="1afa8510-4eed-4b73-a29e-678838cd8acd" providerId="ADAL" clId="{F3A22D4D-2B68-4909-BFE7-4E46D0708FA9}" dt="2023-05-08T10:27:53.032" v="9188" actId="1076"/>
          <ac:picMkLst>
            <pc:docMk/>
            <pc:sldMk cId="1412932133" sldId="370"/>
            <ac:picMk id="10" creationId="{ADEA83E3-6C3D-D0B3-9A0E-B3A9192BA472}"/>
          </ac:picMkLst>
        </pc:picChg>
        <pc:picChg chg="add del mod">
          <ac:chgData name="Hans Gelissen (DHL SSC Maastricht)" userId="1afa8510-4eed-4b73-a29e-678838cd8acd" providerId="ADAL" clId="{F3A22D4D-2B68-4909-BFE7-4E46D0708FA9}" dt="2023-05-08T10:29:19.741" v="9205" actId="478"/>
          <ac:picMkLst>
            <pc:docMk/>
            <pc:sldMk cId="1412932133" sldId="370"/>
            <ac:picMk id="11" creationId="{CA174ED5-9DB3-E806-5005-89A49B623859}"/>
          </ac:picMkLst>
        </pc:picChg>
        <pc:picChg chg="add del mod">
          <ac:chgData name="Hans Gelissen (DHL SSC Maastricht)" userId="1afa8510-4eed-4b73-a29e-678838cd8acd" providerId="ADAL" clId="{F3A22D4D-2B68-4909-BFE7-4E46D0708FA9}" dt="2023-05-08T10:29:19.741" v="9205" actId="478"/>
          <ac:picMkLst>
            <pc:docMk/>
            <pc:sldMk cId="1412932133" sldId="370"/>
            <ac:picMk id="12" creationId="{B840E395-CE12-8AC6-F009-039326585965}"/>
          </ac:picMkLst>
        </pc:picChg>
        <pc:picChg chg="add del mod">
          <ac:chgData name="Hans Gelissen (DHL SSC Maastricht)" userId="1afa8510-4eed-4b73-a29e-678838cd8acd" providerId="ADAL" clId="{F3A22D4D-2B68-4909-BFE7-4E46D0708FA9}" dt="2023-05-08T10:29:19.741" v="9205" actId="478"/>
          <ac:picMkLst>
            <pc:docMk/>
            <pc:sldMk cId="1412932133" sldId="370"/>
            <ac:picMk id="13" creationId="{415310E9-5EFD-6312-9B62-835429FAFB4B}"/>
          </ac:picMkLst>
        </pc:picChg>
        <pc:picChg chg="add del mod">
          <ac:chgData name="Hans Gelissen (DHL SSC Maastricht)" userId="1afa8510-4eed-4b73-a29e-678838cd8acd" providerId="ADAL" clId="{F3A22D4D-2B68-4909-BFE7-4E46D0708FA9}" dt="2023-05-08T10:33:35.567" v="9226" actId="478"/>
          <ac:picMkLst>
            <pc:docMk/>
            <pc:sldMk cId="1412932133" sldId="370"/>
            <ac:picMk id="15" creationId="{0BD59462-88C9-33C5-1807-A58CFAF2A652}"/>
          </ac:picMkLst>
        </pc:picChg>
        <pc:picChg chg="add mod">
          <ac:chgData name="Hans Gelissen (DHL SSC Maastricht)" userId="1afa8510-4eed-4b73-a29e-678838cd8acd" providerId="ADAL" clId="{F3A22D4D-2B68-4909-BFE7-4E46D0708FA9}" dt="2023-05-08T10:05:18.500" v="9094" actId="1076"/>
          <ac:picMkLst>
            <pc:docMk/>
            <pc:sldMk cId="1412932133" sldId="370"/>
            <ac:picMk id="4098" creationId="{5CE2FBBC-311E-518B-CD3F-1B166BE8E3D2}"/>
          </ac:picMkLst>
        </pc:picChg>
        <pc:picChg chg="add mod">
          <ac:chgData name="Hans Gelissen (DHL SSC Maastricht)" userId="1afa8510-4eed-4b73-a29e-678838cd8acd" providerId="ADAL" clId="{F3A22D4D-2B68-4909-BFE7-4E46D0708FA9}" dt="2023-05-08T10:28:11.405" v="9191" actId="14100"/>
          <ac:picMkLst>
            <pc:docMk/>
            <pc:sldMk cId="1412932133" sldId="370"/>
            <ac:picMk id="4100" creationId="{6AD4BAE4-9A39-2BB3-850A-F68C1D78D72C}"/>
          </ac:picMkLst>
        </pc:picChg>
        <pc:picChg chg="add mod">
          <ac:chgData name="Hans Gelissen (DHL SSC Maastricht)" userId="1afa8510-4eed-4b73-a29e-678838cd8acd" providerId="ADAL" clId="{F3A22D4D-2B68-4909-BFE7-4E46D0708FA9}" dt="2023-05-08T10:33:59.023" v="9229" actId="1076"/>
          <ac:picMkLst>
            <pc:docMk/>
            <pc:sldMk cId="1412932133" sldId="370"/>
            <ac:picMk id="4102" creationId="{9FC09745-6039-4383-FC65-C102A98D9084}"/>
          </ac:picMkLst>
        </pc:picChg>
      </pc:sldChg>
      <pc:sldChg chg="add del">
        <pc:chgData name="Hans Gelissen (DHL SSC Maastricht)" userId="1afa8510-4eed-4b73-a29e-678838cd8acd" providerId="ADAL" clId="{F3A22D4D-2B68-4909-BFE7-4E46D0708FA9}" dt="2023-05-08T10:05:55.496" v="9103" actId="47"/>
        <pc:sldMkLst>
          <pc:docMk/>
          <pc:sldMk cId="4135030139" sldId="371"/>
        </pc:sldMkLst>
      </pc:sldChg>
      <pc:sldChg chg="addSp delSp modSp add mod modClrScheme chgLayout">
        <pc:chgData name="Hans Gelissen (DHL SSC Maastricht)" userId="1afa8510-4eed-4b73-a29e-678838cd8acd" providerId="ADAL" clId="{F3A22D4D-2B68-4909-BFE7-4E46D0708FA9}" dt="2023-05-16T09:23:05.038" v="10748" actId="20577"/>
        <pc:sldMkLst>
          <pc:docMk/>
          <pc:sldMk cId="938673642" sldId="372"/>
        </pc:sldMkLst>
        <pc:spChg chg="del mod ord">
          <ac:chgData name="Hans Gelissen (DHL SSC Maastricht)" userId="1afa8510-4eed-4b73-a29e-678838cd8acd" providerId="ADAL" clId="{F3A22D4D-2B68-4909-BFE7-4E46D0708FA9}" dt="2023-05-05T11:45:18.219" v="6953" actId="700"/>
          <ac:spMkLst>
            <pc:docMk/>
            <pc:sldMk cId="938673642" sldId="372"/>
            <ac:spMk id="2" creationId="{E59E3F53-7A54-F733-2045-3875C72EA7B2}"/>
          </ac:spMkLst>
        </pc:spChg>
        <pc:spChg chg="del mod ord">
          <ac:chgData name="Hans Gelissen (DHL SSC Maastricht)" userId="1afa8510-4eed-4b73-a29e-678838cd8acd" providerId="ADAL" clId="{F3A22D4D-2B68-4909-BFE7-4E46D0708FA9}" dt="2023-05-05T11:45:18.219" v="6953" actId="700"/>
          <ac:spMkLst>
            <pc:docMk/>
            <pc:sldMk cId="938673642" sldId="372"/>
            <ac:spMk id="3" creationId="{69CFC62A-49F1-6D40-552E-1AA4ED051E0E}"/>
          </ac:spMkLst>
        </pc:spChg>
        <pc:spChg chg="add mod ord">
          <ac:chgData name="Hans Gelissen (DHL SSC Maastricht)" userId="1afa8510-4eed-4b73-a29e-678838cd8acd" providerId="ADAL" clId="{F3A22D4D-2B68-4909-BFE7-4E46D0708FA9}" dt="2023-05-05T11:47:04.996" v="7142" actId="20577"/>
          <ac:spMkLst>
            <pc:docMk/>
            <pc:sldMk cId="938673642" sldId="372"/>
            <ac:spMk id="4" creationId="{4C6F3A8F-62B6-086A-B392-EE6ADDE867E4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1:45:27.785" v="6954" actId="931"/>
          <ac:spMkLst>
            <pc:docMk/>
            <pc:sldMk cId="938673642" sldId="372"/>
            <ac:spMk id="5" creationId="{BB4C05C0-E9C6-B8EC-DB1C-0E03978ED997}"/>
          </ac:spMkLst>
        </pc:spChg>
        <pc:spChg chg="add mod ord">
          <ac:chgData name="Hans Gelissen (DHL SSC Maastricht)" userId="1afa8510-4eed-4b73-a29e-678838cd8acd" providerId="ADAL" clId="{F3A22D4D-2B68-4909-BFE7-4E46D0708FA9}" dt="2023-05-16T09:23:05.038" v="10748" actId="20577"/>
          <ac:spMkLst>
            <pc:docMk/>
            <pc:sldMk cId="938673642" sldId="372"/>
            <ac:spMk id="6" creationId="{E3237F3B-6184-8EB3-4887-1FA52D74A359}"/>
          </ac:spMkLst>
        </pc:spChg>
        <pc:spChg chg="add del mod">
          <ac:chgData name="Hans Gelissen (DHL SSC Maastricht)" userId="1afa8510-4eed-4b73-a29e-678838cd8acd" providerId="ADAL" clId="{F3A22D4D-2B68-4909-BFE7-4E46D0708FA9}" dt="2023-05-08T09:16:03.809" v="7810" actId="931"/>
          <ac:spMkLst>
            <pc:docMk/>
            <pc:sldMk cId="938673642" sldId="372"/>
            <ac:spMk id="11" creationId="{2A6BEEA7-4171-646F-40CF-48618ABE4751}"/>
          </ac:spMkLst>
        </pc:spChg>
        <pc:spChg chg="del mod topLvl">
          <ac:chgData name="Hans Gelissen (DHL SSC Maastricht)" userId="1afa8510-4eed-4b73-a29e-678838cd8acd" providerId="ADAL" clId="{F3A22D4D-2B68-4909-BFE7-4E46D0708FA9}" dt="2023-05-05T11:48:19.587" v="7149" actId="478"/>
          <ac:spMkLst>
            <pc:docMk/>
            <pc:sldMk cId="938673642" sldId="372"/>
            <ac:spMk id="11" creationId="{DE9CA1F0-737E-1C66-C7B6-411B38C66C68}"/>
          </ac:spMkLst>
        </pc:spChg>
        <pc:spChg chg="del mod topLvl">
          <ac:chgData name="Hans Gelissen (DHL SSC Maastricht)" userId="1afa8510-4eed-4b73-a29e-678838cd8acd" providerId="ADAL" clId="{F3A22D4D-2B68-4909-BFE7-4E46D0708FA9}" dt="2023-05-05T11:48:21.360" v="7150" actId="478"/>
          <ac:spMkLst>
            <pc:docMk/>
            <pc:sldMk cId="938673642" sldId="372"/>
            <ac:spMk id="14" creationId="{99454494-B1D7-5366-E8E6-F11D11FB993F}"/>
          </ac:spMkLst>
        </pc:spChg>
        <pc:spChg chg="del mod topLvl">
          <ac:chgData name="Hans Gelissen (DHL SSC Maastricht)" userId="1afa8510-4eed-4b73-a29e-678838cd8acd" providerId="ADAL" clId="{F3A22D4D-2B68-4909-BFE7-4E46D0708FA9}" dt="2023-05-05T11:48:26.020" v="7153" actId="478"/>
          <ac:spMkLst>
            <pc:docMk/>
            <pc:sldMk cId="938673642" sldId="372"/>
            <ac:spMk id="17" creationId="{AA1D98CB-FF86-47E3-65BF-959454004005}"/>
          </ac:spMkLst>
        </pc:spChg>
        <pc:spChg chg="del mod topLvl">
          <ac:chgData name="Hans Gelissen (DHL SSC Maastricht)" userId="1afa8510-4eed-4b73-a29e-678838cd8acd" providerId="ADAL" clId="{F3A22D4D-2B68-4909-BFE7-4E46D0708FA9}" dt="2023-05-05T11:48:23.044" v="7151" actId="478"/>
          <ac:spMkLst>
            <pc:docMk/>
            <pc:sldMk cId="938673642" sldId="372"/>
            <ac:spMk id="20" creationId="{3A72A0B1-02AC-FB31-01C7-580D6E267596}"/>
          </ac:spMkLst>
        </pc:spChg>
        <pc:spChg chg="add mod ord topLvl">
          <ac:chgData name="Hans Gelissen (DHL SSC Maastricht)" userId="1afa8510-4eed-4b73-a29e-678838cd8acd" providerId="ADAL" clId="{F3A22D4D-2B68-4909-BFE7-4E46D0708FA9}" dt="2023-05-08T08:56:58.099" v="7710" actId="164"/>
          <ac:spMkLst>
            <pc:docMk/>
            <pc:sldMk cId="938673642" sldId="372"/>
            <ac:spMk id="22" creationId="{37A1EBCC-8146-F52D-646B-DEF1CECEFA12}"/>
          </ac:spMkLst>
        </pc:spChg>
        <pc:grpChg chg="add del mod">
          <ac:chgData name="Hans Gelissen (DHL SSC Maastricht)" userId="1afa8510-4eed-4b73-a29e-678838cd8acd" providerId="ADAL" clId="{F3A22D4D-2B68-4909-BFE7-4E46D0708FA9}" dt="2023-05-08T08:56:08.936" v="7704" actId="165"/>
          <ac:grpSpMkLst>
            <pc:docMk/>
            <pc:sldMk cId="938673642" sldId="372"/>
            <ac:grpSpMk id="7" creationId="{2968AF46-71F4-3D00-1EBD-67F48996A479}"/>
          </ac:grpSpMkLst>
        </pc:grpChg>
        <pc:grpChg chg="add del mod">
          <ac:chgData name="Hans Gelissen (DHL SSC Maastricht)" userId="1afa8510-4eed-4b73-a29e-678838cd8acd" providerId="ADAL" clId="{F3A22D4D-2B68-4909-BFE7-4E46D0708FA9}" dt="2023-05-05T11:48:19.587" v="7149" actId="478"/>
          <ac:grpSpMkLst>
            <pc:docMk/>
            <pc:sldMk cId="938673642" sldId="372"/>
            <ac:grpSpMk id="9" creationId="{D404929A-9E01-FB32-E74A-86B2984FAE3D}"/>
          </ac:grpSpMkLst>
        </pc:grpChg>
        <pc:grpChg chg="add del mod">
          <ac:chgData name="Hans Gelissen (DHL SSC Maastricht)" userId="1afa8510-4eed-4b73-a29e-678838cd8acd" providerId="ADAL" clId="{F3A22D4D-2B68-4909-BFE7-4E46D0708FA9}" dt="2023-05-08T09:16:54.517" v="7817" actId="478"/>
          <ac:grpSpMkLst>
            <pc:docMk/>
            <pc:sldMk cId="938673642" sldId="372"/>
            <ac:grpSpMk id="9" creationId="{E82A7E58-6F76-5062-1BC4-8D446E759176}"/>
          </ac:grpSpMkLst>
        </pc:grpChg>
        <pc:grpChg chg="add del mod">
          <ac:chgData name="Hans Gelissen (DHL SSC Maastricht)" userId="1afa8510-4eed-4b73-a29e-678838cd8acd" providerId="ADAL" clId="{F3A22D4D-2B68-4909-BFE7-4E46D0708FA9}" dt="2023-05-05T11:48:21.360" v="7150" actId="478"/>
          <ac:grpSpMkLst>
            <pc:docMk/>
            <pc:sldMk cId="938673642" sldId="372"/>
            <ac:grpSpMk id="12" creationId="{0B850081-1795-7136-CF6A-84F57346D99F}"/>
          </ac:grpSpMkLst>
        </pc:grpChg>
        <pc:grpChg chg="add del mod">
          <ac:chgData name="Hans Gelissen (DHL SSC Maastricht)" userId="1afa8510-4eed-4b73-a29e-678838cd8acd" providerId="ADAL" clId="{F3A22D4D-2B68-4909-BFE7-4E46D0708FA9}" dt="2023-05-05T11:48:26.020" v="7153" actId="478"/>
          <ac:grpSpMkLst>
            <pc:docMk/>
            <pc:sldMk cId="938673642" sldId="372"/>
            <ac:grpSpMk id="15" creationId="{2103BDD9-E8E7-0981-04C6-384040766AC5}"/>
          </ac:grpSpMkLst>
        </pc:grpChg>
        <pc:grpChg chg="add del mod">
          <ac:chgData name="Hans Gelissen (DHL SSC Maastricht)" userId="1afa8510-4eed-4b73-a29e-678838cd8acd" providerId="ADAL" clId="{F3A22D4D-2B68-4909-BFE7-4E46D0708FA9}" dt="2023-05-05T11:48:23.044" v="7151" actId="478"/>
          <ac:grpSpMkLst>
            <pc:docMk/>
            <pc:sldMk cId="938673642" sldId="372"/>
            <ac:grpSpMk id="18" creationId="{5A575FBC-D99F-882D-0829-5EA0E5909732}"/>
          </ac:grpSpMkLst>
        </pc:grpChg>
        <pc:grpChg chg="add del mod">
          <ac:chgData name="Hans Gelissen (DHL SSC Maastricht)" userId="1afa8510-4eed-4b73-a29e-678838cd8acd" providerId="ADAL" clId="{F3A22D4D-2B68-4909-BFE7-4E46D0708FA9}" dt="2023-05-05T11:56:46.420" v="7243" actId="165"/>
          <ac:grpSpMkLst>
            <pc:docMk/>
            <pc:sldMk cId="938673642" sldId="372"/>
            <ac:grpSpMk id="21" creationId="{7D15D2A6-F8E3-F675-597D-8545190EE58D}"/>
          </ac:grpSpMkLst>
        </pc:grpChg>
        <pc:grpChg chg="add del mod">
          <ac:chgData name="Hans Gelissen (DHL SSC Maastricht)" userId="1afa8510-4eed-4b73-a29e-678838cd8acd" providerId="ADAL" clId="{F3A22D4D-2B68-4909-BFE7-4E46D0708FA9}" dt="2023-05-08T08:50:00.483" v="7661" actId="165"/>
          <ac:grpSpMkLst>
            <pc:docMk/>
            <pc:sldMk cId="938673642" sldId="372"/>
            <ac:grpSpMk id="23" creationId="{B183489E-0FA6-C65B-9312-E65D924084C7}"/>
          </ac:grpSpMkLst>
        </pc:grpChg>
        <pc:picChg chg="add mod topLvl">
          <ac:chgData name="Hans Gelissen (DHL SSC Maastricht)" userId="1afa8510-4eed-4b73-a29e-678838cd8acd" providerId="ADAL" clId="{F3A22D4D-2B68-4909-BFE7-4E46D0708FA9}" dt="2023-05-08T08:56:58.099" v="7710" actId="164"/>
          <ac:picMkLst>
            <pc:docMk/>
            <pc:sldMk cId="938673642" sldId="372"/>
            <ac:picMk id="2" creationId="{89EB93AA-EC0C-882F-5B25-C8D90A2513CD}"/>
          </ac:picMkLst>
        </pc:picChg>
        <pc:picChg chg="add del mod">
          <ac:chgData name="Hans Gelissen (DHL SSC Maastricht)" userId="1afa8510-4eed-4b73-a29e-678838cd8acd" providerId="ADAL" clId="{F3A22D4D-2B68-4909-BFE7-4E46D0708FA9}" dt="2023-05-08T08:54:31.200" v="7689" actId="478"/>
          <ac:picMkLst>
            <pc:docMk/>
            <pc:sldMk cId="938673642" sldId="372"/>
            <ac:picMk id="3" creationId="{0BD737FE-330B-6CC1-B412-6DC78176A166}"/>
          </ac:picMkLst>
        </pc:picChg>
        <pc:picChg chg="add del mod">
          <ac:chgData name="Hans Gelissen (DHL SSC Maastricht)" userId="1afa8510-4eed-4b73-a29e-678838cd8acd" providerId="ADAL" clId="{F3A22D4D-2B68-4909-BFE7-4E46D0708FA9}" dt="2023-05-08T08:55:07.900" v="7692" actId="478"/>
          <ac:picMkLst>
            <pc:docMk/>
            <pc:sldMk cId="938673642" sldId="372"/>
            <ac:picMk id="5" creationId="{18B90A4A-587B-3230-1809-5AF1A320CE9F}"/>
          </ac:picMkLst>
        </pc:picChg>
        <pc:picChg chg="add del mod">
          <ac:chgData name="Hans Gelissen (DHL SSC Maastricht)" userId="1afa8510-4eed-4b73-a29e-678838cd8acd" providerId="ADAL" clId="{F3A22D4D-2B68-4909-BFE7-4E46D0708FA9}" dt="2023-05-08T09:15:39.865" v="7805" actId="478"/>
          <ac:picMkLst>
            <pc:docMk/>
            <pc:sldMk cId="938673642" sldId="372"/>
            <ac:picMk id="8" creationId="{FAC6CA1F-CF1A-66BF-3578-DF7836FECAFF}"/>
          </ac:picMkLst>
        </pc:picChg>
        <pc:picChg chg="del mod topLvl">
          <ac:chgData name="Hans Gelissen (DHL SSC Maastricht)" userId="1afa8510-4eed-4b73-a29e-678838cd8acd" providerId="ADAL" clId="{F3A22D4D-2B68-4909-BFE7-4E46D0708FA9}" dt="2023-05-05T11:53:20.014" v="7204" actId="478"/>
          <ac:picMkLst>
            <pc:docMk/>
            <pc:sldMk cId="938673642" sldId="372"/>
            <ac:picMk id="10" creationId="{DB5AA2B1-96ED-BDEF-F5D7-9582D7745B6C}"/>
          </ac:picMkLst>
        </pc:picChg>
        <pc:picChg chg="add del mod">
          <ac:chgData name="Hans Gelissen (DHL SSC Maastricht)" userId="1afa8510-4eed-4b73-a29e-678838cd8acd" providerId="ADAL" clId="{F3A22D4D-2B68-4909-BFE7-4E46D0708FA9}" dt="2023-05-08T09:15:57.889" v="7809" actId="478"/>
          <ac:picMkLst>
            <pc:docMk/>
            <pc:sldMk cId="938673642" sldId="372"/>
            <ac:picMk id="12" creationId="{3357582E-FE98-B285-1104-B7C5EE88C962}"/>
          </ac:picMkLst>
        </pc:picChg>
        <pc:picChg chg="del mod topLvl">
          <ac:chgData name="Hans Gelissen (DHL SSC Maastricht)" userId="1afa8510-4eed-4b73-a29e-678838cd8acd" providerId="ADAL" clId="{F3A22D4D-2B68-4909-BFE7-4E46D0708FA9}" dt="2023-05-05T11:52:48.514" v="7201" actId="478"/>
          <ac:picMkLst>
            <pc:docMk/>
            <pc:sldMk cId="938673642" sldId="372"/>
            <ac:picMk id="13" creationId="{7BED78B6-EE00-2FF1-6C49-981FCD1528F9}"/>
          </ac:picMkLst>
        </pc:picChg>
        <pc:picChg chg="add mod">
          <ac:chgData name="Hans Gelissen (DHL SSC Maastricht)" userId="1afa8510-4eed-4b73-a29e-678838cd8acd" providerId="ADAL" clId="{F3A22D4D-2B68-4909-BFE7-4E46D0708FA9}" dt="2023-05-08T09:16:05.005" v="7812" actId="962"/>
          <ac:picMkLst>
            <pc:docMk/>
            <pc:sldMk cId="938673642" sldId="372"/>
            <ac:picMk id="14" creationId="{D0CCB0F3-EEE1-599A-3508-F7A79D34BFCE}"/>
          </ac:picMkLst>
        </pc:picChg>
        <pc:picChg chg="add del mod topLvl">
          <ac:chgData name="Hans Gelissen (DHL SSC Maastricht)" userId="1afa8510-4eed-4b73-a29e-678838cd8acd" providerId="ADAL" clId="{F3A22D4D-2B68-4909-BFE7-4E46D0708FA9}" dt="2023-05-05T11:52:09.555" v="7195" actId="478"/>
          <ac:picMkLst>
            <pc:docMk/>
            <pc:sldMk cId="938673642" sldId="372"/>
            <ac:picMk id="16" creationId="{DFE377F1-52CE-A3CC-E9ED-551A6BFFC258}"/>
          </ac:picMkLst>
        </pc:picChg>
        <pc:picChg chg="add del mod topLvl">
          <ac:chgData name="Hans Gelissen (DHL SSC Maastricht)" userId="1afa8510-4eed-4b73-a29e-678838cd8acd" providerId="ADAL" clId="{F3A22D4D-2B68-4909-BFE7-4E46D0708FA9}" dt="2023-05-05T11:52:00.340" v="7190" actId="478"/>
          <ac:picMkLst>
            <pc:docMk/>
            <pc:sldMk cId="938673642" sldId="372"/>
            <ac:picMk id="19" creationId="{F2413131-A230-05E0-A4C7-014E08A12CA4}"/>
          </ac:picMkLst>
        </pc:picChg>
        <pc:picChg chg="add del mod">
          <ac:chgData name="Hans Gelissen (DHL SSC Maastricht)" userId="1afa8510-4eed-4b73-a29e-678838cd8acd" providerId="ADAL" clId="{F3A22D4D-2B68-4909-BFE7-4E46D0708FA9}" dt="2023-05-08T08:49:55.138" v="7660" actId="478"/>
          <ac:picMkLst>
            <pc:docMk/>
            <pc:sldMk cId="938673642" sldId="372"/>
            <ac:picMk id="1026" creationId="{3146F13A-A5DB-682E-846F-B2D469AA2889}"/>
          </ac:picMkLst>
        </pc:picChg>
        <pc:picChg chg="add del">
          <ac:chgData name="Hans Gelissen (DHL SSC Maastricht)" userId="1afa8510-4eed-4b73-a29e-678838cd8acd" providerId="ADAL" clId="{F3A22D4D-2B68-4909-BFE7-4E46D0708FA9}" dt="2023-05-05T11:44:48.284" v="6952" actId="478"/>
          <ac:picMkLst>
            <pc:docMk/>
            <pc:sldMk cId="938673642" sldId="372"/>
            <ac:picMk id="1026" creationId="{FD85A468-D61B-6CA7-CDCC-0F6F859B6CF2}"/>
          </ac:picMkLst>
        </pc:picChg>
        <pc:picChg chg="add del mod">
          <ac:chgData name="Hans Gelissen (DHL SSC Maastricht)" userId="1afa8510-4eed-4b73-a29e-678838cd8acd" providerId="ADAL" clId="{F3A22D4D-2B68-4909-BFE7-4E46D0708FA9}" dt="2023-05-05T11:51:22.410" v="7188"/>
          <ac:picMkLst>
            <pc:docMk/>
            <pc:sldMk cId="938673642" sldId="372"/>
            <ac:picMk id="1028" creationId="{69C4E056-5619-379A-BD54-049A4E290DE8}"/>
          </ac:picMkLst>
        </pc:picChg>
        <pc:picChg chg="add mod topLvl">
          <ac:chgData name="Hans Gelissen (DHL SSC Maastricht)" userId="1afa8510-4eed-4b73-a29e-678838cd8acd" providerId="ADAL" clId="{F3A22D4D-2B68-4909-BFE7-4E46D0708FA9}" dt="2023-05-08T08:56:58.099" v="7710" actId="164"/>
          <ac:picMkLst>
            <pc:docMk/>
            <pc:sldMk cId="938673642" sldId="372"/>
            <ac:picMk id="1028" creationId="{F1A3AC83-A56C-9A11-9393-8E1BC3C07E83}"/>
          </ac:picMkLst>
        </pc:picChg>
        <pc:picChg chg="add del mod">
          <ac:chgData name="Hans Gelissen (DHL SSC Maastricht)" userId="1afa8510-4eed-4b73-a29e-678838cd8acd" providerId="ADAL" clId="{F3A22D4D-2B68-4909-BFE7-4E46D0708FA9}" dt="2023-05-05T11:51:21.546" v="7185"/>
          <ac:picMkLst>
            <pc:docMk/>
            <pc:sldMk cId="938673642" sldId="372"/>
            <ac:picMk id="1030" creationId="{AF4C8FE4-AAD0-4AF1-0195-6B8BBFB7284B}"/>
          </ac:picMkLst>
        </pc:picChg>
        <pc:picChg chg="add mod topLvl">
          <ac:chgData name="Hans Gelissen (DHL SSC Maastricht)" userId="1afa8510-4eed-4b73-a29e-678838cd8acd" providerId="ADAL" clId="{F3A22D4D-2B68-4909-BFE7-4E46D0708FA9}" dt="2023-05-08T08:56:58.099" v="7710" actId="164"/>
          <ac:picMkLst>
            <pc:docMk/>
            <pc:sldMk cId="938673642" sldId="372"/>
            <ac:picMk id="1030" creationId="{F3B4041D-F889-5F2F-A61F-06C159654E3A}"/>
          </ac:picMkLst>
        </pc:picChg>
        <pc:picChg chg="add del mod topLvl">
          <ac:chgData name="Hans Gelissen (DHL SSC Maastricht)" userId="1afa8510-4eed-4b73-a29e-678838cd8acd" providerId="ADAL" clId="{F3A22D4D-2B68-4909-BFE7-4E46D0708FA9}" dt="2023-05-08T08:52:18.751" v="7683" actId="478"/>
          <ac:picMkLst>
            <pc:docMk/>
            <pc:sldMk cId="938673642" sldId="372"/>
            <ac:picMk id="1032" creationId="{D2296D13-1BB9-CDF5-9293-DF13E40D04F8}"/>
          </ac:picMkLst>
        </pc:picChg>
        <pc:picChg chg="add del mod topLvl">
          <ac:chgData name="Hans Gelissen (DHL SSC Maastricht)" userId="1afa8510-4eed-4b73-a29e-678838cd8acd" providerId="ADAL" clId="{F3A22D4D-2B68-4909-BFE7-4E46D0708FA9}" dt="2023-05-08T08:50:02.970" v="7662" actId="478"/>
          <ac:picMkLst>
            <pc:docMk/>
            <pc:sldMk cId="938673642" sldId="372"/>
            <ac:picMk id="1034" creationId="{62F31B14-2673-6E48-ABFF-3A2D813A7515}"/>
          </ac:picMkLst>
        </pc:picChg>
        <pc:picChg chg="add del mod topLvl">
          <ac:chgData name="Hans Gelissen (DHL SSC Maastricht)" userId="1afa8510-4eed-4b73-a29e-678838cd8acd" providerId="ADAL" clId="{F3A22D4D-2B68-4909-BFE7-4E46D0708FA9}" dt="2023-05-08T08:50:03.477" v="7663" actId="478"/>
          <ac:picMkLst>
            <pc:docMk/>
            <pc:sldMk cId="938673642" sldId="372"/>
            <ac:picMk id="1036" creationId="{A227F4C3-2B66-1002-7653-B296F25C7B58}"/>
          </ac:picMkLst>
        </pc:picChg>
        <pc:picChg chg="add del mod">
          <ac:chgData name="Hans Gelissen (DHL SSC Maastricht)" userId="1afa8510-4eed-4b73-a29e-678838cd8acd" providerId="ADAL" clId="{F3A22D4D-2B68-4909-BFE7-4E46D0708FA9}" dt="2023-05-05T11:54:12.111" v="7215" actId="478"/>
          <ac:picMkLst>
            <pc:docMk/>
            <pc:sldMk cId="938673642" sldId="372"/>
            <ac:picMk id="1038" creationId="{8E39A35B-A680-C235-104A-D781714ADE29}"/>
          </ac:picMkLst>
        </pc:picChg>
        <pc:picChg chg="add mod topLvl">
          <ac:chgData name="Hans Gelissen (DHL SSC Maastricht)" userId="1afa8510-4eed-4b73-a29e-678838cd8acd" providerId="ADAL" clId="{F3A22D4D-2B68-4909-BFE7-4E46D0708FA9}" dt="2023-05-08T08:56:58.099" v="7710" actId="164"/>
          <ac:picMkLst>
            <pc:docMk/>
            <pc:sldMk cId="938673642" sldId="372"/>
            <ac:picMk id="1038" creationId="{8E6E1894-B9BC-080E-B6BA-6F7A620850C1}"/>
          </ac:picMkLst>
        </pc:picChg>
        <pc:picChg chg="add del mod topLvl">
          <ac:chgData name="Hans Gelissen (DHL SSC Maastricht)" userId="1afa8510-4eed-4b73-a29e-678838cd8acd" providerId="ADAL" clId="{F3A22D4D-2B68-4909-BFE7-4E46D0708FA9}" dt="2023-05-08T08:50:38.650" v="7667" actId="478"/>
          <ac:picMkLst>
            <pc:docMk/>
            <pc:sldMk cId="938673642" sldId="372"/>
            <ac:picMk id="1040" creationId="{ABA9AB24-DC56-A34B-6058-718ACECFF344}"/>
          </ac:picMkLst>
        </pc:picChg>
      </pc:sldChg>
      <pc:sldChg chg="addSp delSp modSp add mod modClrScheme chgLayout">
        <pc:chgData name="Hans Gelissen (DHL SSC Maastricht)" userId="1afa8510-4eed-4b73-a29e-678838cd8acd" providerId="ADAL" clId="{F3A22D4D-2B68-4909-BFE7-4E46D0708FA9}" dt="2023-05-10T08:47:40.046" v="10258" actId="207"/>
        <pc:sldMkLst>
          <pc:docMk/>
          <pc:sldMk cId="1726838300" sldId="373"/>
        </pc:sldMkLst>
        <pc:spChg chg="del">
          <ac:chgData name="Hans Gelissen (DHL SSC Maastricht)" userId="1afa8510-4eed-4b73-a29e-678838cd8acd" providerId="ADAL" clId="{F3A22D4D-2B68-4909-BFE7-4E46D0708FA9}" dt="2023-05-05T12:27:49.656" v="7354" actId="700"/>
          <ac:spMkLst>
            <pc:docMk/>
            <pc:sldMk cId="1726838300" sldId="373"/>
            <ac:spMk id="2" creationId="{E59E3F53-7A54-F733-2045-3875C72EA7B2}"/>
          </ac:spMkLst>
        </pc:spChg>
        <pc:spChg chg="del">
          <ac:chgData name="Hans Gelissen (DHL SSC Maastricht)" userId="1afa8510-4eed-4b73-a29e-678838cd8acd" providerId="ADAL" clId="{F3A22D4D-2B68-4909-BFE7-4E46D0708FA9}" dt="2023-05-05T12:27:49.656" v="7354" actId="700"/>
          <ac:spMkLst>
            <pc:docMk/>
            <pc:sldMk cId="1726838300" sldId="373"/>
            <ac:spMk id="3" creationId="{69CFC62A-49F1-6D40-552E-1AA4ED051E0E}"/>
          </ac:spMkLst>
        </pc:spChg>
        <pc:spChg chg="add mod">
          <ac:chgData name="Hans Gelissen (DHL SSC Maastricht)" userId="1afa8510-4eed-4b73-a29e-678838cd8acd" providerId="ADAL" clId="{F3A22D4D-2B68-4909-BFE7-4E46D0708FA9}" dt="2023-05-10T08:47:40.046" v="10258" actId="207"/>
          <ac:spMkLst>
            <pc:docMk/>
            <pc:sldMk cId="1726838300" sldId="373"/>
            <ac:spMk id="4" creationId="{58FA9F76-FFBA-57E9-1BEF-73B28A067C7A}"/>
          </ac:spMkLst>
        </pc:spChg>
      </pc:sldChg>
      <pc:sldChg chg="addSp delSp modSp add mod modClrScheme chgLayout">
        <pc:chgData name="Hans Gelissen (DHL SSC Maastricht)" userId="1afa8510-4eed-4b73-a29e-678838cd8acd" providerId="ADAL" clId="{F3A22D4D-2B68-4909-BFE7-4E46D0708FA9}" dt="2023-05-08T09:42:02.074" v="8552" actId="1076"/>
        <pc:sldMkLst>
          <pc:docMk/>
          <pc:sldMk cId="9948422" sldId="374"/>
        </pc:sldMkLst>
        <pc:spChg chg="del mod ord">
          <ac:chgData name="Hans Gelissen (DHL SSC Maastricht)" userId="1afa8510-4eed-4b73-a29e-678838cd8acd" providerId="ADAL" clId="{F3A22D4D-2B68-4909-BFE7-4E46D0708FA9}" dt="2023-05-05T12:34:18.973" v="7397" actId="700"/>
          <ac:spMkLst>
            <pc:docMk/>
            <pc:sldMk cId="9948422" sldId="374"/>
            <ac:spMk id="2" creationId="{E59E3F53-7A54-F733-2045-3875C72EA7B2}"/>
          </ac:spMkLst>
        </pc:spChg>
        <pc:spChg chg="del mod ord">
          <ac:chgData name="Hans Gelissen (DHL SSC Maastricht)" userId="1afa8510-4eed-4b73-a29e-678838cd8acd" providerId="ADAL" clId="{F3A22D4D-2B68-4909-BFE7-4E46D0708FA9}" dt="2023-05-05T12:34:18.973" v="7397" actId="700"/>
          <ac:spMkLst>
            <pc:docMk/>
            <pc:sldMk cId="9948422" sldId="374"/>
            <ac:spMk id="3" creationId="{69CFC62A-49F1-6D40-552E-1AA4ED051E0E}"/>
          </ac:spMkLst>
        </pc:spChg>
        <pc:spChg chg="add del">
          <ac:chgData name="Hans Gelissen (DHL SSC Maastricht)" userId="1afa8510-4eed-4b73-a29e-678838cd8acd" providerId="ADAL" clId="{F3A22D4D-2B68-4909-BFE7-4E46D0708FA9}" dt="2023-05-08T09:35:45.773" v="8511" actId="478"/>
          <ac:spMkLst>
            <pc:docMk/>
            <pc:sldMk cId="9948422" sldId="374"/>
            <ac:spMk id="3" creationId="{A6F03393-B8FB-9E22-CAC7-E7B9B47DEC9A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4:37.581" v="7399" actId="700"/>
          <ac:spMkLst>
            <pc:docMk/>
            <pc:sldMk cId="9948422" sldId="374"/>
            <ac:spMk id="4" creationId="{CDE6E959-DE67-ED0B-D8F2-D6BD40EED780}"/>
          </ac:spMkLst>
        </pc:spChg>
        <pc:spChg chg="add del mod ord">
          <ac:chgData name="Hans Gelissen (DHL SSC Maastricht)" userId="1afa8510-4eed-4b73-a29e-678838cd8acd" providerId="ADAL" clId="{F3A22D4D-2B68-4909-BFE7-4E46D0708FA9}" dt="2023-05-08T09:39:43.073" v="8542" actId="700"/>
          <ac:spMkLst>
            <pc:docMk/>
            <pc:sldMk cId="9948422" sldId="374"/>
            <ac:spMk id="4" creationId="{F9CDA076-1BB7-ED94-6500-A9C875FC15DF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4:37.581" v="7399" actId="700"/>
          <ac:spMkLst>
            <pc:docMk/>
            <pc:sldMk cId="9948422" sldId="374"/>
            <ac:spMk id="5" creationId="{9BBB90B6-2F47-5994-7963-DDC700AF67C2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4:37.581" v="7399" actId="700"/>
          <ac:spMkLst>
            <pc:docMk/>
            <pc:sldMk cId="9948422" sldId="374"/>
            <ac:spMk id="6" creationId="{1520C8CD-270E-A07B-01E8-3E1A6B970160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4:37.581" v="7399" actId="700"/>
          <ac:spMkLst>
            <pc:docMk/>
            <pc:sldMk cId="9948422" sldId="374"/>
            <ac:spMk id="7" creationId="{E9B795CF-560C-2325-CA68-7D50DC23A0D5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4:37.581" v="7399" actId="700"/>
          <ac:spMkLst>
            <pc:docMk/>
            <pc:sldMk cId="9948422" sldId="374"/>
            <ac:spMk id="8" creationId="{710015E8-5D85-9E2A-3D61-ED44ED5D376D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4:52.025" v="7400" actId="700"/>
          <ac:spMkLst>
            <pc:docMk/>
            <pc:sldMk cId="9948422" sldId="374"/>
            <ac:spMk id="9" creationId="{EE673E25-4FB1-E8BF-FF05-3E461DE40359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4:52.025" v="7400" actId="700"/>
          <ac:spMkLst>
            <pc:docMk/>
            <pc:sldMk cId="9948422" sldId="374"/>
            <ac:spMk id="10" creationId="{25278351-3F03-A2AC-8A77-376D65102536}"/>
          </ac:spMkLst>
        </pc:spChg>
        <pc:spChg chg="add mod ord">
          <ac:chgData name="Hans Gelissen (DHL SSC Maastricht)" userId="1afa8510-4eed-4b73-a29e-678838cd8acd" providerId="ADAL" clId="{F3A22D4D-2B68-4909-BFE7-4E46D0708FA9}" dt="2023-05-08T09:39:43.073" v="8542" actId="700"/>
          <ac:spMkLst>
            <pc:docMk/>
            <pc:sldMk cId="9948422" sldId="374"/>
            <ac:spMk id="11" creationId="{E6E45AE8-2D18-7AC4-83E2-B0E3AD3BFA6F}"/>
          </ac:spMkLst>
        </pc:spChg>
        <pc:spChg chg="add mod ord">
          <ac:chgData name="Hans Gelissen (DHL SSC Maastricht)" userId="1afa8510-4eed-4b73-a29e-678838cd8acd" providerId="ADAL" clId="{F3A22D4D-2B68-4909-BFE7-4E46D0708FA9}" dt="2023-05-08T09:39:43.073" v="8542" actId="700"/>
          <ac:spMkLst>
            <pc:docMk/>
            <pc:sldMk cId="9948422" sldId="374"/>
            <ac:spMk id="12" creationId="{5470A891-E41B-EF63-926D-2614B60196C9}"/>
          </ac:spMkLst>
        </pc:spChg>
        <pc:spChg chg="add mod ord">
          <ac:chgData name="Hans Gelissen (DHL SSC Maastricht)" userId="1afa8510-4eed-4b73-a29e-678838cd8acd" providerId="ADAL" clId="{F3A22D4D-2B68-4909-BFE7-4E46D0708FA9}" dt="2023-05-08T09:39:43.073" v="8542" actId="700"/>
          <ac:spMkLst>
            <pc:docMk/>
            <pc:sldMk cId="9948422" sldId="374"/>
            <ac:spMk id="13" creationId="{F15F4022-D0E1-7083-F41D-9754B4B91916}"/>
          </ac:spMkLst>
        </pc:spChg>
        <pc:spChg chg="add mod ord">
          <ac:chgData name="Hans Gelissen (DHL SSC Maastricht)" userId="1afa8510-4eed-4b73-a29e-678838cd8acd" providerId="ADAL" clId="{F3A22D4D-2B68-4909-BFE7-4E46D0708FA9}" dt="2023-05-08T09:39:43.073" v="8542" actId="700"/>
          <ac:spMkLst>
            <pc:docMk/>
            <pc:sldMk cId="9948422" sldId="374"/>
            <ac:spMk id="14" creationId="{5079EBBD-95D5-1050-FC6A-0B696EF03225}"/>
          </ac:spMkLst>
        </pc:spChg>
        <pc:picChg chg="add mod">
          <ac:chgData name="Hans Gelissen (DHL SSC Maastricht)" userId="1afa8510-4eed-4b73-a29e-678838cd8acd" providerId="ADAL" clId="{F3A22D4D-2B68-4909-BFE7-4E46D0708FA9}" dt="2023-05-08T09:42:02.074" v="8552" actId="1076"/>
          <ac:picMkLst>
            <pc:docMk/>
            <pc:sldMk cId="9948422" sldId="374"/>
            <ac:picMk id="5" creationId="{54814E63-E0FA-FF40-0FD9-C8C7449B4A5C}"/>
          </ac:picMkLst>
        </pc:picChg>
        <pc:picChg chg="add mod">
          <ac:chgData name="Hans Gelissen (DHL SSC Maastricht)" userId="1afa8510-4eed-4b73-a29e-678838cd8acd" providerId="ADAL" clId="{F3A22D4D-2B68-4909-BFE7-4E46D0708FA9}" dt="2023-05-08T09:41:53.917" v="8551" actId="1076"/>
          <ac:picMkLst>
            <pc:docMk/>
            <pc:sldMk cId="9948422" sldId="374"/>
            <ac:picMk id="6" creationId="{7B2F2518-0D09-D691-7CCE-26167F4715F6}"/>
          </ac:picMkLst>
        </pc:picChg>
        <pc:picChg chg="add del mod">
          <ac:chgData name="Hans Gelissen (DHL SSC Maastricht)" userId="1afa8510-4eed-4b73-a29e-678838cd8acd" providerId="ADAL" clId="{F3A22D4D-2B68-4909-BFE7-4E46D0708FA9}" dt="2023-05-08T09:39:46.511" v="8544" actId="478"/>
          <ac:picMkLst>
            <pc:docMk/>
            <pc:sldMk cId="9948422" sldId="374"/>
            <ac:picMk id="3074" creationId="{D882892A-889F-E8E7-4D00-9CB431D2560E}"/>
          </ac:picMkLst>
        </pc:picChg>
        <pc:picChg chg="add del mod">
          <ac:chgData name="Hans Gelissen (DHL SSC Maastricht)" userId="1afa8510-4eed-4b73-a29e-678838cd8acd" providerId="ADAL" clId="{F3A22D4D-2B68-4909-BFE7-4E46D0708FA9}" dt="2023-05-08T09:39:42.334" v="8539"/>
          <ac:picMkLst>
            <pc:docMk/>
            <pc:sldMk cId="9948422" sldId="374"/>
            <ac:picMk id="3076" creationId="{6E88E67F-41A7-03DB-2369-F4055FBF2841}"/>
          </ac:picMkLst>
        </pc:picChg>
        <pc:picChg chg="add mod">
          <ac:chgData name="Hans Gelissen (DHL SSC Maastricht)" userId="1afa8510-4eed-4b73-a29e-678838cd8acd" providerId="ADAL" clId="{F3A22D4D-2B68-4909-BFE7-4E46D0708FA9}" dt="2023-05-08T09:41:52.163" v="8550" actId="1076"/>
          <ac:picMkLst>
            <pc:docMk/>
            <pc:sldMk cId="9948422" sldId="374"/>
            <ac:picMk id="3078" creationId="{68298EAF-CF64-B5C9-351E-92D05DD7231E}"/>
          </ac:picMkLst>
        </pc:picChg>
      </pc:sldChg>
      <pc:sldChg chg="addSp delSp modSp add mod modClrScheme chgLayout">
        <pc:chgData name="Hans Gelissen (DHL SSC Maastricht)" userId="1afa8510-4eed-4b73-a29e-678838cd8acd" providerId="ADAL" clId="{F3A22D4D-2B68-4909-BFE7-4E46D0708FA9}" dt="2023-05-15T12:31:52.774" v="10727" actId="20577"/>
        <pc:sldMkLst>
          <pc:docMk/>
          <pc:sldMk cId="3553935927" sldId="375"/>
        </pc:sldMkLst>
        <pc:spChg chg="del mod ord">
          <ac:chgData name="Hans Gelissen (DHL SSC Maastricht)" userId="1afa8510-4eed-4b73-a29e-678838cd8acd" providerId="ADAL" clId="{F3A22D4D-2B68-4909-BFE7-4E46D0708FA9}" dt="2023-05-05T12:34:23.915" v="7398" actId="700"/>
          <ac:spMkLst>
            <pc:docMk/>
            <pc:sldMk cId="3553935927" sldId="375"/>
            <ac:spMk id="2" creationId="{E59E3F53-7A54-F733-2045-3875C72EA7B2}"/>
          </ac:spMkLst>
        </pc:spChg>
        <pc:spChg chg="del mod ord">
          <ac:chgData name="Hans Gelissen (DHL SSC Maastricht)" userId="1afa8510-4eed-4b73-a29e-678838cd8acd" providerId="ADAL" clId="{F3A22D4D-2B68-4909-BFE7-4E46D0708FA9}" dt="2023-05-05T12:34:23.915" v="7398" actId="700"/>
          <ac:spMkLst>
            <pc:docMk/>
            <pc:sldMk cId="3553935927" sldId="375"/>
            <ac:spMk id="3" creationId="{69CFC62A-49F1-6D40-552E-1AA4ED051E0E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4:59.380" v="7401" actId="700"/>
          <ac:spMkLst>
            <pc:docMk/>
            <pc:sldMk cId="3553935927" sldId="375"/>
            <ac:spMk id="4" creationId="{7636203D-6197-112B-DB0A-D555380FB2C3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4:59.380" v="7401" actId="700"/>
          <ac:spMkLst>
            <pc:docMk/>
            <pc:sldMk cId="3553935927" sldId="375"/>
            <ac:spMk id="5" creationId="{613A9AD1-F355-719E-4F59-4D4EE8AB6D1A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4:59.380" v="7401" actId="700"/>
          <ac:spMkLst>
            <pc:docMk/>
            <pc:sldMk cId="3553935927" sldId="375"/>
            <ac:spMk id="6" creationId="{7F24CC94-7A06-657C-0168-7BAF9A688772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4:59.380" v="7401" actId="700"/>
          <ac:spMkLst>
            <pc:docMk/>
            <pc:sldMk cId="3553935927" sldId="375"/>
            <ac:spMk id="7" creationId="{4FF8DEC0-FE70-36F1-F21E-80F97DE5E830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4:59.380" v="7401" actId="700"/>
          <ac:spMkLst>
            <pc:docMk/>
            <pc:sldMk cId="3553935927" sldId="375"/>
            <ac:spMk id="8" creationId="{2C20C258-0397-A77B-CA95-F12172B5C3FF}"/>
          </ac:spMkLst>
        </pc:spChg>
        <pc:spChg chg="add mod ord">
          <ac:chgData name="Hans Gelissen (DHL SSC Maastricht)" userId="1afa8510-4eed-4b73-a29e-678838cd8acd" providerId="ADAL" clId="{F3A22D4D-2B68-4909-BFE7-4E46D0708FA9}" dt="2023-05-05T12:35:27.301" v="7477" actId="20577"/>
          <ac:spMkLst>
            <pc:docMk/>
            <pc:sldMk cId="3553935927" sldId="375"/>
            <ac:spMk id="9" creationId="{1FE3376F-5BB7-A914-6080-7C1E0DE02BE1}"/>
          </ac:spMkLst>
        </pc:spChg>
        <pc:spChg chg="add mod ord">
          <ac:chgData name="Hans Gelissen (DHL SSC Maastricht)" userId="1afa8510-4eed-4b73-a29e-678838cd8acd" providerId="ADAL" clId="{F3A22D4D-2B68-4909-BFE7-4E46D0708FA9}" dt="2023-05-08T09:28:26.024" v="8125" actId="20577"/>
          <ac:spMkLst>
            <pc:docMk/>
            <pc:sldMk cId="3553935927" sldId="375"/>
            <ac:spMk id="10" creationId="{57E9EFF5-FEBE-9C95-21C3-65E9897BCD88}"/>
          </ac:spMkLst>
        </pc:spChg>
        <pc:spChg chg="add mod ord">
          <ac:chgData name="Hans Gelissen (DHL SSC Maastricht)" userId="1afa8510-4eed-4b73-a29e-678838cd8acd" providerId="ADAL" clId="{F3A22D4D-2B68-4909-BFE7-4E46D0708FA9}" dt="2023-05-15T12:28:50.673" v="10717" actId="20577"/>
          <ac:spMkLst>
            <pc:docMk/>
            <pc:sldMk cId="3553935927" sldId="375"/>
            <ac:spMk id="11" creationId="{9693B1AA-CC74-CBA1-C18B-30F8EC2DA279}"/>
          </ac:spMkLst>
        </pc:spChg>
        <pc:spChg chg="add mod ord">
          <ac:chgData name="Hans Gelissen (DHL SSC Maastricht)" userId="1afa8510-4eed-4b73-a29e-678838cd8acd" providerId="ADAL" clId="{F3A22D4D-2B68-4909-BFE7-4E46D0708FA9}" dt="2023-05-15T12:31:52.774" v="10727" actId="20577"/>
          <ac:spMkLst>
            <pc:docMk/>
            <pc:sldMk cId="3553935927" sldId="375"/>
            <ac:spMk id="12" creationId="{AC954805-3A82-9216-02BD-D2E96F282901}"/>
          </ac:spMkLst>
        </pc:spChg>
      </pc:sldChg>
      <pc:sldChg chg="addSp delSp modSp add mod ord modClrScheme chgLayout">
        <pc:chgData name="Hans Gelissen (DHL SSC Maastricht)" userId="1afa8510-4eed-4b73-a29e-678838cd8acd" providerId="ADAL" clId="{F3A22D4D-2B68-4909-BFE7-4E46D0708FA9}" dt="2023-05-15T09:02:34.376" v="10485" actId="20577"/>
        <pc:sldMkLst>
          <pc:docMk/>
          <pc:sldMk cId="4245346187" sldId="376"/>
        </pc:sldMkLst>
        <pc:spChg chg="del mod ord">
          <ac:chgData name="Hans Gelissen (DHL SSC Maastricht)" userId="1afa8510-4eed-4b73-a29e-678838cd8acd" providerId="ADAL" clId="{F3A22D4D-2B68-4909-BFE7-4E46D0708FA9}" dt="2023-05-05T12:35:59.100" v="7481" actId="700"/>
          <ac:spMkLst>
            <pc:docMk/>
            <pc:sldMk cId="4245346187" sldId="376"/>
            <ac:spMk id="2" creationId="{E59E3F53-7A54-F733-2045-3875C72EA7B2}"/>
          </ac:spMkLst>
        </pc:spChg>
        <pc:spChg chg="del">
          <ac:chgData name="Hans Gelissen (DHL SSC Maastricht)" userId="1afa8510-4eed-4b73-a29e-678838cd8acd" providerId="ADAL" clId="{F3A22D4D-2B68-4909-BFE7-4E46D0708FA9}" dt="2023-05-05T12:35:59.100" v="7481" actId="700"/>
          <ac:spMkLst>
            <pc:docMk/>
            <pc:sldMk cId="4245346187" sldId="376"/>
            <ac:spMk id="3" creationId="{69CFC62A-49F1-6D40-552E-1AA4ED051E0E}"/>
          </ac:spMkLst>
        </pc:spChg>
        <pc:spChg chg="add del mod ord">
          <ac:chgData name="Hans Gelissen (DHL SSC Maastricht)" userId="1afa8510-4eed-4b73-a29e-678838cd8acd" providerId="ADAL" clId="{F3A22D4D-2B68-4909-BFE7-4E46D0708FA9}" dt="2023-05-05T12:36:13.477" v="7482" actId="700"/>
          <ac:spMkLst>
            <pc:docMk/>
            <pc:sldMk cId="4245346187" sldId="376"/>
            <ac:spMk id="4" creationId="{790B840A-87D6-F04B-9233-D6325859E3A0}"/>
          </ac:spMkLst>
        </pc:spChg>
        <pc:spChg chg="add mod ord">
          <ac:chgData name="Hans Gelissen (DHL SSC Maastricht)" userId="1afa8510-4eed-4b73-a29e-678838cd8acd" providerId="ADAL" clId="{F3A22D4D-2B68-4909-BFE7-4E46D0708FA9}" dt="2023-05-15T09:02:34.376" v="10485" actId="20577"/>
          <ac:spMkLst>
            <pc:docMk/>
            <pc:sldMk cId="4245346187" sldId="376"/>
            <ac:spMk id="5" creationId="{C9268664-48C5-3BD9-22FE-DA3C07F1FD3D}"/>
          </ac:spMkLst>
        </pc:spChg>
        <pc:spChg chg="add mod">
          <ac:chgData name="Hans Gelissen (DHL SSC Maastricht)" userId="1afa8510-4eed-4b73-a29e-678838cd8acd" providerId="ADAL" clId="{F3A22D4D-2B68-4909-BFE7-4E46D0708FA9}" dt="2023-05-08T11:09:38.854" v="9870" actId="14100"/>
          <ac:spMkLst>
            <pc:docMk/>
            <pc:sldMk cId="4245346187" sldId="376"/>
            <ac:spMk id="6" creationId="{82DF3E42-2B53-B882-0CD9-FA1729F2D99A}"/>
          </ac:spMkLst>
        </pc:spChg>
        <pc:spChg chg="add mod">
          <ac:chgData name="Hans Gelissen (DHL SSC Maastricht)" userId="1afa8510-4eed-4b73-a29e-678838cd8acd" providerId="ADAL" clId="{F3A22D4D-2B68-4909-BFE7-4E46D0708FA9}" dt="2023-05-08T11:09:32.438" v="9868" actId="1076"/>
          <ac:spMkLst>
            <pc:docMk/>
            <pc:sldMk cId="4245346187" sldId="376"/>
            <ac:spMk id="7" creationId="{860C1B0A-FA83-980D-0A5D-B59BB973421A}"/>
          </ac:spMkLst>
        </pc:spChg>
      </pc:sldChg>
      <pc:sldChg chg="modSp add mod ord">
        <pc:chgData name="Hans Gelissen (DHL SSC Maastricht)" userId="1afa8510-4eed-4b73-a29e-678838cd8acd" providerId="ADAL" clId="{F3A22D4D-2B68-4909-BFE7-4E46D0708FA9}" dt="2023-05-10T08:47:45.807" v="10259" actId="207"/>
        <pc:sldMkLst>
          <pc:docMk/>
          <pc:sldMk cId="2168043701" sldId="377"/>
        </pc:sldMkLst>
        <pc:spChg chg="mod">
          <ac:chgData name="Hans Gelissen (DHL SSC Maastricht)" userId="1afa8510-4eed-4b73-a29e-678838cd8acd" providerId="ADAL" clId="{F3A22D4D-2B68-4909-BFE7-4E46D0708FA9}" dt="2023-05-10T08:47:45.807" v="10259" actId="207"/>
          <ac:spMkLst>
            <pc:docMk/>
            <pc:sldMk cId="2168043701" sldId="377"/>
            <ac:spMk id="4" creationId="{58FA9F76-FFBA-57E9-1BEF-73B28A067C7A}"/>
          </ac:spMkLst>
        </pc:spChg>
      </pc:sldChg>
      <pc:sldChg chg="add del">
        <pc:chgData name="Hans Gelissen (DHL SSC Maastricht)" userId="1afa8510-4eed-4b73-a29e-678838cd8acd" providerId="ADAL" clId="{F3A22D4D-2B68-4909-BFE7-4E46D0708FA9}" dt="2023-05-05T12:33:38.715" v="7386"/>
        <pc:sldMkLst>
          <pc:docMk/>
          <pc:sldMk cId="3987532808" sldId="377"/>
        </pc:sldMkLst>
      </pc:sldChg>
      <pc:sldChg chg="addSp delSp modSp add mod modClrScheme chgLayout">
        <pc:chgData name="Hans Gelissen (DHL SSC Maastricht)" userId="1afa8510-4eed-4b73-a29e-678838cd8acd" providerId="ADAL" clId="{F3A22D4D-2B68-4909-BFE7-4E46D0708FA9}" dt="2023-05-08T11:09:51.461" v="9872" actId="1076"/>
        <pc:sldMkLst>
          <pc:docMk/>
          <pc:sldMk cId="3350513513" sldId="378"/>
        </pc:sldMkLst>
        <pc:spChg chg="del mod ord">
          <ac:chgData name="Hans Gelissen (DHL SSC Maastricht)" userId="1afa8510-4eed-4b73-a29e-678838cd8acd" providerId="ADAL" clId="{F3A22D4D-2B68-4909-BFE7-4E46D0708FA9}" dt="2023-05-08T09:47:14.301" v="8636" actId="700"/>
          <ac:spMkLst>
            <pc:docMk/>
            <pc:sldMk cId="3350513513" sldId="378"/>
            <ac:spMk id="2" creationId="{E59E3F53-7A54-F733-2045-3875C72EA7B2}"/>
          </ac:spMkLst>
        </pc:spChg>
        <pc:spChg chg="del mod ord">
          <ac:chgData name="Hans Gelissen (DHL SSC Maastricht)" userId="1afa8510-4eed-4b73-a29e-678838cd8acd" providerId="ADAL" clId="{F3A22D4D-2B68-4909-BFE7-4E46D0708FA9}" dt="2023-05-08T09:47:14.301" v="8636" actId="700"/>
          <ac:spMkLst>
            <pc:docMk/>
            <pc:sldMk cId="3350513513" sldId="378"/>
            <ac:spMk id="3" creationId="{69CFC62A-49F1-6D40-552E-1AA4ED051E0E}"/>
          </ac:spMkLst>
        </pc:spChg>
        <pc:spChg chg="add mod ord">
          <ac:chgData name="Hans Gelissen (DHL SSC Maastricht)" userId="1afa8510-4eed-4b73-a29e-678838cd8acd" providerId="ADAL" clId="{F3A22D4D-2B68-4909-BFE7-4E46D0708FA9}" dt="2023-05-08T09:49:57.332" v="8932" actId="947"/>
          <ac:spMkLst>
            <pc:docMk/>
            <pc:sldMk cId="3350513513" sldId="378"/>
            <ac:spMk id="4" creationId="{471E727E-C464-4602-FC08-41A36BB0E380}"/>
          </ac:spMkLst>
        </pc:spChg>
        <pc:spChg chg="add mod ord">
          <ac:chgData name="Hans Gelissen (DHL SSC Maastricht)" userId="1afa8510-4eed-4b73-a29e-678838cd8acd" providerId="ADAL" clId="{F3A22D4D-2B68-4909-BFE7-4E46D0708FA9}" dt="2023-05-08T11:09:51.461" v="9872" actId="1076"/>
          <ac:spMkLst>
            <pc:docMk/>
            <pc:sldMk cId="3350513513" sldId="378"/>
            <ac:spMk id="5" creationId="{C0D840C6-9117-BE7D-78F3-1D4800B0EE12}"/>
          </ac:spMkLst>
        </pc:spChg>
      </pc:sldChg>
      <pc:sldChg chg="add del">
        <pc:chgData name="Hans Gelissen (DHL SSC Maastricht)" userId="1afa8510-4eed-4b73-a29e-678838cd8acd" providerId="ADAL" clId="{F3A22D4D-2B68-4909-BFE7-4E46D0708FA9}" dt="2023-05-08T10:05:55.496" v="9103" actId="47"/>
        <pc:sldMkLst>
          <pc:docMk/>
          <pc:sldMk cId="328131340" sldId="379"/>
        </pc:sldMkLst>
      </pc:sldChg>
      <pc:sldChg chg="addSp delSp modSp new del mod modClrScheme chgLayout">
        <pc:chgData name="Hans Gelissen (DHL SSC Maastricht)" userId="1afa8510-4eed-4b73-a29e-678838cd8acd" providerId="ADAL" clId="{F3A22D4D-2B68-4909-BFE7-4E46D0708FA9}" dt="2023-05-08T09:20:29.302" v="7837" actId="47"/>
        <pc:sldMkLst>
          <pc:docMk/>
          <pc:sldMk cId="930575723" sldId="379"/>
        </pc:sldMkLst>
        <pc:spChg chg="del mod ord">
          <ac:chgData name="Hans Gelissen (DHL SSC Maastricht)" userId="1afa8510-4eed-4b73-a29e-678838cd8acd" providerId="ADAL" clId="{F3A22D4D-2B68-4909-BFE7-4E46D0708FA9}" dt="2023-05-08T09:18:13.668" v="7827" actId="700"/>
          <ac:spMkLst>
            <pc:docMk/>
            <pc:sldMk cId="930575723" sldId="379"/>
            <ac:spMk id="2" creationId="{D74056A3-9383-144A-0BF5-C6009A31F085}"/>
          </ac:spMkLst>
        </pc:spChg>
        <pc:spChg chg="del">
          <ac:chgData name="Hans Gelissen (DHL SSC Maastricht)" userId="1afa8510-4eed-4b73-a29e-678838cd8acd" providerId="ADAL" clId="{F3A22D4D-2B68-4909-BFE7-4E46D0708FA9}" dt="2023-05-08T09:01:19.800" v="7733" actId="478"/>
          <ac:spMkLst>
            <pc:docMk/>
            <pc:sldMk cId="930575723" sldId="379"/>
            <ac:spMk id="3" creationId="{A38702F9-5B24-83C7-37CA-2E5CFB64F5B8}"/>
          </ac:spMkLst>
        </pc:spChg>
        <pc:spChg chg="mod">
          <ac:chgData name="Hans Gelissen (DHL SSC Maastricht)" userId="1afa8510-4eed-4b73-a29e-678838cd8acd" providerId="ADAL" clId="{F3A22D4D-2B68-4909-BFE7-4E46D0708FA9}" dt="2023-05-08T08:57:15.426" v="7712"/>
          <ac:spMkLst>
            <pc:docMk/>
            <pc:sldMk cId="930575723" sldId="379"/>
            <ac:spMk id="9" creationId="{6B786B44-C0E0-62A4-993A-DDD8ADE1545C}"/>
          </ac:spMkLst>
        </pc:spChg>
        <pc:spChg chg="mod">
          <ac:chgData name="Hans Gelissen (DHL SSC Maastricht)" userId="1afa8510-4eed-4b73-a29e-678838cd8acd" providerId="ADAL" clId="{F3A22D4D-2B68-4909-BFE7-4E46D0708FA9}" dt="2023-05-08T09:19:50.856" v="7835" actId="1076"/>
          <ac:spMkLst>
            <pc:docMk/>
            <pc:sldMk cId="930575723" sldId="379"/>
            <ac:spMk id="32" creationId="{923CF5E7-A207-0A37-6ECF-9A79A9045936}"/>
          </ac:spMkLst>
        </pc:spChg>
        <pc:spChg chg="add del mod ord">
          <ac:chgData name="Hans Gelissen (DHL SSC Maastricht)" userId="1afa8510-4eed-4b73-a29e-678838cd8acd" providerId="ADAL" clId="{F3A22D4D-2B68-4909-BFE7-4E46D0708FA9}" dt="2023-05-08T09:18:29.569" v="7828" actId="700"/>
          <ac:spMkLst>
            <pc:docMk/>
            <pc:sldMk cId="930575723" sldId="379"/>
            <ac:spMk id="33" creationId="{3AF42B9A-F3D2-E12B-77B7-C12510CAF898}"/>
          </ac:spMkLst>
        </pc:spChg>
        <pc:spChg chg="add del mod ord">
          <ac:chgData name="Hans Gelissen (DHL SSC Maastricht)" userId="1afa8510-4eed-4b73-a29e-678838cd8acd" providerId="ADAL" clId="{F3A22D4D-2B68-4909-BFE7-4E46D0708FA9}" dt="2023-05-08T09:18:29.569" v="7828" actId="700"/>
          <ac:spMkLst>
            <pc:docMk/>
            <pc:sldMk cId="930575723" sldId="379"/>
            <ac:spMk id="34" creationId="{E17EC846-0BE8-6F21-7DE7-B74CA3B91BFC}"/>
          </ac:spMkLst>
        </pc:spChg>
        <pc:spChg chg="add del mod ord">
          <ac:chgData name="Hans Gelissen (DHL SSC Maastricht)" userId="1afa8510-4eed-4b73-a29e-678838cd8acd" providerId="ADAL" clId="{F3A22D4D-2B68-4909-BFE7-4E46D0708FA9}" dt="2023-05-08T09:18:29.569" v="7828" actId="700"/>
          <ac:spMkLst>
            <pc:docMk/>
            <pc:sldMk cId="930575723" sldId="379"/>
            <ac:spMk id="35" creationId="{2E094B62-0EB8-87D6-617C-EDE004D750D4}"/>
          </ac:spMkLst>
        </pc:spChg>
        <pc:spChg chg="add mod ord">
          <ac:chgData name="Hans Gelissen (DHL SSC Maastricht)" userId="1afa8510-4eed-4b73-a29e-678838cd8acd" providerId="ADAL" clId="{F3A22D4D-2B68-4909-BFE7-4E46D0708FA9}" dt="2023-05-08T09:18:29.569" v="7828" actId="700"/>
          <ac:spMkLst>
            <pc:docMk/>
            <pc:sldMk cId="930575723" sldId="379"/>
            <ac:spMk id="36" creationId="{14EF51E3-028F-4708-AFE0-F219981376B4}"/>
          </ac:spMkLst>
        </pc:spChg>
        <pc:spChg chg="add del mod ord">
          <ac:chgData name="Hans Gelissen (DHL SSC Maastricht)" userId="1afa8510-4eed-4b73-a29e-678838cd8acd" providerId="ADAL" clId="{F3A22D4D-2B68-4909-BFE7-4E46D0708FA9}" dt="2023-05-08T09:19:00.303" v="7829" actId="931"/>
          <ac:spMkLst>
            <pc:docMk/>
            <pc:sldMk cId="930575723" sldId="379"/>
            <ac:spMk id="37" creationId="{D4C9B5D8-6636-AFC7-4854-065523840C98}"/>
          </ac:spMkLst>
        </pc:spChg>
        <pc:spChg chg="add del mod ord">
          <ac:chgData name="Hans Gelissen (DHL SSC Maastricht)" userId="1afa8510-4eed-4b73-a29e-678838cd8acd" providerId="ADAL" clId="{F3A22D4D-2B68-4909-BFE7-4E46D0708FA9}" dt="2023-05-08T09:19:17.053" v="7832" actId="478"/>
          <ac:spMkLst>
            <pc:docMk/>
            <pc:sldMk cId="930575723" sldId="379"/>
            <ac:spMk id="38" creationId="{43222874-0F8A-A0F9-D8AF-7A3AB2C21FA6}"/>
          </ac:spMkLst>
        </pc:spChg>
        <pc:grpChg chg="add del mod">
          <ac:chgData name="Hans Gelissen (DHL SSC Maastricht)" userId="1afa8510-4eed-4b73-a29e-678838cd8acd" providerId="ADAL" clId="{F3A22D4D-2B68-4909-BFE7-4E46D0708FA9}" dt="2023-05-08T09:00:56.730" v="7728" actId="478"/>
          <ac:grpSpMkLst>
            <pc:docMk/>
            <pc:sldMk cId="930575723" sldId="379"/>
            <ac:grpSpMk id="4" creationId="{06AD5AEB-3FEF-0DB4-D4FF-086040207024}"/>
          </ac:grpSpMkLst>
        </pc:grpChg>
        <pc:grpChg chg="add mod">
          <ac:chgData name="Hans Gelissen (DHL SSC Maastricht)" userId="1afa8510-4eed-4b73-a29e-678838cd8acd" providerId="ADAL" clId="{F3A22D4D-2B68-4909-BFE7-4E46D0708FA9}" dt="2023-05-08T09:19:50.856" v="7835" actId="1076"/>
          <ac:grpSpMkLst>
            <pc:docMk/>
            <pc:sldMk cId="930575723" sldId="379"/>
            <ac:grpSpMk id="27" creationId="{A466F15D-FA8E-98C6-F63B-11A8A20A03AD}"/>
          </ac:grpSpMkLst>
        </pc:grpChg>
        <pc:picChg chg="mod">
          <ac:chgData name="Hans Gelissen (DHL SSC Maastricht)" userId="1afa8510-4eed-4b73-a29e-678838cd8acd" providerId="ADAL" clId="{F3A22D4D-2B68-4909-BFE7-4E46D0708FA9}" dt="2023-05-08T08:57:15.426" v="7712"/>
          <ac:picMkLst>
            <pc:docMk/>
            <pc:sldMk cId="930575723" sldId="379"/>
            <ac:picMk id="5" creationId="{01FC096B-0EC1-A80A-E8BF-489B68A50780}"/>
          </ac:picMkLst>
        </pc:picChg>
        <pc:picChg chg="mod">
          <ac:chgData name="Hans Gelissen (DHL SSC Maastricht)" userId="1afa8510-4eed-4b73-a29e-678838cd8acd" providerId="ADAL" clId="{F3A22D4D-2B68-4909-BFE7-4E46D0708FA9}" dt="2023-05-08T08:57:15.426" v="7712"/>
          <ac:picMkLst>
            <pc:docMk/>
            <pc:sldMk cId="930575723" sldId="379"/>
            <ac:picMk id="6" creationId="{1E25D690-175B-AB63-7D67-D518A1504457}"/>
          </ac:picMkLst>
        </pc:picChg>
        <pc:picChg chg="mod">
          <ac:chgData name="Hans Gelissen (DHL SSC Maastricht)" userId="1afa8510-4eed-4b73-a29e-678838cd8acd" providerId="ADAL" clId="{F3A22D4D-2B68-4909-BFE7-4E46D0708FA9}" dt="2023-05-08T08:57:15.426" v="7712"/>
          <ac:picMkLst>
            <pc:docMk/>
            <pc:sldMk cId="930575723" sldId="379"/>
            <ac:picMk id="7" creationId="{05C6599E-CDD7-8A5D-00E3-BE76E000EC4E}"/>
          </ac:picMkLst>
        </pc:picChg>
        <pc:picChg chg="mod">
          <ac:chgData name="Hans Gelissen (DHL SSC Maastricht)" userId="1afa8510-4eed-4b73-a29e-678838cd8acd" providerId="ADAL" clId="{F3A22D4D-2B68-4909-BFE7-4E46D0708FA9}" dt="2023-05-08T08:57:15.426" v="7712"/>
          <ac:picMkLst>
            <pc:docMk/>
            <pc:sldMk cId="930575723" sldId="379"/>
            <ac:picMk id="8" creationId="{E67BB190-C960-17C0-81F7-658FB9017134}"/>
          </ac:picMkLst>
        </pc:picChg>
        <pc:picChg chg="add del mod">
          <ac:chgData name="Hans Gelissen (DHL SSC Maastricht)" userId="1afa8510-4eed-4b73-a29e-678838cd8acd" providerId="ADAL" clId="{F3A22D4D-2B68-4909-BFE7-4E46D0708FA9}" dt="2023-05-08T09:00:02.964" v="7718" actId="478"/>
          <ac:picMkLst>
            <pc:docMk/>
            <pc:sldMk cId="930575723" sldId="379"/>
            <ac:picMk id="11" creationId="{CFC19F41-811D-C5DA-FBFE-3D657F02A0D0}"/>
          </ac:picMkLst>
        </pc:picChg>
        <pc:picChg chg="add del mod modCrop">
          <ac:chgData name="Hans Gelissen (DHL SSC Maastricht)" userId="1afa8510-4eed-4b73-a29e-678838cd8acd" providerId="ADAL" clId="{F3A22D4D-2B68-4909-BFE7-4E46D0708FA9}" dt="2023-05-08T09:15:26.563" v="7803" actId="478"/>
          <ac:picMkLst>
            <pc:docMk/>
            <pc:sldMk cId="930575723" sldId="379"/>
            <ac:picMk id="13" creationId="{65F791AF-7364-5373-262C-98B21584FD6B}"/>
          </ac:picMkLst>
        </pc:picChg>
        <pc:picChg chg="add del mod ord">
          <ac:chgData name="Hans Gelissen (DHL SSC Maastricht)" userId="1afa8510-4eed-4b73-a29e-678838cd8acd" providerId="ADAL" clId="{F3A22D4D-2B68-4909-BFE7-4E46D0708FA9}" dt="2023-05-08T09:15:26.563" v="7803" actId="478"/>
          <ac:picMkLst>
            <pc:docMk/>
            <pc:sldMk cId="930575723" sldId="379"/>
            <ac:picMk id="15" creationId="{8C09DBCB-7FB4-F816-0BE0-DF4D923DD7AA}"/>
          </ac:picMkLst>
        </pc:picChg>
        <pc:picChg chg="add del mod">
          <ac:chgData name="Hans Gelissen (DHL SSC Maastricht)" userId="1afa8510-4eed-4b73-a29e-678838cd8acd" providerId="ADAL" clId="{F3A22D4D-2B68-4909-BFE7-4E46D0708FA9}" dt="2023-05-08T09:13:36.222" v="7793" actId="478"/>
          <ac:picMkLst>
            <pc:docMk/>
            <pc:sldMk cId="930575723" sldId="379"/>
            <ac:picMk id="17" creationId="{3B37E16B-E526-573A-55FF-D34DF4F9D3C2}"/>
          </ac:picMkLst>
        </pc:picChg>
        <pc:picChg chg="add del mod ord">
          <ac:chgData name="Hans Gelissen (DHL SSC Maastricht)" userId="1afa8510-4eed-4b73-a29e-678838cd8acd" providerId="ADAL" clId="{F3A22D4D-2B68-4909-BFE7-4E46D0708FA9}" dt="2023-05-08T09:15:26.563" v="7803" actId="478"/>
          <ac:picMkLst>
            <pc:docMk/>
            <pc:sldMk cId="930575723" sldId="379"/>
            <ac:picMk id="19" creationId="{BCB5C3A9-83EA-9E85-16DA-F2B7A57AAFE6}"/>
          </ac:picMkLst>
        </pc:picChg>
        <pc:picChg chg="add del mod ord modCrop">
          <ac:chgData name="Hans Gelissen (DHL SSC Maastricht)" userId="1afa8510-4eed-4b73-a29e-678838cd8acd" providerId="ADAL" clId="{F3A22D4D-2B68-4909-BFE7-4E46D0708FA9}" dt="2023-05-08T09:15:26.563" v="7803" actId="478"/>
          <ac:picMkLst>
            <pc:docMk/>
            <pc:sldMk cId="930575723" sldId="379"/>
            <ac:picMk id="26" creationId="{76E2FF2F-B452-9FBF-C15C-8A1A21B04357}"/>
          </ac:picMkLst>
        </pc:picChg>
        <pc:picChg chg="mod">
          <ac:chgData name="Hans Gelissen (DHL SSC Maastricht)" userId="1afa8510-4eed-4b73-a29e-678838cd8acd" providerId="ADAL" clId="{F3A22D4D-2B68-4909-BFE7-4E46D0708FA9}" dt="2023-05-08T09:19:54.633" v="7836" actId="166"/>
          <ac:picMkLst>
            <pc:docMk/>
            <pc:sldMk cId="930575723" sldId="379"/>
            <ac:picMk id="28" creationId="{1A000403-5CCD-284C-A9B0-63B9F78DB7A0}"/>
          </ac:picMkLst>
        </pc:picChg>
        <pc:picChg chg="mod">
          <ac:chgData name="Hans Gelissen (DHL SSC Maastricht)" userId="1afa8510-4eed-4b73-a29e-678838cd8acd" providerId="ADAL" clId="{F3A22D4D-2B68-4909-BFE7-4E46D0708FA9}" dt="2023-05-08T09:19:50.856" v="7835" actId="1076"/>
          <ac:picMkLst>
            <pc:docMk/>
            <pc:sldMk cId="930575723" sldId="379"/>
            <ac:picMk id="29" creationId="{AC3833B6-0868-60F3-B9EF-B1B2EBD4F414}"/>
          </ac:picMkLst>
        </pc:picChg>
        <pc:picChg chg="mod">
          <ac:chgData name="Hans Gelissen (DHL SSC Maastricht)" userId="1afa8510-4eed-4b73-a29e-678838cd8acd" providerId="ADAL" clId="{F3A22D4D-2B68-4909-BFE7-4E46D0708FA9}" dt="2023-05-08T09:19:50.856" v="7835" actId="1076"/>
          <ac:picMkLst>
            <pc:docMk/>
            <pc:sldMk cId="930575723" sldId="379"/>
            <ac:picMk id="30" creationId="{4A559E5F-8146-0BA4-4083-A45F69F393E5}"/>
          </ac:picMkLst>
        </pc:picChg>
        <pc:picChg chg="mod">
          <ac:chgData name="Hans Gelissen (DHL SSC Maastricht)" userId="1afa8510-4eed-4b73-a29e-678838cd8acd" providerId="ADAL" clId="{F3A22D4D-2B68-4909-BFE7-4E46D0708FA9}" dt="2023-05-08T09:19:50.856" v="7835" actId="1076"/>
          <ac:picMkLst>
            <pc:docMk/>
            <pc:sldMk cId="930575723" sldId="379"/>
            <ac:picMk id="31" creationId="{C454AA77-BCB5-BDDA-6153-BA411C362F78}"/>
          </ac:picMkLst>
        </pc:picChg>
        <pc:picChg chg="add mod">
          <ac:chgData name="Hans Gelissen (DHL SSC Maastricht)" userId="1afa8510-4eed-4b73-a29e-678838cd8acd" providerId="ADAL" clId="{F3A22D4D-2B68-4909-BFE7-4E46D0708FA9}" dt="2023-05-08T09:19:01.329" v="7831" actId="962"/>
          <ac:picMkLst>
            <pc:docMk/>
            <pc:sldMk cId="930575723" sldId="379"/>
            <ac:picMk id="40" creationId="{5EF91D12-B957-860A-FC81-B07FD3C54C2F}"/>
          </ac:picMkLst>
        </pc:picChg>
        <pc:picChg chg="add del mod">
          <ac:chgData name="Hans Gelissen (DHL SSC Maastricht)" userId="1afa8510-4eed-4b73-a29e-678838cd8acd" providerId="ADAL" clId="{F3A22D4D-2B68-4909-BFE7-4E46D0708FA9}" dt="2023-05-08T09:14:00.326" v="7798" actId="478"/>
          <ac:picMkLst>
            <pc:docMk/>
            <pc:sldMk cId="930575723" sldId="379"/>
            <ac:picMk id="2050" creationId="{D1B795CE-308A-FE1E-00F6-A167500BD541}"/>
          </ac:picMkLst>
        </pc:picChg>
        <pc:cxnChg chg="add del mod">
          <ac:chgData name="Hans Gelissen (DHL SSC Maastricht)" userId="1afa8510-4eed-4b73-a29e-678838cd8acd" providerId="ADAL" clId="{F3A22D4D-2B68-4909-BFE7-4E46D0708FA9}" dt="2023-05-08T09:15:26.563" v="7803" actId="478"/>
          <ac:cxnSpMkLst>
            <pc:docMk/>
            <pc:sldMk cId="930575723" sldId="379"/>
            <ac:cxnSpMk id="21" creationId="{E39CEE91-DBAA-B632-A6E4-8AB52DC2507E}"/>
          </ac:cxnSpMkLst>
        </pc:cxnChg>
        <pc:cxnChg chg="add del mod">
          <ac:chgData name="Hans Gelissen (DHL SSC Maastricht)" userId="1afa8510-4eed-4b73-a29e-678838cd8acd" providerId="ADAL" clId="{F3A22D4D-2B68-4909-BFE7-4E46D0708FA9}" dt="2023-05-08T09:15:26.563" v="7803" actId="478"/>
          <ac:cxnSpMkLst>
            <pc:docMk/>
            <pc:sldMk cId="930575723" sldId="379"/>
            <ac:cxnSpMk id="22" creationId="{C30675DC-C860-6A83-6568-91B1FD2CED85}"/>
          </ac:cxnSpMkLst>
        </pc:cxnChg>
      </pc:sldChg>
      <pc:sldChg chg="add del">
        <pc:chgData name="Hans Gelissen (DHL SSC Maastricht)" userId="1afa8510-4eed-4b73-a29e-678838cd8acd" providerId="ADAL" clId="{F3A22D4D-2B68-4909-BFE7-4E46D0708FA9}" dt="2023-05-08T09:49:16.460" v="8931" actId="47"/>
        <pc:sldMkLst>
          <pc:docMk/>
          <pc:sldMk cId="1448624950" sldId="379"/>
        </pc:sldMkLst>
      </pc:sldChg>
      <pc:sldChg chg="addSp delSp modSp add mod">
        <pc:chgData name="Hans Gelissen (DHL SSC Maastricht)" userId="1afa8510-4eed-4b73-a29e-678838cd8acd" providerId="ADAL" clId="{F3A22D4D-2B68-4909-BFE7-4E46D0708FA9}" dt="2023-05-15T12:21:19.257" v="10697" actId="20577"/>
        <pc:sldMkLst>
          <pc:docMk/>
          <pc:sldMk cId="3872971079" sldId="379"/>
        </pc:sldMkLst>
        <pc:spChg chg="mod">
          <ac:chgData name="Hans Gelissen (DHL SSC Maastricht)" userId="1afa8510-4eed-4b73-a29e-678838cd8acd" providerId="ADAL" clId="{F3A22D4D-2B68-4909-BFE7-4E46D0708FA9}" dt="2023-05-08T10:52:56.457" v="9525" actId="207"/>
          <ac:spMkLst>
            <pc:docMk/>
            <pc:sldMk cId="3872971079" sldId="379"/>
            <ac:spMk id="2" creationId="{E59E3F53-7A54-F733-2045-3875C72EA7B2}"/>
          </ac:spMkLst>
        </pc:spChg>
        <pc:spChg chg="add mod">
          <ac:chgData name="Hans Gelissen (DHL SSC Maastricht)" userId="1afa8510-4eed-4b73-a29e-678838cd8acd" providerId="ADAL" clId="{F3A22D4D-2B68-4909-BFE7-4E46D0708FA9}" dt="2023-05-08T10:30:23.982" v="9219" actId="1076"/>
          <ac:spMkLst>
            <pc:docMk/>
            <pc:sldMk cId="3872971079" sldId="379"/>
            <ac:spMk id="3" creationId="{FF71FCC5-06B2-BEDA-F673-090BFAE8D1C9}"/>
          </ac:spMkLst>
        </pc:spChg>
        <pc:spChg chg="add del mod">
          <ac:chgData name="Hans Gelissen (DHL SSC Maastricht)" userId="1afa8510-4eed-4b73-a29e-678838cd8acd" providerId="ADAL" clId="{F3A22D4D-2B68-4909-BFE7-4E46D0708FA9}" dt="2023-05-08T10:45:32.706" v="9458" actId="478"/>
          <ac:spMkLst>
            <pc:docMk/>
            <pc:sldMk cId="3872971079" sldId="379"/>
            <ac:spMk id="4" creationId="{69C40DDE-2EFD-C282-D6FA-32E8C4056197}"/>
          </ac:spMkLst>
        </pc:spChg>
        <pc:spChg chg="add mod">
          <ac:chgData name="Hans Gelissen (DHL SSC Maastricht)" userId="1afa8510-4eed-4b73-a29e-678838cd8acd" providerId="ADAL" clId="{F3A22D4D-2B68-4909-BFE7-4E46D0708FA9}" dt="2023-05-15T12:21:19.257" v="10697" actId="20577"/>
          <ac:spMkLst>
            <pc:docMk/>
            <pc:sldMk cId="3872971079" sldId="379"/>
            <ac:spMk id="7" creationId="{9BA655B8-FEBF-FD80-A009-42E10FF67DC3}"/>
          </ac:spMkLst>
        </pc:spChg>
        <pc:spChg chg="add del mod">
          <ac:chgData name="Hans Gelissen (DHL SSC Maastricht)" userId="1afa8510-4eed-4b73-a29e-678838cd8acd" providerId="ADAL" clId="{F3A22D4D-2B68-4909-BFE7-4E46D0708FA9}" dt="2023-05-15T12:20:23.567" v="10696"/>
          <ac:spMkLst>
            <pc:docMk/>
            <pc:sldMk cId="3872971079" sldId="379"/>
            <ac:spMk id="9" creationId="{2B157086-DDFB-70B5-3FE6-BB7177E8B0AB}"/>
          </ac:spMkLst>
        </pc:spChg>
        <pc:picChg chg="add del mod">
          <ac:chgData name="Hans Gelissen (DHL SSC Maastricht)" userId="1afa8510-4eed-4b73-a29e-678838cd8acd" providerId="ADAL" clId="{F3A22D4D-2B68-4909-BFE7-4E46D0708FA9}" dt="2023-05-15T12:20:23.567" v="10696"/>
          <ac:picMkLst>
            <pc:docMk/>
            <pc:sldMk cId="3872971079" sldId="379"/>
            <ac:picMk id="4" creationId="{6E84C799-6274-8575-34B7-E15F316CBA14}"/>
          </ac:picMkLst>
        </pc:picChg>
        <pc:picChg chg="mod">
          <ac:chgData name="Hans Gelissen (DHL SSC Maastricht)" userId="1afa8510-4eed-4b73-a29e-678838cd8acd" providerId="ADAL" clId="{F3A22D4D-2B68-4909-BFE7-4E46D0708FA9}" dt="2023-05-08T12:13:32.591" v="10223"/>
          <ac:picMkLst>
            <pc:docMk/>
            <pc:sldMk cId="3872971079" sldId="379"/>
            <ac:picMk id="5" creationId="{D28B3229-114B-18E2-534E-5D899AB67213}"/>
          </ac:picMkLst>
        </pc:picChg>
        <pc:picChg chg="mod">
          <ac:chgData name="Hans Gelissen (DHL SSC Maastricht)" userId="1afa8510-4eed-4b73-a29e-678838cd8acd" providerId="ADAL" clId="{F3A22D4D-2B68-4909-BFE7-4E46D0708FA9}" dt="2023-05-08T12:13:56.329" v="10225"/>
          <ac:picMkLst>
            <pc:docMk/>
            <pc:sldMk cId="3872971079" sldId="379"/>
            <ac:picMk id="6" creationId="{A5B502DD-70EA-E6E4-BF03-D50D941EEE1A}"/>
          </ac:picMkLst>
        </pc:picChg>
        <pc:picChg chg="add del mod">
          <ac:chgData name="Hans Gelissen (DHL SSC Maastricht)" userId="1afa8510-4eed-4b73-a29e-678838cd8acd" providerId="ADAL" clId="{F3A22D4D-2B68-4909-BFE7-4E46D0708FA9}" dt="2023-05-08T12:12:12.753" v="10212" actId="478"/>
          <ac:picMkLst>
            <pc:docMk/>
            <pc:sldMk cId="3872971079" sldId="379"/>
            <ac:picMk id="8" creationId="{21529FA0-C61B-0544-953A-6796B0F09DCE}"/>
          </ac:picMkLst>
        </pc:picChg>
        <pc:picChg chg="add del mod">
          <ac:chgData name="Hans Gelissen (DHL SSC Maastricht)" userId="1afa8510-4eed-4b73-a29e-678838cd8acd" providerId="ADAL" clId="{F3A22D4D-2B68-4909-BFE7-4E46D0708FA9}" dt="2023-05-15T12:20:23.567" v="10696"/>
          <ac:picMkLst>
            <pc:docMk/>
            <pc:sldMk cId="3872971079" sldId="379"/>
            <ac:picMk id="8" creationId="{DCC92849-8708-EE67-4185-3D73FFBAE13F}"/>
          </ac:picMkLst>
        </pc:picChg>
        <pc:picChg chg="add del mod">
          <ac:chgData name="Hans Gelissen (DHL SSC Maastricht)" userId="1afa8510-4eed-4b73-a29e-678838cd8acd" providerId="ADAL" clId="{F3A22D4D-2B68-4909-BFE7-4E46D0708FA9}" dt="2023-05-15T12:20:23.567" v="10696"/>
          <ac:picMkLst>
            <pc:docMk/>
            <pc:sldMk cId="3872971079" sldId="379"/>
            <ac:picMk id="10" creationId="{BA730572-259D-61D6-99AB-E62A43AFAB6D}"/>
          </ac:picMkLst>
        </pc:picChg>
        <pc:picChg chg="add mod">
          <ac:chgData name="Hans Gelissen (DHL SSC Maastricht)" userId="1afa8510-4eed-4b73-a29e-678838cd8acd" providerId="ADAL" clId="{F3A22D4D-2B68-4909-BFE7-4E46D0708FA9}" dt="2023-05-08T12:12:10.437" v="10211" actId="166"/>
          <ac:picMkLst>
            <pc:docMk/>
            <pc:sldMk cId="3872971079" sldId="379"/>
            <ac:picMk id="6146" creationId="{D6F1790A-4303-D749-8FD0-8CD3474F7791}"/>
          </ac:picMkLst>
        </pc:picChg>
      </pc:sldChg>
      <pc:sldChg chg="add del">
        <pc:chgData name="Hans Gelissen (DHL SSC Maastricht)" userId="1afa8510-4eed-4b73-a29e-678838cd8acd" providerId="ADAL" clId="{F3A22D4D-2B68-4909-BFE7-4E46D0708FA9}" dt="2023-05-08T09:49:16.460" v="8931" actId="47"/>
        <pc:sldMkLst>
          <pc:docMk/>
          <pc:sldMk cId="749954093" sldId="380"/>
        </pc:sldMkLst>
      </pc:sldChg>
      <pc:sldChg chg="addSp modSp add mod">
        <pc:chgData name="Hans Gelissen (DHL SSC Maastricht)" userId="1afa8510-4eed-4b73-a29e-678838cd8acd" providerId="ADAL" clId="{F3A22D4D-2B68-4909-BFE7-4E46D0708FA9}" dt="2023-05-08T15:35:46.200" v="10236" actId="20577"/>
        <pc:sldMkLst>
          <pc:docMk/>
          <pc:sldMk cId="1495484792" sldId="380"/>
        </pc:sldMkLst>
        <pc:spChg chg="mod">
          <ac:chgData name="Hans Gelissen (DHL SSC Maastricht)" userId="1afa8510-4eed-4b73-a29e-678838cd8acd" providerId="ADAL" clId="{F3A22D4D-2B68-4909-BFE7-4E46D0708FA9}" dt="2023-05-08T10:52:59.988" v="9526" actId="207"/>
          <ac:spMkLst>
            <pc:docMk/>
            <pc:sldMk cId="1495484792" sldId="380"/>
            <ac:spMk id="2" creationId="{E59E3F53-7A54-F733-2045-3875C72EA7B2}"/>
          </ac:spMkLst>
        </pc:spChg>
        <pc:spChg chg="add mod">
          <ac:chgData name="Hans Gelissen (DHL SSC Maastricht)" userId="1afa8510-4eed-4b73-a29e-678838cd8acd" providerId="ADAL" clId="{F3A22D4D-2B68-4909-BFE7-4E46D0708FA9}" dt="2023-05-08T15:35:46.200" v="10236" actId="20577"/>
          <ac:spMkLst>
            <pc:docMk/>
            <pc:sldMk cId="1495484792" sldId="380"/>
            <ac:spMk id="3" creationId="{01F491A5-2E03-4122-9EAF-1AF19040581B}"/>
          </ac:spMkLst>
        </pc:spChg>
        <pc:picChg chg="mod">
          <ac:chgData name="Hans Gelissen (DHL SSC Maastricht)" userId="1afa8510-4eed-4b73-a29e-678838cd8acd" providerId="ADAL" clId="{F3A22D4D-2B68-4909-BFE7-4E46D0708FA9}" dt="2023-05-08T12:14:25.730" v="10226" actId="1366"/>
          <ac:picMkLst>
            <pc:docMk/>
            <pc:sldMk cId="1495484792" sldId="380"/>
            <ac:picMk id="5" creationId="{D28B3229-114B-18E2-534E-5D899AB67213}"/>
          </ac:picMkLst>
        </pc:picChg>
        <pc:picChg chg="add mod">
          <ac:chgData name="Hans Gelissen (DHL SSC Maastricht)" userId="1afa8510-4eed-4b73-a29e-678838cd8acd" providerId="ADAL" clId="{F3A22D4D-2B68-4909-BFE7-4E46D0708FA9}" dt="2023-05-08T10:31:22.096" v="9222" actId="1076"/>
          <ac:picMkLst>
            <pc:docMk/>
            <pc:sldMk cId="1495484792" sldId="380"/>
            <ac:picMk id="5122" creationId="{E5ADA6EB-4712-CBBD-0CFF-3BEBABB6DAE2}"/>
          </ac:picMkLst>
        </pc:picChg>
      </pc:sldChg>
      <pc:sldChg chg="addSp delSp modSp add mod">
        <pc:chgData name="Hans Gelissen (DHL SSC Maastricht)" userId="1afa8510-4eed-4b73-a29e-678838cd8acd" providerId="ADAL" clId="{F3A22D4D-2B68-4909-BFE7-4E46D0708FA9}" dt="2023-05-15T12:11:06.041" v="10693" actId="164"/>
        <pc:sldMkLst>
          <pc:docMk/>
          <pc:sldMk cId="1248519018" sldId="381"/>
        </pc:sldMkLst>
        <pc:spChg chg="mod">
          <ac:chgData name="Hans Gelissen (DHL SSC Maastricht)" userId="1afa8510-4eed-4b73-a29e-678838cd8acd" providerId="ADAL" clId="{F3A22D4D-2B68-4909-BFE7-4E46D0708FA9}" dt="2023-05-08T10:54:14.520" v="9531" actId="20577"/>
          <ac:spMkLst>
            <pc:docMk/>
            <pc:sldMk cId="1248519018" sldId="381"/>
            <ac:spMk id="2" creationId="{E59E3F53-7A54-F733-2045-3875C72EA7B2}"/>
          </ac:spMkLst>
        </pc:spChg>
        <pc:spChg chg="add mod">
          <ac:chgData name="Hans Gelissen (DHL SSC Maastricht)" userId="1afa8510-4eed-4b73-a29e-678838cd8acd" providerId="ADAL" clId="{F3A22D4D-2B68-4909-BFE7-4E46D0708FA9}" dt="2023-05-15T12:11:06.041" v="10693" actId="164"/>
          <ac:spMkLst>
            <pc:docMk/>
            <pc:sldMk cId="1248519018" sldId="381"/>
            <ac:spMk id="3" creationId="{E6121929-56F1-E7FF-41A3-6BBBBD910368}"/>
          </ac:spMkLst>
        </pc:spChg>
        <pc:spChg chg="add mod">
          <ac:chgData name="Hans Gelissen (DHL SSC Maastricht)" userId="1afa8510-4eed-4b73-a29e-678838cd8acd" providerId="ADAL" clId="{F3A22D4D-2B68-4909-BFE7-4E46D0708FA9}" dt="2023-05-15T12:11:06.041" v="10693" actId="164"/>
          <ac:spMkLst>
            <pc:docMk/>
            <pc:sldMk cId="1248519018" sldId="381"/>
            <ac:spMk id="4" creationId="{CC1446AF-D84B-2B26-8E06-6CDB95C892DB}"/>
          </ac:spMkLst>
        </pc:spChg>
        <pc:grpChg chg="add mod">
          <ac:chgData name="Hans Gelissen (DHL SSC Maastricht)" userId="1afa8510-4eed-4b73-a29e-678838cd8acd" providerId="ADAL" clId="{F3A22D4D-2B68-4909-BFE7-4E46D0708FA9}" dt="2023-05-15T12:11:06.041" v="10693" actId="164"/>
          <ac:grpSpMkLst>
            <pc:docMk/>
            <pc:sldMk cId="1248519018" sldId="381"/>
            <ac:grpSpMk id="7" creationId="{217657C1-0BB3-C050-158A-97A4FA6138FD}"/>
          </ac:grpSpMkLst>
        </pc:grpChg>
        <pc:picChg chg="mod">
          <ac:chgData name="Hans Gelissen (DHL SSC Maastricht)" userId="1afa8510-4eed-4b73-a29e-678838cd8acd" providerId="ADAL" clId="{F3A22D4D-2B68-4909-BFE7-4E46D0708FA9}" dt="2023-05-08T12:13:51.129" v="10224"/>
          <ac:picMkLst>
            <pc:docMk/>
            <pc:sldMk cId="1248519018" sldId="381"/>
            <ac:picMk id="6" creationId="{A5B502DD-70EA-E6E4-BF03-D50D941EEE1A}"/>
          </ac:picMkLst>
        </pc:picChg>
        <pc:picChg chg="del">
          <ac:chgData name="Hans Gelissen (DHL SSC Maastricht)" userId="1afa8510-4eed-4b73-a29e-678838cd8acd" providerId="ADAL" clId="{F3A22D4D-2B68-4909-BFE7-4E46D0708FA9}" dt="2023-05-08T10:37:34.601" v="9333" actId="478"/>
          <ac:picMkLst>
            <pc:docMk/>
            <pc:sldMk cId="1248519018" sldId="381"/>
            <ac:picMk id="8" creationId="{1A3154DA-B687-BBB9-8190-31DA2CAE507D}"/>
          </ac:picMkLst>
        </pc:picChg>
        <pc:picChg chg="del">
          <ac:chgData name="Hans Gelissen (DHL SSC Maastricht)" userId="1afa8510-4eed-4b73-a29e-678838cd8acd" providerId="ADAL" clId="{F3A22D4D-2B68-4909-BFE7-4E46D0708FA9}" dt="2023-05-08T10:37:40.330" v="9335" actId="478"/>
          <ac:picMkLst>
            <pc:docMk/>
            <pc:sldMk cId="1248519018" sldId="381"/>
            <ac:picMk id="9" creationId="{8F400FED-1619-D544-B7FF-F71E04A12745}"/>
          </ac:picMkLst>
        </pc:picChg>
        <pc:picChg chg="del">
          <ac:chgData name="Hans Gelissen (DHL SSC Maastricht)" userId="1afa8510-4eed-4b73-a29e-678838cd8acd" providerId="ADAL" clId="{F3A22D4D-2B68-4909-BFE7-4E46D0708FA9}" dt="2023-05-08T10:37:41.908" v="9336" actId="478"/>
          <ac:picMkLst>
            <pc:docMk/>
            <pc:sldMk cId="1248519018" sldId="381"/>
            <ac:picMk id="10" creationId="{ADEA83E3-6C3D-D0B3-9A0E-B3A9192BA472}"/>
          </ac:picMkLst>
        </pc:picChg>
        <pc:picChg chg="mod">
          <ac:chgData name="Hans Gelissen (DHL SSC Maastricht)" userId="1afa8510-4eed-4b73-a29e-678838cd8acd" providerId="ADAL" clId="{F3A22D4D-2B68-4909-BFE7-4E46D0708FA9}" dt="2023-05-08T10:38:58.370" v="9343" actId="1076"/>
          <ac:picMkLst>
            <pc:docMk/>
            <pc:sldMk cId="1248519018" sldId="381"/>
            <ac:picMk id="4100" creationId="{6AD4BAE4-9A39-2BB3-850A-F68C1D78D72C}"/>
          </ac:picMkLst>
        </pc:picChg>
        <pc:picChg chg="mod">
          <ac:chgData name="Hans Gelissen (DHL SSC Maastricht)" userId="1afa8510-4eed-4b73-a29e-678838cd8acd" providerId="ADAL" clId="{F3A22D4D-2B68-4909-BFE7-4E46D0708FA9}" dt="2023-05-15T12:11:06.041" v="10693" actId="164"/>
          <ac:picMkLst>
            <pc:docMk/>
            <pc:sldMk cId="1248519018" sldId="381"/>
            <ac:picMk id="4102" creationId="{9FC09745-6039-4383-FC65-C102A98D9084}"/>
          </ac:picMkLst>
        </pc:picChg>
      </pc:sldChg>
      <pc:sldChg chg="add del">
        <pc:chgData name="Hans Gelissen (DHL SSC Maastricht)" userId="1afa8510-4eed-4b73-a29e-678838cd8acd" providerId="ADAL" clId="{F3A22D4D-2B68-4909-BFE7-4E46D0708FA9}" dt="2023-05-08T09:49:16.460" v="8931" actId="47"/>
        <pc:sldMkLst>
          <pc:docMk/>
          <pc:sldMk cId="1930614299" sldId="381"/>
        </pc:sldMkLst>
      </pc:sldChg>
      <pc:sldChg chg="addSp delSp modSp add mod modClrScheme chgLayout">
        <pc:chgData name="Hans Gelissen (DHL SSC Maastricht)" userId="1afa8510-4eed-4b73-a29e-678838cd8acd" providerId="ADAL" clId="{F3A22D4D-2B68-4909-BFE7-4E46D0708FA9}" dt="2023-05-10T08:49:10.948" v="10266" actId="20577"/>
        <pc:sldMkLst>
          <pc:docMk/>
          <pc:sldMk cId="344286644" sldId="382"/>
        </pc:sldMkLst>
        <pc:spChg chg="del mod ord">
          <ac:chgData name="Hans Gelissen (DHL SSC Maastricht)" userId="1afa8510-4eed-4b73-a29e-678838cd8acd" providerId="ADAL" clId="{F3A22D4D-2B68-4909-BFE7-4E46D0708FA9}" dt="2023-05-08T11:11:51.661" v="9874" actId="700"/>
          <ac:spMkLst>
            <pc:docMk/>
            <pc:sldMk cId="344286644" sldId="382"/>
            <ac:spMk id="2" creationId="{1B340C43-F6E6-7669-B73F-C779004236A9}"/>
          </ac:spMkLst>
        </pc:spChg>
        <pc:spChg chg="mod ord">
          <ac:chgData name="Hans Gelissen (DHL SSC Maastricht)" userId="1afa8510-4eed-4b73-a29e-678838cd8acd" providerId="ADAL" clId="{F3A22D4D-2B68-4909-BFE7-4E46D0708FA9}" dt="2023-05-08T11:11:51.661" v="9874" actId="700"/>
          <ac:spMkLst>
            <pc:docMk/>
            <pc:sldMk cId="344286644" sldId="382"/>
            <ac:spMk id="3" creationId="{E9505191-D401-4B1F-A0FD-9DA8DF3EA35C}"/>
          </ac:spMkLst>
        </pc:spChg>
        <pc:spChg chg="mod ord">
          <ac:chgData name="Hans Gelissen (DHL SSC Maastricht)" userId="1afa8510-4eed-4b73-a29e-678838cd8acd" providerId="ADAL" clId="{F3A22D4D-2B68-4909-BFE7-4E46D0708FA9}" dt="2023-05-10T08:49:10.948" v="10266" actId="20577"/>
          <ac:spMkLst>
            <pc:docMk/>
            <pc:sldMk cId="344286644" sldId="382"/>
            <ac:spMk id="4" creationId="{CF6CC01A-D8F6-4AE1-A79C-B9423066DA29}"/>
          </ac:spMkLst>
        </pc:spChg>
        <pc:spChg chg="mod ord">
          <ac:chgData name="Hans Gelissen (DHL SSC Maastricht)" userId="1afa8510-4eed-4b73-a29e-678838cd8acd" providerId="ADAL" clId="{F3A22D4D-2B68-4909-BFE7-4E46D0708FA9}" dt="2023-05-08T11:13:35.871" v="9879" actId="6549"/>
          <ac:spMkLst>
            <pc:docMk/>
            <pc:sldMk cId="344286644" sldId="382"/>
            <ac:spMk id="5" creationId="{530A048D-D80F-4F76-9FB5-FE1C09E5CE0D}"/>
          </ac:spMkLst>
        </pc:spChg>
        <pc:spChg chg="add mod ord">
          <ac:chgData name="Hans Gelissen (DHL SSC Maastricht)" userId="1afa8510-4eed-4b73-a29e-678838cd8acd" providerId="ADAL" clId="{F3A22D4D-2B68-4909-BFE7-4E46D0708FA9}" dt="2023-05-08T11:11:51.661" v="9874" actId="700"/>
          <ac:spMkLst>
            <pc:docMk/>
            <pc:sldMk cId="344286644" sldId="382"/>
            <ac:spMk id="6" creationId="{D228ECC7-CC4D-E5F5-5E5F-324772F9070B}"/>
          </ac:spMkLst>
        </pc:spChg>
      </pc:sldChg>
      <pc:sldChg chg="add del">
        <pc:chgData name="Hans Gelissen (DHL SSC Maastricht)" userId="1afa8510-4eed-4b73-a29e-678838cd8acd" providerId="ADAL" clId="{F3A22D4D-2B68-4909-BFE7-4E46D0708FA9}" dt="2023-05-08T09:49:16.460" v="8931" actId="47"/>
        <pc:sldMkLst>
          <pc:docMk/>
          <pc:sldMk cId="1098510059" sldId="382"/>
        </pc:sldMkLst>
      </pc:sldChg>
      <pc:sldChg chg="addSp delSp modSp new mod modClrScheme chgLayout">
        <pc:chgData name="Hans Gelissen (DHL SSC Maastricht)" userId="1afa8510-4eed-4b73-a29e-678838cd8acd" providerId="ADAL" clId="{F3A22D4D-2B68-4909-BFE7-4E46D0708FA9}" dt="2023-05-08T11:29:12.224" v="10164" actId="962"/>
        <pc:sldMkLst>
          <pc:docMk/>
          <pc:sldMk cId="4004404910" sldId="383"/>
        </pc:sldMkLst>
        <pc:spChg chg="mod ord">
          <ac:chgData name="Hans Gelissen (DHL SSC Maastricht)" userId="1afa8510-4eed-4b73-a29e-678838cd8acd" providerId="ADAL" clId="{F3A22D4D-2B68-4909-BFE7-4E46D0708FA9}" dt="2023-05-08T11:29:00.429" v="10161" actId="700"/>
          <ac:spMkLst>
            <pc:docMk/>
            <pc:sldMk cId="4004404910" sldId="383"/>
            <ac:spMk id="2" creationId="{55FB9CFA-4F6D-1D27-FB28-A8C35572A720}"/>
          </ac:spMkLst>
        </pc:spChg>
        <pc:spChg chg="del">
          <ac:chgData name="Hans Gelissen (DHL SSC Maastricht)" userId="1afa8510-4eed-4b73-a29e-678838cd8acd" providerId="ADAL" clId="{F3A22D4D-2B68-4909-BFE7-4E46D0708FA9}" dt="2023-05-08T11:21:35.993" v="9922" actId="700"/>
          <ac:spMkLst>
            <pc:docMk/>
            <pc:sldMk cId="4004404910" sldId="383"/>
            <ac:spMk id="3" creationId="{B0BA500C-99DA-9436-D93D-C7A7BCCB0A1E}"/>
          </ac:spMkLst>
        </pc:spChg>
        <pc:spChg chg="add del mod ord">
          <ac:chgData name="Hans Gelissen (DHL SSC Maastricht)" userId="1afa8510-4eed-4b73-a29e-678838cd8acd" providerId="ADAL" clId="{F3A22D4D-2B68-4909-BFE7-4E46D0708FA9}" dt="2023-05-08T11:29:11.647" v="10162" actId="931"/>
          <ac:spMkLst>
            <pc:docMk/>
            <pc:sldMk cId="4004404910" sldId="383"/>
            <ac:spMk id="4" creationId="{C0643301-6D77-0182-E995-1C32BF1F1D13}"/>
          </ac:spMkLst>
        </pc:spChg>
        <pc:picChg chg="add mod">
          <ac:chgData name="Hans Gelissen (DHL SSC Maastricht)" userId="1afa8510-4eed-4b73-a29e-678838cd8acd" providerId="ADAL" clId="{F3A22D4D-2B68-4909-BFE7-4E46D0708FA9}" dt="2023-05-08T11:29:12.224" v="10164" actId="962"/>
          <ac:picMkLst>
            <pc:docMk/>
            <pc:sldMk cId="4004404910" sldId="383"/>
            <ac:picMk id="6" creationId="{F4D4E529-69A0-F73B-E0CD-C8AB28B7434F}"/>
          </ac:picMkLst>
        </pc:picChg>
      </pc:sldChg>
      <pc:sldChg chg="add del">
        <pc:chgData name="Hans Gelissen (DHL SSC Maastricht)" userId="1afa8510-4eed-4b73-a29e-678838cd8acd" providerId="ADAL" clId="{F3A22D4D-2B68-4909-BFE7-4E46D0708FA9}" dt="2023-05-08T11:21:16.788" v="9920"/>
        <pc:sldMkLst>
          <pc:docMk/>
          <pc:sldMk cId="2498233804" sldId="384"/>
        </pc:sldMkLst>
      </pc:sldChg>
      <pc:sldChg chg="addSp delSp modSp add mod modClrScheme chgLayout">
        <pc:chgData name="Hans Gelissen (DHL SSC Maastricht)" userId="1afa8510-4eed-4b73-a29e-678838cd8acd" providerId="ADAL" clId="{F3A22D4D-2B68-4909-BFE7-4E46D0708FA9}" dt="2023-05-08T11:28:46.896" v="10160" actId="20577"/>
        <pc:sldMkLst>
          <pc:docMk/>
          <pc:sldMk cId="3099723956" sldId="384"/>
        </pc:sldMkLst>
        <pc:spChg chg="mod ord">
          <ac:chgData name="Hans Gelissen (DHL SSC Maastricht)" userId="1afa8510-4eed-4b73-a29e-678838cd8acd" providerId="ADAL" clId="{F3A22D4D-2B68-4909-BFE7-4E46D0708FA9}" dt="2023-05-08T11:26:00.019" v="10133" actId="700"/>
          <ac:spMkLst>
            <pc:docMk/>
            <pc:sldMk cId="3099723956" sldId="384"/>
            <ac:spMk id="2" creationId="{55FB9CFA-4F6D-1D27-FB28-A8C35572A720}"/>
          </ac:spMkLst>
        </pc:spChg>
        <pc:spChg chg="del mod ord">
          <ac:chgData name="Hans Gelissen (DHL SSC Maastricht)" userId="1afa8510-4eed-4b73-a29e-678838cd8acd" providerId="ADAL" clId="{F3A22D4D-2B68-4909-BFE7-4E46D0708FA9}" dt="2023-05-08T11:22:41.455" v="9927" actId="700"/>
          <ac:spMkLst>
            <pc:docMk/>
            <pc:sldMk cId="3099723956" sldId="384"/>
            <ac:spMk id="3" creationId="{B0BA500C-99DA-9436-D93D-C7A7BCCB0A1E}"/>
          </ac:spMkLst>
        </pc:spChg>
        <pc:spChg chg="add del mod ord">
          <ac:chgData name="Hans Gelissen (DHL SSC Maastricht)" userId="1afa8510-4eed-4b73-a29e-678838cd8acd" providerId="ADAL" clId="{F3A22D4D-2B68-4909-BFE7-4E46D0708FA9}" dt="2023-05-08T11:22:59.294" v="9928" actId="700"/>
          <ac:spMkLst>
            <pc:docMk/>
            <pc:sldMk cId="3099723956" sldId="384"/>
            <ac:spMk id="4" creationId="{D58DDA8D-F265-1DD0-4C9F-F609EFD935C8}"/>
          </ac:spMkLst>
        </pc:spChg>
        <pc:spChg chg="add del mod ord">
          <ac:chgData name="Hans Gelissen (DHL SSC Maastricht)" userId="1afa8510-4eed-4b73-a29e-678838cd8acd" providerId="ADAL" clId="{F3A22D4D-2B68-4909-BFE7-4E46D0708FA9}" dt="2023-05-08T11:22:59.294" v="9928" actId="700"/>
          <ac:spMkLst>
            <pc:docMk/>
            <pc:sldMk cId="3099723956" sldId="384"/>
            <ac:spMk id="5" creationId="{2494A97D-4EFF-F248-CBE4-B9B92DFE5699}"/>
          </ac:spMkLst>
        </pc:spChg>
        <pc:spChg chg="add del mod ord">
          <ac:chgData name="Hans Gelissen (DHL SSC Maastricht)" userId="1afa8510-4eed-4b73-a29e-678838cd8acd" providerId="ADAL" clId="{F3A22D4D-2B68-4909-BFE7-4E46D0708FA9}" dt="2023-05-08T11:22:59.294" v="9928" actId="700"/>
          <ac:spMkLst>
            <pc:docMk/>
            <pc:sldMk cId="3099723956" sldId="384"/>
            <ac:spMk id="6" creationId="{A6EFB2D5-FD11-49C6-6597-6EB4B945D7BC}"/>
          </ac:spMkLst>
        </pc:spChg>
        <pc:spChg chg="add del mod ord">
          <ac:chgData name="Hans Gelissen (DHL SSC Maastricht)" userId="1afa8510-4eed-4b73-a29e-678838cd8acd" providerId="ADAL" clId="{F3A22D4D-2B68-4909-BFE7-4E46D0708FA9}" dt="2023-05-08T11:22:59.294" v="9928" actId="700"/>
          <ac:spMkLst>
            <pc:docMk/>
            <pc:sldMk cId="3099723956" sldId="384"/>
            <ac:spMk id="7" creationId="{34A18276-0109-1C4C-0244-87804280E440}"/>
          </ac:spMkLst>
        </pc:spChg>
        <pc:spChg chg="add mod ord">
          <ac:chgData name="Hans Gelissen (DHL SSC Maastricht)" userId="1afa8510-4eed-4b73-a29e-678838cd8acd" providerId="ADAL" clId="{F3A22D4D-2B68-4909-BFE7-4E46D0708FA9}" dt="2023-05-08T11:26:00.019" v="10133" actId="700"/>
          <ac:spMkLst>
            <pc:docMk/>
            <pc:sldMk cId="3099723956" sldId="384"/>
            <ac:spMk id="8" creationId="{44B382C7-32A6-A20E-E91C-BAA6DED7D2D8}"/>
          </ac:spMkLst>
        </pc:spChg>
        <pc:spChg chg="add mod ord">
          <ac:chgData name="Hans Gelissen (DHL SSC Maastricht)" userId="1afa8510-4eed-4b73-a29e-678838cd8acd" providerId="ADAL" clId="{F3A22D4D-2B68-4909-BFE7-4E46D0708FA9}" dt="2023-05-08T11:26:00.019" v="10133" actId="700"/>
          <ac:spMkLst>
            <pc:docMk/>
            <pc:sldMk cId="3099723956" sldId="384"/>
            <ac:spMk id="9" creationId="{DD2786AF-8EAB-E546-21BB-CFB962B7978A}"/>
          </ac:spMkLst>
        </pc:spChg>
        <pc:spChg chg="add mod ord">
          <ac:chgData name="Hans Gelissen (DHL SSC Maastricht)" userId="1afa8510-4eed-4b73-a29e-678838cd8acd" providerId="ADAL" clId="{F3A22D4D-2B68-4909-BFE7-4E46D0708FA9}" dt="2023-05-08T11:28:46.896" v="10160" actId="20577"/>
          <ac:spMkLst>
            <pc:docMk/>
            <pc:sldMk cId="3099723956" sldId="384"/>
            <ac:spMk id="10" creationId="{4744C21A-3A88-1FB9-ABC2-19A4EFC7F3AC}"/>
          </ac:spMkLst>
        </pc:spChg>
        <pc:spChg chg="add del mod ord">
          <ac:chgData name="Hans Gelissen (DHL SSC Maastricht)" userId="1afa8510-4eed-4b73-a29e-678838cd8acd" providerId="ADAL" clId="{F3A22D4D-2B68-4909-BFE7-4E46D0708FA9}" dt="2023-05-08T11:28:23.884" v="10134" actId="931"/>
          <ac:spMkLst>
            <pc:docMk/>
            <pc:sldMk cId="3099723956" sldId="384"/>
            <ac:spMk id="11" creationId="{46F52C36-5860-DF70-4D6F-C0450E83810F}"/>
          </ac:spMkLst>
        </pc:spChg>
        <pc:picChg chg="add mod">
          <ac:chgData name="Hans Gelissen (DHL SSC Maastricht)" userId="1afa8510-4eed-4b73-a29e-678838cd8acd" providerId="ADAL" clId="{F3A22D4D-2B68-4909-BFE7-4E46D0708FA9}" dt="2023-05-08T11:28:24.581" v="10136" actId="962"/>
          <ac:picMkLst>
            <pc:docMk/>
            <pc:sldMk cId="3099723956" sldId="384"/>
            <ac:picMk id="13" creationId="{73B70B5F-289A-700B-CB0A-3775F692805A}"/>
          </ac:picMkLst>
        </pc:picChg>
      </pc:sldChg>
      <pc:sldChg chg="add mod modClrScheme chgLayout">
        <pc:chgData name="Hans Gelissen (DHL SSC Maastricht)" userId="1afa8510-4eed-4b73-a29e-678838cd8acd" providerId="ADAL" clId="{F3A22D4D-2B68-4909-BFE7-4E46D0708FA9}" dt="2023-05-10T11:18:39.627" v="10361" actId="700"/>
        <pc:sldMkLst>
          <pc:docMk/>
          <pc:sldMk cId="265077517" sldId="385"/>
        </pc:sldMkLst>
      </pc:sldChg>
      <pc:sldChg chg="addSp delSp modSp add del mod delAnim modAnim">
        <pc:chgData name="Hans Gelissen (DHL SSC Maastricht)" userId="1afa8510-4eed-4b73-a29e-678838cd8acd" providerId="ADAL" clId="{F3A22D4D-2B68-4909-BFE7-4E46D0708FA9}" dt="2023-05-10T10:54:42.857" v="10355" actId="47"/>
        <pc:sldMkLst>
          <pc:docMk/>
          <pc:sldMk cId="548116242" sldId="385"/>
        </pc:sldMkLst>
        <pc:spChg chg="add del mod">
          <ac:chgData name="Hans Gelissen (DHL SSC Maastricht)" userId="1afa8510-4eed-4b73-a29e-678838cd8acd" providerId="ADAL" clId="{F3A22D4D-2B68-4909-BFE7-4E46D0708FA9}" dt="2023-05-10T10:54:16.048" v="10350" actId="478"/>
          <ac:spMkLst>
            <pc:docMk/>
            <pc:sldMk cId="548116242" sldId="385"/>
            <ac:spMk id="2" creationId="{13DADEB1-1F08-0EFD-E4E3-B23D88209486}"/>
          </ac:spMkLst>
        </pc:spChg>
        <pc:spChg chg="add del mod">
          <ac:chgData name="Hans Gelissen (DHL SSC Maastricht)" userId="1afa8510-4eed-4b73-a29e-678838cd8acd" providerId="ADAL" clId="{F3A22D4D-2B68-4909-BFE7-4E46D0708FA9}" dt="2023-05-10T10:54:16.048" v="10350" actId="478"/>
          <ac:spMkLst>
            <pc:docMk/>
            <pc:sldMk cId="548116242" sldId="385"/>
            <ac:spMk id="3" creationId="{BA48F9B6-8F66-896B-5D2B-F2868EF3C849}"/>
          </ac:spMkLst>
        </pc:spChg>
        <pc:spChg chg="add del mod">
          <ac:chgData name="Hans Gelissen (DHL SSC Maastricht)" userId="1afa8510-4eed-4b73-a29e-678838cd8acd" providerId="ADAL" clId="{F3A22D4D-2B68-4909-BFE7-4E46D0708FA9}" dt="2023-05-10T10:54:16.048" v="10350" actId="478"/>
          <ac:spMkLst>
            <pc:docMk/>
            <pc:sldMk cId="548116242" sldId="385"/>
            <ac:spMk id="4" creationId="{3EDF6FC3-C1DD-505D-1186-1458F281C909}"/>
          </ac:spMkLst>
        </pc:spChg>
        <pc:spChg chg="add del mod">
          <ac:chgData name="Hans Gelissen (DHL SSC Maastricht)" userId="1afa8510-4eed-4b73-a29e-678838cd8acd" providerId="ADAL" clId="{F3A22D4D-2B68-4909-BFE7-4E46D0708FA9}" dt="2023-05-10T10:54:16.048" v="10350" actId="478"/>
          <ac:spMkLst>
            <pc:docMk/>
            <pc:sldMk cId="548116242" sldId="385"/>
            <ac:spMk id="7" creationId="{390E9A17-CBF5-42E7-8650-10BAD9125D54}"/>
          </ac:spMkLst>
        </pc:spChg>
        <pc:spChg chg="del">
          <ac:chgData name="Hans Gelissen (DHL SSC Maastricht)" userId="1afa8510-4eed-4b73-a29e-678838cd8acd" providerId="ADAL" clId="{F3A22D4D-2B68-4909-BFE7-4E46D0708FA9}" dt="2023-05-10T10:54:27.675" v="10352" actId="478"/>
          <ac:spMkLst>
            <pc:docMk/>
            <pc:sldMk cId="548116242" sldId="385"/>
            <ac:spMk id="14" creationId="{768CB8A0-75B6-FEAC-E8B7-C55F0352377D}"/>
          </ac:spMkLst>
        </pc:spChg>
        <pc:spChg chg="del">
          <ac:chgData name="Hans Gelissen (DHL SSC Maastricht)" userId="1afa8510-4eed-4b73-a29e-678838cd8acd" providerId="ADAL" clId="{F3A22D4D-2B68-4909-BFE7-4E46D0708FA9}" dt="2023-05-10T10:54:20.334" v="10351" actId="478"/>
          <ac:spMkLst>
            <pc:docMk/>
            <pc:sldMk cId="548116242" sldId="385"/>
            <ac:spMk id="15" creationId="{F7F5AF3B-EA97-CAE2-37E9-0E5E37601BBC}"/>
          </ac:spMkLst>
        </pc:spChg>
        <pc:spChg chg="del">
          <ac:chgData name="Hans Gelissen (DHL SSC Maastricht)" userId="1afa8510-4eed-4b73-a29e-678838cd8acd" providerId="ADAL" clId="{F3A22D4D-2B68-4909-BFE7-4E46D0708FA9}" dt="2023-05-10T10:54:20.334" v="10351" actId="478"/>
          <ac:spMkLst>
            <pc:docMk/>
            <pc:sldMk cId="548116242" sldId="385"/>
            <ac:spMk id="16" creationId="{2A505A6E-AB24-415B-6CFE-23B212E4D33F}"/>
          </ac:spMkLst>
        </pc:spChg>
        <pc:spChg chg="del">
          <ac:chgData name="Hans Gelissen (DHL SSC Maastricht)" userId="1afa8510-4eed-4b73-a29e-678838cd8acd" providerId="ADAL" clId="{F3A22D4D-2B68-4909-BFE7-4E46D0708FA9}" dt="2023-05-10T10:54:20.334" v="10351" actId="478"/>
          <ac:spMkLst>
            <pc:docMk/>
            <pc:sldMk cId="548116242" sldId="385"/>
            <ac:spMk id="17" creationId="{6F43281D-16C3-4C4E-B15A-E3DE8FEA9C29}"/>
          </ac:spMkLst>
        </pc:spChg>
        <pc:spChg chg="del">
          <ac:chgData name="Hans Gelissen (DHL SSC Maastricht)" userId="1afa8510-4eed-4b73-a29e-678838cd8acd" providerId="ADAL" clId="{F3A22D4D-2B68-4909-BFE7-4E46D0708FA9}" dt="2023-05-10T10:54:27.675" v="10352" actId="478"/>
          <ac:spMkLst>
            <pc:docMk/>
            <pc:sldMk cId="548116242" sldId="385"/>
            <ac:spMk id="18" creationId="{9610B621-0FE7-A2E9-5031-F50289764B5D}"/>
          </ac:spMkLst>
        </pc:spChg>
        <pc:spChg chg="del">
          <ac:chgData name="Hans Gelissen (DHL SSC Maastricht)" userId="1afa8510-4eed-4b73-a29e-678838cd8acd" providerId="ADAL" clId="{F3A22D4D-2B68-4909-BFE7-4E46D0708FA9}" dt="2023-05-10T10:54:35.635" v="10354" actId="478"/>
          <ac:spMkLst>
            <pc:docMk/>
            <pc:sldMk cId="548116242" sldId="385"/>
            <ac:spMk id="19" creationId="{96676BFB-2D25-D329-34FF-A72A00298404}"/>
          </ac:spMkLst>
        </pc:spChg>
        <pc:spChg chg="del">
          <ac:chgData name="Hans Gelissen (DHL SSC Maastricht)" userId="1afa8510-4eed-4b73-a29e-678838cd8acd" providerId="ADAL" clId="{F3A22D4D-2B68-4909-BFE7-4E46D0708FA9}" dt="2023-05-10T10:54:35.635" v="10354" actId="478"/>
          <ac:spMkLst>
            <pc:docMk/>
            <pc:sldMk cId="548116242" sldId="385"/>
            <ac:spMk id="20" creationId="{1F09ED94-4094-AAA2-F5AE-928C17E98F5D}"/>
          </ac:spMkLst>
        </pc:spChg>
        <pc:spChg chg="del">
          <ac:chgData name="Hans Gelissen (DHL SSC Maastricht)" userId="1afa8510-4eed-4b73-a29e-678838cd8acd" providerId="ADAL" clId="{F3A22D4D-2B68-4909-BFE7-4E46D0708FA9}" dt="2023-05-10T10:54:35.635" v="10354" actId="478"/>
          <ac:spMkLst>
            <pc:docMk/>
            <pc:sldMk cId="548116242" sldId="385"/>
            <ac:spMk id="21" creationId="{0A03E7F8-FF16-4763-3D82-C3099BA4E243}"/>
          </ac:spMkLst>
        </pc:spChg>
        <pc:spChg chg="del">
          <ac:chgData name="Hans Gelissen (DHL SSC Maastricht)" userId="1afa8510-4eed-4b73-a29e-678838cd8acd" providerId="ADAL" clId="{F3A22D4D-2B68-4909-BFE7-4E46D0708FA9}" dt="2023-05-10T10:54:35.635" v="10354" actId="478"/>
          <ac:spMkLst>
            <pc:docMk/>
            <pc:sldMk cId="548116242" sldId="385"/>
            <ac:spMk id="22" creationId="{F5F43C44-4873-FEFC-2C51-E372185B3871}"/>
          </ac:spMkLst>
        </pc:spChg>
        <pc:spChg chg="del">
          <ac:chgData name="Hans Gelissen (DHL SSC Maastricht)" userId="1afa8510-4eed-4b73-a29e-678838cd8acd" providerId="ADAL" clId="{F3A22D4D-2B68-4909-BFE7-4E46D0708FA9}" dt="2023-05-10T10:54:27.675" v="10352" actId="478"/>
          <ac:spMkLst>
            <pc:docMk/>
            <pc:sldMk cId="548116242" sldId="385"/>
            <ac:spMk id="23" creationId="{B1FC6998-5CE1-2144-D45D-DD67D1FD6382}"/>
          </ac:spMkLst>
        </pc:spChg>
        <pc:spChg chg="del">
          <ac:chgData name="Hans Gelissen (DHL SSC Maastricht)" userId="1afa8510-4eed-4b73-a29e-678838cd8acd" providerId="ADAL" clId="{F3A22D4D-2B68-4909-BFE7-4E46D0708FA9}" dt="2023-05-10T10:54:16.048" v="10350" actId="478"/>
          <ac:spMkLst>
            <pc:docMk/>
            <pc:sldMk cId="548116242" sldId="385"/>
            <ac:spMk id="24" creationId="{5DD262EB-357A-3D7F-5BAE-FF7BC00EBA79}"/>
          </ac:spMkLst>
        </pc:spChg>
        <pc:spChg chg="del">
          <ac:chgData name="Hans Gelissen (DHL SSC Maastricht)" userId="1afa8510-4eed-4b73-a29e-678838cd8acd" providerId="ADAL" clId="{F3A22D4D-2B68-4909-BFE7-4E46D0708FA9}" dt="2023-05-10T10:54:16.048" v="10350" actId="478"/>
          <ac:spMkLst>
            <pc:docMk/>
            <pc:sldMk cId="548116242" sldId="385"/>
            <ac:spMk id="25" creationId="{60A06AF6-0BBC-BB2C-35FF-894CB61EA603}"/>
          </ac:spMkLst>
        </pc:spChg>
        <pc:spChg chg="del">
          <ac:chgData name="Hans Gelissen (DHL SSC Maastricht)" userId="1afa8510-4eed-4b73-a29e-678838cd8acd" providerId="ADAL" clId="{F3A22D4D-2B68-4909-BFE7-4E46D0708FA9}" dt="2023-05-10T10:54:20.334" v="10351" actId="478"/>
          <ac:spMkLst>
            <pc:docMk/>
            <pc:sldMk cId="548116242" sldId="385"/>
            <ac:spMk id="26" creationId="{DD8CEF81-8CDA-3CAD-C1E3-17B77AB36165}"/>
          </ac:spMkLst>
        </pc:spChg>
        <pc:spChg chg="del">
          <ac:chgData name="Hans Gelissen (DHL SSC Maastricht)" userId="1afa8510-4eed-4b73-a29e-678838cd8acd" providerId="ADAL" clId="{F3A22D4D-2B68-4909-BFE7-4E46D0708FA9}" dt="2023-05-10T10:54:27.675" v="10352" actId="478"/>
          <ac:spMkLst>
            <pc:docMk/>
            <pc:sldMk cId="548116242" sldId="385"/>
            <ac:spMk id="27" creationId="{2C5013BD-8C3B-5DD4-7AAB-D20C855FABDF}"/>
          </ac:spMkLst>
        </pc:spChg>
        <pc:spChg chg="del">
          <ac:chgData name="Hans Gelissen (DHL SSC Maastricht)" userId="1afa8510-4eed-4b73-a29e-678838cd8acd" providerId="ADAL" clId="{F3A22D4D-2B68-4909-BFE7-4E46D0708FA9}" dt="2023-05-10T10:54:35.635" v="10354" actId="478"/>
          <ac:spMkLst>
            <pc:docMk/>
            <pc:sldMk cId="548116242" sldId="385"/>
            <ac:spMk id="28" creationId="{51E72BFD-5EF1-B321-89A0-E0781F06A06A}"/>
          </ac:spMkLst>
        </pc:spChg>
        <pc:spChg chg="del">
          <ac:chgData name="Hans Gelissen (DHL SSC Maastricht)" userId="1afa8510-4eed-4b73-a29e-678838cd8acd" providerId="ADAL" clId="{F3A22D4D-2B68-4909-BFE7-4E46D0708FA9}" dt="2023-05-10T10:54:16.048" v="10350" actId="478"/>
          <ac:spMkLst>
            <pc:docMk/>
            <pc:sldMk cId="548116242" sldId="385"/>
            <ac:spMk id="29" creationId="{E784400F-D081-8CB4-6FD2-DC7424F313FB}"/>
          </ac:spMkLst>
        </pc:spChg>
        <pc:spChg chg="del">
          <ac:chgData name="Hans Gelissen (DHL SSC Maastricht)" userId="1afa8510-4eed-4b73-a29e-678838cd8acd" providerId="ADAL" clId="{F3A22D4D-2B68-4909-BFE7-4E46D0708FA9}" dt="2023-05-10T10:54:16.048" v="10350" actId="478"/>
          <ac:spMkLst>
            <pc:docMk/>
            <pc:sldMk cId="548116242" sldId="385"/>
            <ac:spMk id="30" creationId="{4AA24B5D-0160-AEC6-9FBB-050EDB5055C9}"/>
          </ac:spMkLst>
        </pc:spChg>
        <pc:spChg chg="del">
          <ac:chgData name="Hans Gelissen (DHL SSC Maastricht)" userId="1afa8510-4eed-4b73-a29e-678838cd8acd" providerId="ADAL" clId="{F3A22D4D-2B68-4909-BFE7-4E46D0708FA9}" dt="2023-05-10T10:54:16.048" v="10350" actId="478"/>
          <ac:spMkLst>
            <pc:docMk/>
            <pc:sldMk cId="548116242" sldId="385"/>
            <ac:spMk id="31" creationId="{7405FED3-DDBF-C7EE-A2CD-2BA5608A35ED}"/>
          </ac:spMkLst>
        </pc:spChg>
        <pc:spChg chg="del">
          <ac:chgData name="Hans Gelissen (DHL SSC Maastricht)" userId="1afa8510-4eed-4b73-a29e-678838cd8acd" providerId="ADAL" clId="{F3A22D4D-2B68-4909-BFE7-4E46D0708FA9}" dt="2023-05-10T10:54:27.675" v="10352" actId="478"/>
          <ac:spMkLst>
            <pc:docMk/>
            <pc:sldMk cId="548116242" sldId="385"/>
            <ac:spMk id="32" creationId="{EE1C7723-27D1-1134-3617-6EAD4D864345}"/>
          </ac:spMkLst>
        </pc:spChg>
        <pc:spChg chg="del">
          <ac:chgData name="Hans Gelissen (DHL SSC Maastricht)" userId="1afa8510-4eed-4b73-a29e-678838cd8acd" providerId="ADAL" clId="{F3A22D4D-2B68-4909-BFE7-4E46D0708FA9}" dt="2023-05-10T10:54:35.635" v="10354" actId="478"/>
          <ac:spMkLst>
            <pc:docMk/>
            <pc:sldMk cId="548116242" sldId="385"/>
            <ac:spMk id="33" creationId="{23207528-9945-897A-26D9-17547CBFCBAF}"/>
          </ac:spMkLst>
        </pc:spChg>
        <pc:spChg chg="del">
          <ac:chgData name="Hans Gelissen (DHL SSC Maastricht)" userId="1afa8510-4eed-4b73-a29e-678838cd8acd" providerId="ADAL" clId="{F3A22D4D-2B68-4909-BFE7-4E46D0708FA9}" dt="2023-05-10T10:54:27.675" v="10352" actId="478"/>
          <ac:spMkLst>
            <pc:docMk/>
            <pc:sldMk cId="548116242" sldId="385"/>
            <ac:spMk id="34" creationId="{FAE42A65-8AFB-F9C9-3AC7-5ED97EC4CB64}"/>
          </ac:spMkLst>
        </pc:spChg>
        <pc:spChg chg="del">
          <ac:chgData name="Hans Gelissen (DHL SSC Maastricht)" userId="1afa8510-4eed-4b73-a29e-678838cd8acd" providerId="ADAL" clId="{F3A22D4D-2B68-4909-BFE7-4E46D0708FA9}" dt="2023-05-10T10:54:27.675" v="10352" actId="478"/>
          <ac:spMkLst>
            <pc:docMk/>
            <pc:sldMk cId="548116242" sldId="385"/>
            <ac:spMk id="35" creationId="{A7CB4975-476F-9B72-4F17-3F825F15FBB8}"/>
          </ac:spMkLst>
        </pc:spChg>
        <pc:spChg chg="del">
          <ac:chgData name="Hans Gelissen (DHL SSC Maastricht)" userId="1afa8510-4eed-4b73-a29e-678838cd8acd" providerId="ADAL" clId="{F3A22D4D-2B68-4909-BFE7-4E46D0708FA9}" dt="2023-05-10T10:54:27.675" v="10352" actId="478"/>
          <ac:spMkLst>
            <pc:docMk/>
            <pc:sldMk cId="548116242" sldId="385"/>
            <ac:spMk id="36" creationId="{1970068C-8C8C-6407-D032-167CAA778C6D}"/>
          </ac:spMkLst>
        </pc:spChg>
        <pc:spChg chg="del">
          <ac:chgData name="Hans Gelissen (DHL SSC Maastricht)" userId="1afa8510-4eed-4b73-a29e-678838cd8acd" providerId="ADAL" clId="{F3A22D4D-2B68-4909-BFE7-4E46D0708FA9}" dt="2023-05-10T10:54:30.363" v="10353" actId="478"/>
          <ac:spMkLst>
            <pc:docMk/>
            <pc:sldMk cId="548116242" sldId="385"/>
            <ac:spMk id="37" creationId="{8D41ED5A-B12C-7E5A-1AA9-CDCA6753261A}"/>
          </ac:spMkLst>
        </pc:spChg>
      </pc:sldChg>
      <pc:sldChg chg="delSp modSp add del mod delAnim">
        <pc:chgData name="Hans Gelissen (DHL SSC Maastricht)" userId="1afa8510-4eed-4b73-a29e-678838cd8acd" providerId="ADAL" clId="{F3A22D4D-2B68-4909-BFE7-4E46D0708FA9}" dt="2023-05-10T10:53:41.278" v="10347" actId="47"/>
        <pc:sldMkLst>
          <pc:docMk/>
          <pc:sldMk cId="678515029" sldId="385"/>
        </pc:sldMkLst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15" creationId="{C6B3C1DA-9F5E-A108-5B4A-460BF38A793C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16" creationId="{8741F99D-AEC5-ADD5-3A3E-DB77EB4BAD3D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17" creationId="{B31EDDE0-E6EF-6539-D195-911C79FECFD9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18" creationId="{42F7DCAF-51B5-AD61-30C0-C94451260A72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19" creationId="{0824643F-DF98-9B10-8656-C0DC3A4122E7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20" creationId="{7866C736-7490-E435-C663-02D80D0A15DD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21" creationId="{578D6AFB-4455-A24C-1E7E-2DC11AB032D3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22" creationId="{355123E5-7B0A-EB43-5AD8-AAAF2A71FC51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23" creationId="{C35A0767-0C18-A9CE-A3C7-5C2FF52F0D76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24" creationId="{C59A2483-7398-9223-8903-107C9A90FFB4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25" creationId="{E5DD3B0E-9EC1-2F5B-3CBB-4AC592A4180E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26" creationId="{C5C20E5D-781D-C7CF-22CB-FD18C7C22389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27" creationId="{A3B81442-53F4-9B76-361F-4AB2DEC63D73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28" creationId="{FD5FEC1C-EB5C-1E47-D422-8C27192AB83F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29" creationId="{48349E2B-6098-B53E-A599-32CFB2DDB0A7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30" creationId="{B6E50D0F-4D3B-24F1-90E1-C99DC6705AF9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31" creationId="{31DC3225-60CA-129D-69FB-E34652B2E92F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32" creationId="{CF7BFA01-BA6C-2CBF-4481-EC2A4BA21CF2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33" creationId="{6A72529D-5A63-7709-0776-74EC3E8A6156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34" creationId="{D450C4D2-80FB-5ACC-BABD-64EF31BFD266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35" creationId="{E2462010-D2BE-6395-FB2F-E8A38B182690}"/>
          </ac:spMkLst>
        </pc:spChg>
        <pc:spChg chg="del mod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36" creationId="{EE6AC3A2-597F-9DB4-0205-D3C2A9EB5935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37" creationId="{4DEC47B8-ABE3-3166-4D59-3EB8925EAB8C}"/>
          </ac:spMkLst>
        </pc:spChg>
        <pc:spChg chg="del">
          <ac:chgData name="Hans Gelissen (DHL SSC Maastricht)" userId="1afa8510-4eed-4b73-a29e-678838cd8acd" providerId="ADAL" clId="{F3A22D4D-2B68-4909-BFE7-4E46D0708FA9}" dt="2023-05-10T10:53:22.334" v="10346" actId="478"/>
          <ac:spMkLst>
            <pc:docMk/>
            <pc:sldMk cId="678515029" sldId="385"/>
            <ac:spMk id="38" creationId="{A48CD394-B741-DBE8-757D-9C90CA6AA1B9}"/>
          </ac:spMkLst>
        </pc:spChg>
      </pc:sldChg>
      <pc:sldChg chg="delSp modSp add del mod delAnim">
        <pc:chgData name="Hans Gelissen (DHL SSC Maastricht)" userId="1afa8510-4eed-4b73-a29e-678838cd8acd" providerId="ADAL" clId="{F3A22D4D-2B68-4909-BFE7-4E46D0708FA9}" dt="2023-05-10T10:55:22.935" v="10359" actId="47"/>
        <pc:sldMkLst>
          <pc:docMk/>
          <pc:sldMk cId="1063152101" sldId="385"/>
        </pc:sldMkLst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12" creationId="{2E16E2E7-3002-EAED-A621-C71722672423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13" creationId="{2667ADD8-8621-0DD8-3A8F-3C0904CCCFA6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14" creationId="{7570076B-2558-BB34-8568-744829447344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15" creationId="{4EB6C74A-53EB-D1F0-305E-6F2B7F962466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16" creationId="{5425C7F3-0DD4-24F7-8952-6643C4E6FFD2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17" creationId="{B1B6681B-B8A3-A1E1-2F4D-E001E8522303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18" creationId="{B90493CB-8A77-2760-0534-E87D61E6CE25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19" creationId="{293CED5D-AB0F-12CD-05BB-C823B51D09C9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20" creationId="{4D3E752C-A854-13B2-8C5B-DBF57A5FCA8A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21" creationId="{6CA309A2-EEFE-4098-C9A2-C38A60E46D50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22" creationId="{F056127F-4B6A-0D37-D35D-2FD32C3A4559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23" creationId="{088BBAD8-C613-095B-0AFA-8C38A5FA42AC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24" creationId="{A2DD5C20-FB2C-8C79-46C9-5F9B29C7389B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25" creationId="{5BD7DDF4-C06C-9661-83BA-9863F5CE842F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26" creationId="{3044B020-102D-01FF-50B3-C094110EA9D0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27" creationId="{2F2604D5-1204-856C-7D3E-1A7FE4AED1D7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28" creationId="{7557D4F4-0575-05F2-08A6-7F92C02CFC4E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29" creationId="{6E918339-1669-3E31-D1A7-885F3BECA112}"/>
          </ac:spMkLst>
        </pc:spChg>
        <pc:spChg chg="del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30" creationId="{021988B6-69BD-7CE3-3782-B662C2EA2611}"/>
          </ac:spMkLst>
        </pc:spChg>
        <pc:spChg chg="del ord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31" creationId="{DDA3C70B-6550-8713-EB2E-49477DE730E6}"/>
          </ac:spMkLst>
        </pc:spChg>
        <pc:spChg chg="del ord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32" creationId="{5E37D58D-E4DF-5045-3AA4-FD5610AAB857}"/>
          </ac:spMkLst>
        </pc:spChg>
        <pc:spChg chg="del ord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33" creationId="{D2857FCD-FDB0-DD5D-E71C-5A340CC6DCB8}"/>
          </ac:spMkLst>
        </pc:spChg>
        <pc:spChg chg="del ord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34" creationId="{A738D1DE-AA5F-4A6F-9843-68443E9FB35A}"/>
          </ac:spMkLst>
        </pc:spChg>
        <pc:spChg chg="del ord">
          <ac:chgData name="Hans Gelissen (DHL SSC Maastricht)" userId="1afa8510-4eed-4b73-a29e-678838cd8acd" providerId="ADAL" clId="{F3A22D4D-2B68-4909-BFE7-4E46D0708FA9}" dt="2023-05-10T10:55:12.353" v="10358" actId="478"/>
          <ac:spMkLst>
            <pc:docMk/>
            <pc:sldMk cId="1063152101" sldId="385"/>
            <ac:spMk id="35" creationId="{CA161F48-9F69-C6B6-F819-8F9948311B89}"/>
          </ac:spMkLst>
        </pc:spChg>
      </pc:sldChg>
      <pc:sldChg chg="delSp add del mod delAnim">
        <pc:chgData name="Hans Gelissen (DHL SSC Maastricht)" userId="1afa8510-4eed-4b73-a29e-678838cd8acd" providerId="ADAL" clId="{F3A22D4D-2B68-4909-BFE7-4E46D0708FA9}" dt="2023-05-10T10:52:56.364" v="10342" actId="47"/>
        <pc:sldMkLst>
          <pc:docMk/>
          <pc:sldMk cId="1386824308" sldId="385"/>
        </pc:sldMkLst>
        <pc:spChg chg="del">
          <ac:chgData name="Hans Gelissen (DHL SSC Maastricht)" userId="1afa8510-4eed-4b73-a29e-678838cd8acd" providerId="ADAL" clId="{F3A22D4D-2B68-4909-BFE7-4E46D0708FA9}" dt="2023-05-10T10:51:56.496" v="10338" actId="478"/>
          <ac:spMkLst>
            <pc:docMk/>
            <pc:sldMk cId="1386824308" sldId="385"/>
            <ac:spMk id="11" creationId="{A5B60808-17E7-E630-5B66-F36803B9B57E}"/>
          </ac:spMkLst>
        </pc:spChg>
        <pc:spChg chg="del">
          <ac:chgData name="Hans Gelissen (DHL SSC Maastricht)" userId="1afa8510-4eed-4b73-a29e-678838cd8acd" providerId="ADAL" clId="{F3A22D4D-2B68-4909-BFE7-4E46D0708FA9}" dt="2023-05-10T10:51:56.496" v="10338" actId="478"/>
          <ac:spMkLst>
            <pc:docMk/>
            <pc:sldMk cId="1386824308" sldId="385"/>
            <ac:spMk id="12" creationId="{13E8A72C-F46D-598B-77BF-31807A8511F7}"/>
          </ac:spMkLst>
        </pc:spChg>
        <pc:spChg chg="del">
          <ac:chgData name="Hans Gelissen (DHL SSC Maastricht)" userId="1afa8510-4eed-4b73-a29e-678838cd8acd" providerId="ADAL" clId="{F3A22D4D-2B68-4909-BFE7-4E46D0708FA9}" dt="2023-05-10T10:51:56.496" v="10338" actId="478"/>
          <ac:spMkLst>
            <pc:docMk/>
            <pc:sldMk cId="1386824308" sldId="385"/>
            <ac:spMk id="13" creationId="{A67ABA64-7084-0CA6-F2ED-3916BD4F1621}"/>
          </ac:spMkLst>
        </pc:spChg>
        <pc:spChg chg="del">
          <ac:chgData name="Hans Gelissen (DHL SSC Maastricht)" userId="1afa8510-4eed-4b73-a29e-678838cd8acd" providerId="ADAL" clId="{F3A22D4D-2B68-4909-BFE7-4E46D0708FA9}" dt="2023-05-10T10:51:56.496" v="10338" actId="478"/>
          <ac:spMkLst>
            <pc:docMk/>
            <pc:sldMk cId="1386824308" sldId="385"/>
            <ac:spMk id="14" creationId="{5920D553-10D0-A6F5-FB29-EF26F8DDF760}"/>
          </ac:spMkLst>
        </pc:spChg>
        <pc:spChg chg="del">
          <ac:chgData name="Hans Gelissen (DHL SSC Maastricht)" userId="1afa8510-4eed-4b73-a29e-678838cd8acd" providerId="ADAL" clId="{F3A22D4D-2B68-4909-BFE7-4E46D0708FA9}" dt="2023-05-10T10:52:10.113" v="10340" actId="478"/>
          <ac:spMkLst>
            <pc:docMk/>
            <pc:sldMk cId="1386824308" sldId="385"/>
            <ac:spMk id="15" creationId="{B9506734-00D6-86BE-1BC0-E7ABF032E705}"/>
          </ac:spMkLst>
        </pc:spChg>
        <pc:spChg chg="del">
          <ac:chgData name="Hans Gelissen (DHL SSC Maastricht)" userId="1afa8510-4eed-4b73-a29e-678838cd8acd" providerId="ADAL" clId="{F3A22D4D-2B68-4909-BFE7-4E46D0708FA9}" dt="2023-05-10T10:52:23.711" v="10341" actId="478"/>
          <ac:spMkLst>
            <pc:docMk/>
            <pc:sldMk cId="1386824308" sldId="385"/>
            <ac:spMk id="16" creationId="{13176E8E-9D04-FC47-8A9D-EC9EA3E48738}"/>
          </ac:spMkLst>
        </pc:spChg>
        <pc:spChg chg="del">
          <ac:chgData name="Hans Gelissen (DHL SSC Maastricht)" userId="1afa8510-4eed-4b73-a29e-678838cd8acd" providerId="ADAL" clId="{F3A22D4D-2B68-4909-BFE7-4E46D0708FA9}" dt="2023-05-10T10:52:23.711" v="10341" actId="478"/>
          <ac:spMkLst>
            <pc:docMk/>
            <pc:sldMk cId="1386824308" sldId="385"/>
            <ac:spMk id="17" creationId="{E365EE0A-6015-7AAA-FC1D-BBD95CB1977D}"/>
          </ac:spMkLst>
        </pc:spChg>
        <pc:spChg chg="del">
          <ac:chgData name="Hans Gelissen (DHL SSC Maastricht)" userId="1afa8510-4eed-4b73-a29e-678838cd8acd" providerId="ADAL" clId="{F3A22D4D-2B68-4909-BFE7-4E46D0708FA9}" dt="2023-05-10T10:52:04.976" v="10339" actId="478"/>
          <ac:spMkLst>
            <pc:docMk/>
            <pc:sldMk cId="1386824308" sldId="385"/>
            <ac:spMk id="18" creationId="{624856BA-2483-B134-032C-4EF118C23491}"/>
          </ac:spMkLst>
        </pc:spChg>
        <pc:spChg chg="del">
          <ac:chgData name="Hans Gelissen (DHL SSC Maastricht)" userId="1afa8510-4eed-4b73-a29e-678838cd8acd" providerId="ADAL" clId="{F3A22D4D-2B68-4909-BFE7-4E46D0708FA9}" dt="2023-05-10T10:52:04.976" v="10339" actId="478"/>
          <ac:spMkLst>
            <pc:docMk/>
            <pc:sldMk cId="1386824308" sldId="385"/>
            <ac:spMk id="19" creationId="{E6A069EB-8047-8C34-95B7-950FBF2F52EB}"/>
          </ac:spMkLst>
        </pc:spChg>
        <pc:spChg chg="del">
          <ac:chgData name="Hans Gelissen (DHL SSC Maastricht)" userId="1afa8510-4eed-4b73-a29e-678838cd8acd" providerId="ADAL" clId="{F3A22D4D-2B68-4909-BFE7-4E46D0708FA9}" dt="2023-05-10T10:51:56.496" v="10338" actId="478"/>
          <ac:spMkLst>
            <pc:docMk/>
            <pc:sldMk cId="1386824308" sldId="385"/>
            <ac:spMk id="20" creationId="{A3495480-B888-B422-2016-94FF2025E9A3}"/>
          </ac:spMkLst>
        </pc:spChg>
        <pc:spChg chg="del">
          <ac:chgData name="Hans Gelissen (DHL SSC Maastricht)" userId="1afa8510-4eed-4b73-a29e-678838cd8acd" providerId="ADAL" clId="{F3A22D4D-2B68-4909-BFE7-4E46D0708FA9}" dt="2023-05-10T10:51:56.496" v="10338" actId="478"/>
          <ac:spMkLst>
            <pc:docMk/>
            <pc:sldMk cId="1386824308" sldId="385"/>
            <ac:spMk id="21" creationId="{72253673-974B-45A2-E060-EE30748FDDD0}"/>
          </ac:spMkLst>
        </pc:spChg>
        <pc:spChg chg="del">
          <ac:chgData name="Hans Gelissen (DHL SSC Maastricht)" userId="1afa8510-4eed-4b73-a29e-678838cd8acd" providerId="ADAL" clId="{F3A22D4D-2B68-4909-BFE7-4E46D0708FA9}" dt="2023-05-10T10:51:56.496" v="10338" actId="478"/>
          <ac:spMkLst>
            <pc:docMk/>
            <pc:sldMk cId="1386824308" sldId="385"/>
            <ac:spMk id="22" creationId="{49D0E81F-05A8-FBC8-2438-93E38D07B2E5}"/>
          </ac:spMkLst>
        </pc:spChg>
        <pc:spChg chg="del">
          <ac:chgData name="Hans Gelissen (DHL SSC Maastricht)" userId="1afa8510-4eed-4b73-a29e-678838cd8acd" providerId="ADAL" clId="{F3A22D4D-2B68-4909-BFE7-4E46D0708FA9}" dt="2023-05-10T10:51:56.496" v="10338" actId="478"/>
          <ac:spMkLst>
            <pc:docMk/>
            <pc:sldMk cId="1386824308" sldId="385"/>
            <ac:spMk id="23" creationId="{4B89A9C0-CE56-7C0F-2F41-4900DECB9D7B}"/>
          </ac:spMkLst>
        </pc:spChg>
        <pc:spChg chg="del">
          <ac:chgData name="Hans Gelissen (DHL SSC Maastricht)" userId="1afa8510-4eed-4b73-a29e-678838cd8acd" providerId="ADAL" clId="{F3A22D4D-2B68-4909-BFE7-4E46D0708FA9}" dt="2023-05-10T10:52:23.711" v="10341" actId="478"/>
          <ac:spMkLst>
            <pc:docMk/>
            <pc:sldMk cId="1386824308" sldId="385"/>
            <ac:spMk id="24" creationId="{B6CBA1A0-A179-0196-11B8-1286DD162ECD}"/>
          </ac:spMkLst>
        </pc:spChg>
        <pc:spChg chg="del">
          <ac:chgData name="Hans Gelissen (DHL SSC Maastricht)" userId="1afa8510-4eed-4b73-a29e-678838cd8acd" providerId="ADAL" clId="{F3A22D4D-2B68-4909-BFE7-4E46D0708FA9}" dt="2023-05-10T10:52:23.711" v="10341" actId="478"/>
          <ac:spMkLst>
            <pc:docMk/>
            <pc:sldMk cId="1386824308" sldId="385"/>
            <ac:spMk id="25" creationId="{2E9320A1-634E-7E46-A34E-122B731E2959}"/>
          </ac:spMkLst>
        </pc:spChg>
        <pc:spChg chg="del">
          <ac:chgData name="Hans Gelissen (DHL SSC Maastricht)" userId="1afa8510-4eed-4b73-a29e-678838cd8acd" providerId="ADAL" clId="{F3A22D4D-2B68-4909-BFE7-4E46D0708FA9}" dt="2023-05-10T10:52:23.711" v="10341" actId="478"/>
          <ac:spMkLst>
            <pc:docMk/>
            <pc:sldMk cId="1386824308" sldId="385"/>
            <ac:spMk id="26" creationId="{24F250FF-2978-8A6C-7287-F5F39315A0DD}"/>
          </ac:spMkLst>
        </pc:spChg>
        <pc:spChg chg="del">
          <ac:chgData name="Hans Gelissen (DHL SSC Maastricht)" userId="1afa8510-4eed-4b73-a29e-678838cd8acd" providerId="ADAL" clId="{F3A22D4D-2B68-4909-BFE7-4E46D0708FA9}" dt="2023-05-10T10:52:04.976" v="10339" actId="478"/>
          <ac:spMkLst>
            <pc:docMk/>
            <pc:sldMk cId="1386824308" sldId="385"/>
            <ac:spMk id="27" creationId="{F4406ECC-BE48-46C0-C93E-85A97BD44DC7}"/>
          </ac:spMkLst>
        </pc:spChg>
        <pc:spChg chg="del">
          <ac:chgData name="Hans Gelissen (DHL SSC Maastricht)" userId="1afa8510-4eed-4b73-a29e-678838cd8acd" providerId="ADAL" clId="{F3A22D4D-2B68-4909-BFE7-4E46D0708FA9}" dt="2023-05-10T10:52:04.976" v="10339" actId="478"/>
          <ac:spMkLst>
            <pc:docMk/>
            <pc:sldMk cId="1386824308" sldId="385"/>
            <ac:spMk id="28" creationId="{F1629880-0868-CF2C-B54F-962AADF46C60}"/>
          </ac:spMkLst>
        </pc:spChg>
        <pc:spChg chg="del">
          <ac:chgData name="Hans Gelissen (DHL SSC Maastricht)" userId="1afa8510-4eed-4b73-a29e-678838cd8acd" providerId="ADAL" clId="{F3A22D4D-2B68-4909-BFE7-4E46D0708FA9}" dt="2023-05-10T10:52:04.976" v="10339" actId="478"/>
          <ac:spMkLst>
            <pc:docMk/>
            <pc:sldMk cId="1386824308" sldId="385"/>
            <ac:spMk id="29" creationId="{4486B0C0-AE93-BD39-86D4-224949520978}"/>
          </ac:spMkLst>
        </pc:spChg>
        <pc:spChg chg="del">
          <ac:chgData name="Hans Gelissen (DHL SSC Maastricht)" userId="1afa8510-4eed-4b73-a29e-678838cd8acd" providerId="ADAL" clId="{F3A22D4D-2B68-4909-BFE7-4E46D0708FA9}" dt="2023-05-10T10:52:23.711" v="10341" actId="478"/>
          <ac:spMkLst>
            <pc:docMk/>
            <pc:sldMk cId="1386824308" sldId="385"/>
            <ac:spMk id="30" creationId="{19A192BF-E434-CDA0-6DBB-901F0A22FE73}"/>
          </ac:spMkLst>
        </pc:spChg>
        <pc:spChg chg="del">
          <ac:chgData name="Hans Gelissen (DHL SSC Maastricht)" userId="1afa8510-4eed-4b73-a29e-678838cd8acd" providerId="ADAL" clId="{F3A22D4D-2B68-4909-BFE7-4E46D0708FA9}" dt="2023-05-10T10:52:23.711" v="10341" actId="478"/>
          <ac:spMkLst>
            <pc:docMk/>
            <pc:sldMk cId="1386824308" sldId="385"/>
            <ac:spMk id="31" creationId="{632AE694-5550-4F50-DD04-BEAF90CFC060}"/>
          </ac:spMkLst>
        </pc:spChg>
        <pc:spChg chg="del">
          <ac:chgData name="Hans Gelissen (DHL SSC Maastricht)" userId="1afa8510-4eed-4b73-a29e-678838cd8acd" providerId="ADAL" clId="{F3A22D4D-2B68-4909-BFE7-4E46D0708FA9}" dt="2023-05-10T10:52:23.711" v="10341" actId="478"/>
          <ac:spMkLst>
            <pc:docMk/>
            <pc:sldMk cId="1386824308" sldId="385"/>
            <ac:spMk id="32" creationId="{3CEFCE69-3EC0-F644-E699-4CCC88417E86}"/>
          </ac:spMkLst>
        </pc:spChg>
        <pc:spChg chg="del">
          <ac:chgData name="Hans Gelissen (DHL SSC Maastricht)" userId="1afa8510-4eed-4b73-a29e-678838cd8acd" providerId="ADAL" clId="{F3A22D4D-2B68-4909-BFE7-4E46D0708FA9}" dt="2023-05-10T10:52:23.711" v="10341" actId="478"/>
          <ac:spMkLst>
            <pc:docMk/>
            <pc:sldMk cId="1386824308" sldId="385"/>
            <ac:spMk id="33" creationId="{343FE921-25F0-F63C-14C4-DA5913704594}"/>
          </ac:spMkLst>
        </pc:spChg>
        <pc:spChg chg="del">
          <ac:chgData name="Hans Gelissen (DHL SSC Maastricht)" userId="1afa8510-4eed-4b73-a29e-678838cd8acd" providerId="ADAL" clId="{F3A22D4D-2B68-4909-BFE7-4E46D0708FA9}" dt="2023-05-10T10:52:04.976" v="10339" actId="478"/>
          <ac:spMkLst>
            <pc:docMk/>
            <pc:sldMk cId="1386824308" sldId="385"/>
            <ac:spMk id="34" creationId="{ED6E285B-C75C-69CC-92B9-1E8B489260F1}"/>
          </ac:spMkLst>
        </pc:spChg>
      </pc:sldChg>
      <pc:sldChg chg="delSp add del mod delAnim">
        <pc:chgData name="Hans Gelissen (DHL SSC Maastricht)" userId="1afa8510-4eed-4b73-a29e-678838cd8acd" providerId="ADAL" clId="{F3A22D4D-2B68-4909-BFE7-4E46D0708FA9}" dt="2023-05-10T10:51:48.388" v="10336" actId="47"/>
        <pc:sldMkLst>
          <pc:docMk/>
          <pc:sldMk cId="1448277368" sldId="385"/>
        </pc:sldMkLst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10" creationId="{5F4270C4-B286-BB7D-909A-023422AA3FDA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11" creationId="{1019A2DA-8047-05F0-2BCD-20EC262A9965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12" creationId="{86E2952D-78C4-97DD-0E49-9E74C71F693E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13" creationId="{0D8C0A95-47C8-9C50-AE76-2F3E7106C8DC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14" creationId="{759F108B-52F4-1DA1-0D15-546F14BC631E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15" creationId="{589BC16C-7779-638A-7A8D-3C8A93C85141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17" creationId="{FDBA6122-985D-26DE-8B47-9FDE117594C6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18" creationId="{B520DCD4-CC0A-C06B-0488-AC786288E292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19" creationId="{A59A2750-8D38-AA0A-BCC7-2666D8F61756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24" creationId="{EC5BB199-64F7-D160-0909-7706E44D588F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25" creationId="{56ECA9BC-0AEA-A0A3-3E9C-AA305D22839A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26" creationId="{4F1049D2-9FD3-7020-81D0-1E00D4CD4B58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27" creationId="{5056FFEF-07A4-5C96-7E7F-51D9F513F0AE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28" creationId="{D388A67E-9C0B-FBBF-8D79-65A01018A4D8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29" creationId="{F9B98177-BFD9-6486-34C6-3837D4BC3065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30" creationId="{2674A624-7F38-CA92-BFD9-C0553DA7F1AD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31" creationId="{7E00CEF4-A547-ACDC-54F2-7C26B28B1672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32" creationId="{A141749C-D3D3-DE9B-BF5A-CEF2C343479C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33" creationId="{0E50BBE5-328E-38DD-4DD3-ABC1653F2BF8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34" creationId="{B367594F-10FF-975A-E74D-E37279A02325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35" creationId="{81474695-7229-AAA9-C32C-DFE1322D17AB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36" creationId="{157F4B9C-8409-7CAD-00DF-2041C2968D85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37" creationId="{A423AAA4-DAEA-9F65-6BC0-2F7B393092FD}"/>
          </ac:spMkLst>
        </pc:spChg>
        <pc:spChg chg="del">
          <ac:chgData name="Hans Gelissen (DHL SSC Maastricht)" userId="1afa8510-4eed-4b73-a29e-678838cd8acd" providerId="ADAL" clId="{F3A22D4D-2B68-4909-BFE7-4E46D0708FA9}" dt="2023-05-10T10:48:02.813" v="10335" actId="478"/>
          <ac:spMkLst>
            <pc:docMk/>
            <pc:sldMk cId="1448277368" sldId="385"/>
            <ac:spMk id="38" creationId="{F3B2155D-5635-6F05-0EE1-883BFCD16800}"/>
          </ac:spMkLst>
        </pc:spChg>
      </pc:sldChg>
      <pc:sldChg chg="addSp delSp modSp new mod modClrScheme modShow chgLayout">
        <pc:chgData name="Hans Gelissen (DHL SSC Maastricht)" userId="1afa8510-4eed-4b73-a29e-678838cd8acd" providerId="ADAL" clId="{F3A22D4D-2B68-4909-BFE7-4E46D0708FA9}" dt="2023-05-15T10:11:42.113" v="10676" actId="729"/>
        <pc:sldMkLst>
          <pc:docMk/>
          <pc:sldMk cId="1879198405" sldId="386"/>
        </pc:sldMkLst>
        <pc:spChg chg="mod ord">
          <ac:chgData name="Hans Gelissen (DHL SSC Maastricht)" userId="1afa8510-4eed-4b73-a29e-678838cd8acd" providerId="ADAL" clId="{F3A22D4D-2B68-4909-BFE7-4E46D0708FA9}" dt="2023-05-15T10:01:48.544" v="10612" actId="27636"/>
          <ac:spMkLst>
            <pc:docMk/>
            <pc:sldMk cId="1879198405" sldId="386"/>
            <ac:spMk id="2" creationId="{B38F96B2-E3B4-C081-6739-F4DB2F01086A}"/>
          </ac:spMkLst>
        </pc:spChg>
        <pc:spChg chg="del">
          <ac:chgData name="Hans Gelissen (DHL SSC Maastricht)" userId="1afa8510-4eed-4b73-a29e-678838cd8acd" providerId="ADAL" clId="{F3A22D4D-2B68-4909-BFE7-4E46D0708FA9}" dt="2023-05-15T09:59:04.372" v="10487" actId="478"/>
          <ac:spMkLst>
            <pc:docMk/>
            <pc:sldMk cId="1879198405" sldId="386"/>
            <ac:spMk id="3" creationId="{6F8B0271-86CF-AEAB-3DC0-B82025E9CCB3}"/>
          </ac:spMkLst>
        </pc:spChg>
        <pc:spChg chg="add del mod ord">
          <ac:chgData name="Hans Gelissen (DHL SSC Maastricht)" userId="1afa8510-4eed-4b73-a29e-678838cd8acd" providerId="ADAL" clId="{F3A22D4D-2B68-4909-BFE7-4E46D0708FA9}" dt="2023-05-15T10:01:20.237" v="10603" actId="478"/>
          <ac:spMkLst>
            <pc:docMk/>
            <pc:sldMk cId="1879198405" sldId="386"/>
            <ac:spMk id="5" creationId="{4A7D5B73-4A8F-A1F7-9828-F868695014B6}"/>
          </ac:spMkLst>
        </pc:spChg>
        <pc:graphicFrameChg chg="add del mod modGraphic">
          <ac:chgData name="Hans Gelissen (DHL SSC Maastricht)" userId="1afa8510-4eed-4b73-a29e-678838cd8acd" providerId="ADAL" clId="{F3A22D4D-2B68-4909-BFE7-4E46D0708FA9}" dt="2023-05-15T10:04:21.313" v="10624" actId="21"/>
          <ac:graphicFrameMkLst>
            <pc:docMk/>
            <pc:sldMk cId="1879198405" sldId="386"/>
            <ac:graphicFrameMk id="4" creationId="{AF6E4B7C-C2AA-8C3B-0E69-2F690D6146F5}"/>
          </ac:graphicFrameMkLst>
        </pc:graphicFrameChg>
        <pc:graphicFrameChg chg="add del mod modGraphic">
          <ac:chgData name="Hans Gelissen (DHL SSC Maastricht)" userId="1afa8510-4eed-4b73-a29e-678838cd8acd" providerId="ADAL" clId="{F3A22D4D-2B68-4909-BFE7-4E46D0708FA9}" dt="2023-05-15T10:09:44.648" v="10668" actId="478"/>
          <ac:graphicFrameMkLst>
            <pc:docMk/>
            <pc:sldMk cId="1879198405" sldId="386"/>
            <ac:graphicFrameMk id="6" creationId="{5CC3E9DD-8123-2EA0-48A5-A89D662EFCE6}"/>
          </ac:graphicFrameMkLst>
        </pc:graphicFrameChg>
        <pc:graphicFrameChg chg="add mod modGraphic">
          <ac:chgData name="Hans Gelissen (DHL SSC Maastricht)" userId="1afa8510-4eed-4b73-a29e-678838cd8acd" providerId="ADAL" clId="{F3A22D4D-2B68-4909-BFE7-4E46D0708FA9}" dt="2023-05-15T10:11:37.548" v="10675" actId="1076"/>
          <ac:graphicFrameMkLst>
            <pc:docMk/>
            <pc:sldMk cId="1879198405" sldId="386"/>
            <ac:graphicFrameMk id="7" creationId="{A40800C7-53E9-DCF6-CF76-AD0BE9AF74DC}"/>
          </ac:graphicFrameMkLst>
        </pc:graphicFrameChg>
      </pc:sldChg>
      <pc:sldChg chg="addSp delSp modSp new mod modClrScheme modShow chgLayout">
        <pc:chgData name="Hans Gelissen (DHL SSC Maastricht)" userId="1afa8510-4eed-4b73-a29e-678838cd8acd" providerId="ADAL" clId="{F3A22D4D-2B68-4909-BFE7-4E46D0708FA9}" dt="2023-05-15T10:11:45.803" v="10677" actId="729"/>
        <pc:sldMkLst>
          <pc:docMk/>
          <pc:sldMk cId="3173234939" sldId="387"/>
        </pc:sldMkLst>
        <pc:spChg chg="mod ord">
          <ac:chgData name="Hans Gelissen (DHL SSC Maastricht)" userId="1afa8510-4eed-4b73-a29e-678838cd8acd" providerId="ADAL" clId="{F3A22D4D-2B68-4909-BFE7-4E46D0708FA9}" dt="2023-05-15T10:05:22.243" v="10635" actId="14100"/>
          <ac:spMkLst>
            <pc:docMk/>
            <pc:sldMk cId="3173234939" sldId="387"/>
            <ac:spMk id="2" creationId="{02504AED-833B-EA9C-2AC6-BB1B9F33DF87}"/>
          </ac:spMkLst>
        </pc:spChg>
        <pc:spChg chg="del">
          <ac:chgData name="Hans Gelissen (DHL SSC Maastricht)" userId="1afa8510-4eed-4b73-a29e-678838cd8acd" providerId="ADAL" clId="{F3A22D4D-2B68-4909-BFE7-4E46D0708FA9}" dt="2023-05-15T09:59:32.826" v="10490" actId="478"/>
          <ac:spMkLst>
            <pc:docMk/>
            <pc:sldMk cId="3173234939" sldId="387"/>
            <ac:spMk id="3" creationId="{6CD1975F-3527-F63D-1138-CA7A9E3C9E5B}"/>
          </ac:spMkLst>
        </pc:spChg>
        <pc:spChg chg="add del mod ord">
          <ac:chgData name="Hans Gelissen (DHL SSC Maastricht)" userId="1afa8510-4eed-4b73-a29e-678838cd8acd" providerId="ADAL" clId="{F3A22D4D-2B68-4909-BFE7-4E46D0708FA9}" dt="2023-05-15T10:02:04.771" v="10615" actId="700"/>
          <ac:spMkLst>
            <pc:docMk/>
            <pc:sldMk cId="3173234939" sldId="387"/>
            <ac:spMk id="4" creationId="{212748E3-9116-8AAF-574B-B1AAB87B8B77}"/>
          </ac:spMkLst>
        </pc:spChg>
        <pc:spChg chg="add del mod ord">
          <ac:chgData name="Hans Gelissen (DHL SSC Maastricht)" userId="1afa8510-4eed-4b73-a29e-678838cd8acd" providerId="ADAL" clId="{F3A22D4D-2B68-4909-BFE7-4E46D0708FA9}" dt="2023-05-15T10:02:07.449" v="10616" actId="478"/>
          <ac:spMkLst>
            <pc:docMk/>
            <pc:sldMk cId="3173234939" sldId="387"/>
            <ac:spMk id="5" creationId="{5EAB2719-04AB-57F8-FF74-D8321F86F58F}"/>
          </ac:spMkLst>
        </pc:spChg>
        <pc:spChg chg="add del mod ord">
          <ac:chgData name="Hans Gelissen (DHL SSC Maastricht)" userId="1afa8510-4eed-4b73-a29e-678838cd8acd" providerId="ADAL" clId="{F3A22D4D-2B68-4909-BFE7-4E46D0708FA9}" dt="2023-05-15T10:05:09.570" v="10630" actId="700"/>
          <ac:spMkLst>
            <pc:docMk/>
            <pc:sldMk cId="3173234939" sldId="387"/>
            <ac:spMk id="7" creationId="{88E46459-72C3-90A2-BE14-A6147976581B}"/>
          </ac:spMkLst>
        </pc:spChg>
        <pc:spChg chg="add del mod ord">
          <ac:chgData name="Hans Gelissen (DHL SSC Maastricht)" userId="1afa8510-4eed-4b73-a29e-678838cd8acd" providerId="ADAL" clId="{F3A22D4D-2B68-4909-BFE7-4E46D0708FA9}" dt="2023-05-15T10:05:13.595" v="10631" actId="478"/>
          <ac:spMkLst>
            <pc:docMk/>
            <pc:sldMk cId="3173234939" sldId="387"/>
            <ac:spMk id="8" creationId="{C9279919-3AA2-B87D-2526-8A852FCF3A3F}"/>
          </ac:spMkLst>
        </pc:spChg>
        <pc:graphicFrameChg chg="add mod modGraphic">
          <ac:chgData name="Hans Gelissen (DHL SSC Maastricht)" userId="1afa8510-4eed-4b73-a29e-678838cd8acd" providerId="ADAL" clId="{F3A22D4D-2B68-4909-BFE7-4E46D0708FA9}" dt="2023-05-15T10:09:28.737" v="10665" actId="12385"/>
          <ac:graphicFrameMkLst>
            <pc:docMk/>
            <pc:sldMk cId="3173234939" sldId="387"/>
            <ac:graphicFrameMk id="6" creationId="{A62FC1F8-2036-20FA-2CE2-961ADF86ABF9}"/>
          </ac:graphicFrameMkLst>
        </pc:graphicFrameChg>
        <pc:graphicFrameChg chg="add del mod modGraphic">
          <ac:chgData name="Hans Gelissen (DHL SSC Maastricht)" userId="1afa8510-4eed-4b73-a29e-678838cd8acd" providerId="ADAL" clId="{F3A22D4D-2B68-4909-BFE7-4E46D0708FA9}" dt="2023-05-15T10:08:31.406" v="10654" actId="21"/>
          <ac:graphicFrameMkLst>
            <pc:docMk/>
            <pc:sldMk cId="3173234939" sldId="387"/>
            <ac:graphicFrameMk id="9" creationId="{81744FDD-8AC9-DF60-90F0-12EC2F7E3481}"/>
          </ac:graphicFrameMkLst>
        </pc:graphicFrameChg>
      </pc:sldChg>
      <pc:sldChg chg="addSp delSp modSp new mod modClrScheme modShow chgLayout">
        <pc:chgData name="Hans Gelissen (DHL SSC Maastricht)" userId="1afa8510-4eed-4b73-a29e-678838cd8acd" providerId="ADAL" clId="{F3A22D4D-2B68-4909-BFE7-4E46D0708FA9}" dt="2023-05-15T10:11:51.664" v="10678" actId="729"/>
        <pc:sldMkLst>
          <pc:docMk/>
          <pc:sldMk cId="4263608791" sldId="388"/>
        </pc:sldMkLst>
        <pc:spChg chg="mod ord">
          <ac:chgData name="Hans Gelissen (DHL SSC Maastricht)" userId="1afa8510-4eed-4b73-a29e-678838cd8acd" providerId="ADAL" clId="{F3A22D4D-2B68-4909-BFE7-4E46D0708FA9}" dt="2023-05-15T10:08:47.605" v="10660" actId="27636"/>
          <ac:spMkLst>
            <pc:docMk/>
            <pc:sldMk cId="4263608791" sldId="388"/>
            <ac:spMk id="2" creationId="{B894D470-4E59-6D0F-2431-2AAD1E46CBA7}"/>
          </ac:spMkLst>
        </pc:spChg>
        <pc:spChg chg="del">
          <ac:chgData name="Hans Gelissen (DHL SSC Maastricht)" userId="1afa8510-4eed-4b73-a29e-678838cd8acd" providerId="ADAL" clId="{F3A22D4D-2B68-4909-BFE7-4E46D0708FA9}" dt="2023-05-15T09:59:36.217" v="10491" actId="478"/>
          <ac:spMkLst>
            <pc:docMk/>
            <pc:sldMk cId="4263608791" sldId="388"/>
            <ac:spMk id="3" creationId="{B85FE164-447F-E3D8-47F7-3F56E300D413}"/>
          </ac:spMkLst>
        </pc:spChg>
        <pc:spChg chg="add del mod ord">
          <ac:chgData name="Hans Gelissen (DHL SSC Maastricht)" userId="1afa8510-4eed-4b73-a29e-678838cd8acd" providerId="ADAL" clId="{F3A22D4D-2B68-4909-BFE7-4E46D0708FA9}" dt="2023-05-15T10:08:44.626" v="10658" actId="478"/>
          <ac:spMkLst>
            <pc:docMk/>
            <pc:sldMk cId="4263608791" sldId="388"/>
            <ac:spMk id="5" creationId="{29330DBD-F45A-B4D9-81C4-26D5056E72C5}"/>
          </ac:spMkLst>
        </pc:spChg>
        <pc:graphicFrameChg chg="add mod modGraphic">
          <ac:chgData name="Hans Gelissen (DHL SSC Maastricht)" userId="1afa8510-4eed-4b73-a29e-678838cd8acd" providerId="ADAL" clId="{F3A22D4D-2B68-4909-BFE7-4E46D0708FA9}" dt="2023-05-15T10:09:05.960" v="10662" actId="12385"/>
          <ac:graphicFrameMkLst>
            <pc:docMk/>
            <pc:sldMk cId="4263608791" sldId="388"/>
            <ac:graphicFrameMk id="4" creationId="{D7F1CB95-080F-8346-CA70-BA52094494D8}"/>
          </ac:graphicFrameMkLst>
        </pc:graphicFrameChg>
      </pc:sldChg>
      <pc:sldMasterChg chg="modSldLayout">
        <pc:chgData name="Hans Gelissen (DHL SSC Maastricht)" userId="1afa8510-4eed-4b73-a29e-678838cd8acd" providerId="ADAL" clId="{F3A22D4D-2B68-4909-BFE7-4E46D0708FA9}" dt="2023-05-10T14:25:31.067" v="10427"/>
        <pc:sldMasterMkLst>
          <pc:docMk/>
          <pc:sldMasterMk cId="2253695231" sldId="2147483754"/>
        </pc:sldMasterMkLst>
        <pc:sldLayoutChg chg="modSp mod">
          <pc:chgData name="Hans Gelissen (DHL SSC Maastricht)" userId="1afa8510-4eed-4b73-a29e-678838cd8acd" providerId="ADAL" clId="{F3A22D4D-2B68-4909-BFE7-4E46D0708FA9}" dt="2023-05-10T14:21:17.721" v="10411" actId="1076"/>
          <pc:sldLayoutMkLst>
            <pc:docMk/>
            <pc:sldMasterMk cId="2253695231" sldId="2147483754"/>
            <pc:sldLayoutMk cId="2511530909" sldId="2147483924"/>
          </pc:sldLayoutMkLst>
          <pc:picChg chg="mod">
            <ac:chgData name="Hans Gelissen (DHL SSC Maastricht)" userId="1afa8510-4eed-4b73-a29e-678838cd8acd" providerId="ADAL" clId="{F3A22D4D-2B68-4909-BFE7-4E46D0708FA9}" dt="2023-05-10T14:21:17.721" v="10411" actId="1076"/>
            <ac:picMkLst>
              <pc:docMk/>
              <pc:sldMasterMk cId="2253695231" sldId="2147483754"/>
              <pc:sldLayoutMk cId="2511530909" sldId="2147483924"/>
              <ac:picMk id="68" creationId="{057DE056-C7CF-4F93-AB08-27AD11DF1550}"/>
            </ac:picMkLst>
          </pc:picChg>
          <pc:picChg chg="mod">
            <ac:chgData name="Hans Gelissen (DHL SSC Maastricht)" userId="1afa8510-4eed-4b73-a29e-678838cd8acd" providerId="ADAL" clId="{F3A22D4D-2B68-4909-BFE7-4E46D0708FA9}" dt="2023-05-10T14:21:17.089" v="10410" actId="1076"/>
            <ac:picMkLst>
              <pc:docMk/>
              <pc:sldMasterMk cId="2253695231" sldId="2147483754"/>
              <pc:sldLayoutMk cId="2511530909" sldId="2147483924"/>
              <ac:picMk id="69" creationId="{D427F845-0F55-45E6-BC89-CA93C6EB54DE}"/>
            </ac:picMkLst>
          </pc:picChg>
        </pc:sldLayoutChg>
        <pc:sldLayoutChg chg="addSp delSp modSp mod">
          <pc:chgData name="Hans Gelissen (DHL SSC Maastricht)" userId="1afa8510-4eed-4b73-a29e-678838cd8acd" providerId="ADAL" clId="{F3A22D4D-2B68-4909-BFE7-4E46D0708FA9}" dt="2023-05-10T14:25:31.067" v="10427"/>
          <pc:sldLayoutMkLst>
            <pc:docMk/>
            <pc:sldMasterMk cId="2253695231" sldId="2147483754"/>
            <pc:sldLayoutMk cId="1611940501" sldId="2147483925"/>
          </pc:sldLayoutMkLst>
          <pc:spChg chg="add del">
            <ac:chgData name="Hans Gelissen (DHL SSC Maastricht)" userId="1afa8510-4eed-4b73-a29e-678838cd8acd" providerId="ADAL" clId="{F3A22D4D-2B68-4909-BFE7-4E46D0708FA9}" dt="2023-05-10T14:24:04.096" v="10412" actId="11529"/>
            <ac:spMkLst>
              <pc:docMk/>
              <pc:sldMasterMk cId="2253695231" sldId="2147483754"/>
              <pc:sldLayoutMk cId="1611940501" sldId="2147483925"/>
              <ac:spMk id="2" creationId="{DD4EACB3-18FC-809E-9EA7-26100ED0C442}"/>
            </ac:spMkLst>
          </pc:spChg>
          <pc:spChg chg="add del mod">
            <ac:chgData name="Hans Gelissen (DHL SSC Maastricht)" userId="1afa8510-4eed-4b73-a29e-678838cd8acd" providerId="ADAL" clId="{F3A22D4D-2B68-4909-BFE7-4E46D0708FA9}" dt="2023-05-10T14:25:20.732" v="10425" actId="478"/>
            <ac:spMkLst>
              <pc:docMk/>
              <pc:sldMasterMk cId="2253695231" sldId="2147483754"/>
              <pc:sldLayoutMk cId="1611940501" sldId="2147483925"/>
              <ac:spMk id="6" creationId="{5599328D-BC42-7496-3609-83F984E8B8ED}"/>
            </ac:spMkLst>
          </pc:spChg>
          <pc:spChg chg="mod">
            <ac:chgData name="Hans Gelissen (DHL SSC Maastricht)" userId="1afa8510-4eed-4b73-a29e-678838cd8acd" providerId="ADAL" clId="{F3A22D4D-2B68-4909-BFE7-4E46D0708FA9}" dt="2023-05-10T14:25:31.067" v="10427"/>
            <ac:spMkLst>
              <pc:docMk/>
              <pc:sldMasterMk cId="2253695231" sldId="2147483754"/>
              <pc:sldLayoutMk cId="1611940501" sldId="2147483925"/>
              <ac:spMk id="8" creationId="{AA4AC4B6-ABA2-25A6-67AD-C05B184BFC1C}"/>
            </ac:spMkLst>
          </pc:spChg>
          <pc:grpChg chg="add mod">
            <ac:chgData name="Hans Gelissen (DHL SSC Maastricht)" userId="1afa8510-4eed-4b73-a29e-678838cd8acd" providerId="ADAL" clId="{F3A22D4D-2B68-4909-BFE7-4E46D0708FA9}" dt="2023-05-10T14:25:31.067" v="10427"/>
            <ac:grpSpMkLst>
              <pc:docMk/>
              <pc:sldMasterMk cId="2253695231" sldId="2147483754"/>
              <pc:sldLayoutMk cId="1611940501" sldId="2147483925"/>
              <ac:grpSpMk id="7" creationId="{18928F4B-E0D4-E527-71AA-CEFD261C5339}"/>
            </ac:grpSpMkLst>
          </pc:grpChg>
          <pc:grpChg chg="del mod">
            <ac:chgData name="Hans Gelissen (DHL SSC Maastricht)" userId="1afa8510-4eed-4b73-a29e-678838cd8acd" providerId="ADAL" clId="{F3A22D4D-2B68-4909-BFE7-4E46D0708FA9}" dt="2023-05-10T14:25:26.066" v="10426" actId="478"/>
            <ac:grpSpMkLst>
              <pc:docMk/>
              <pc:sldMasterMk cId="2253695231" sldId="2147483754"/>
              <pc:sldLayoutMk cId="1611940501" sldId="2147483925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3A22D4D-2B68-4909-BFE7-4E46D0708FA9}" dt="2023-05-10T14:25:31.067" v="10427"/>
            <ac:picMkLst>
              <pc:docMk/>
              <pc:sldMasterMk cId="2253695231" sldId="2147483754"/>
              <pc:sldLayoutMk cId="1611940501" sldId="2147483925"/>
              <ac:picMk id="9" creationId="{8AC81CA9-2B7F-6C93-8A18-6D01BDDB32AF}"/>
            </ac:picMkLst>
          </pc:picChg>
          <pc:picChg chg="mod">
            <ac:chgData name="Hans Gelissen (DHL SSC Maastricht)" userId="1afa8510-4eed-4b73-a29e-678838cd8acd" providerId="ADAL" clId="{F3A22D4D-2B68-4909-BFE7-4E46D0708FA9}" dt="2023-05-10T14:25:31.067" v="10427"/>
            <ac:picMkLst>
              <pc:docMk/>
              <pc:sldMasterMk cId="2253695231" sldId="2147483754"/>
              <pc:sldLayoutMk cId="1611940501" sldId="2147483925"/>
              <ac:picMk id="53" creationId="{1AA5232A-8433-1216-9135-9BD80F35894F}"/>
            </ac:picMkLst>
          </pc:picChg>
          <pc:picChg chg="mod">
            <ac:chgData name="Hans Gelissen (DHL SSC Maastricht)" userId="1afa8510-4eed-4b73-a29e-678838cd8acd" providerId="ADAL" clId="{F3A22D4D-2B68-4909-BFE7-4E46D0708FA9}" dt="2023-05-10T14:25:31.067" v="10427"/>
            <ac:picMkLst>
              <pc:docMk/>
              <pc:sldMasterMk cId="2253695231" sldId="2147483754"/>
              <pc:sldLayoutMk cId="1611940501" sldId="2147483925"/>
              <ac:picMk id="54" creationId="{2AE7BCB8-436C-A18E-3901-926B5E7EF00A}"/>
            </ac:picMkLst>
          </pc:picChg>
          <pc:picChg chg="mod">
            <ac:chgData name="Hans Gelissen (DHL SSC Maastricht)" userId="1afa8510-4eed-4b73-a29e-678838cd8acd" providerId="ADAL" clId="{F3A22D4D-2B68-4909-BFE7-4E46D0708FA9}" dt="2023-05-10T14:24:17.971" v="10419" actId="1076"/>
            <ac:picMkLst>
              <pc:docMk/>
              <pc:sldMasterMk cId="2253695231" sldId="2147483754"/>
              <pc:sldLayoutMk cId="1611940501" sldId="2147483925"/>
              <ac:picMk id="68" creationId="{057DE056-C7CF-4F93-AB08-27AD11DF1550}"/>
            </ac:picMkLst>
          </pc:picChg>
        </pc:sldLayoutChg>
      </pc:sldMasterChg>
      <pc:sldMasterChg chg="modSldLayout">
        <pc:chgData name="Hans Gelissen (DHL SSC Maastricht)" userId="1afa8510-4eed-4b73-a29e-678838cd8acd" providerId="ADAL" clId="{F3A22D4D-2B68-4909-BFE7-4E46D0708FA9}" dt="2023-05-04T15:04:40.986" v="5005" actId="478"/>
        <pc:sldMasterMkLst>
          <pc:docMk/>
          <pc:sldMasterMk cId="31158695" sldId="2147483765"/>
        </pc:sldMasterMkLst>
        <pc:sldLayoutChg chg="delSp mod">
          <pc:chgData name="Hans Gelissen (DHL SSC Maastricht)" userId="1afa8510-4eed-4b73-a29e-678838cd8acd" providerId="ADAL" clId="{F3A22D4D-2B68-4909-BFE7-4E46D0708FA9}" dt="2023-05-04T15:04:40.986" v="5005" actId="478"/>
          <pc:sldLayoutMkLst>
            <pc:docMk/>
            <pc:sldMasterMk cId="31158695" sldId="2147483765"/>
            <pc:sldLayoutMk cId="2061156357" sldId="2147484041"/>
          </pc:sldLayoutMkLst>
          <pc:spChg chg="del">
            <ac:chgData name="Hans Gelissen (DHL SSC Maastricht)" userId="1afa8510-4eed-4b73-a29e-678838cd8acd" providerId="ADAL" clId="{F3A22D4D-2B68-4909-BFE7-4E46D0708FA9}" dt="2023-05-04T15:04:40.986" v="5005" actId="478"/>
            <ac:spMkLst>
              <pc:docMk/>
              <pc:sldMasterMk cId="31158695" sldId="2147483765"/>
              <pc:sldLayoutMk cId="2061156357" sldId="2147484041"/>
              <ac:spMk id="6" creationId="{E5C9CD84-B7FC-41A4-A340-898AE0C16ED6}"/>
            </ac:spMkLst>
          </pc:spChg>
          <pc:spChg chg="del">
            <ac:chgData name="Hans Gelissen (DHL SSC Maastricht)" userId="1afa8510-4eed-4b73-a29e-678838cd8acd" providerId="ADAL" clId="{F3A22D4D-2B68-4909-BFE7-4E46D0708FA9}" dt="2023-05-04T15:04:40.986" v="5005" actId="478"/>
            <ac:spMkLst>
              <pc:docMk/>
              <pc:sldMasterMk cId="31158695" sldId="2147483765"/>
              <pc:sldLayoutMk cId="2061156357" sldId="2147484041"/>
              <ac:spMk id="7" creationId="{2E82F2B6-D24A-416E-A187-4E49DE485402}"/>
            </ac:spMkLst>
          </pc:spChg>
          <pc:spChg chg="del">
            <ac:chgData name="Hans Gelissen (DHL SSC Maastricht)" userId="1afa8510-4eed-4b73-a29e-678838cd8acd" providerId="ADAL" clId="{F3A22D4D-2B68-4909-BFE7-4E46D0708FA9}" dt="2023-05-04T15:04:40.986" v="5005" actId="478"/>
            <ac:spMkLst>
              <pc:docMk/>
              <pc:sldMasterMk cId="31158695" sldId="2147483765"/>
              <pc:sldLayoutMk cId="2061156357" sldId="2147484041"/>
              <ac:spMk id="9" creationId="{C4CCA36C-426E-4A63-9A07-DEB4BFCB3FAF}"/>
            </ac:spMkLst>
          </pc:spChg>
          <pc:picChg chg="del">
            <ac:chgData name="Hans Gelissen (DHL SSC Maastricht)" userId="1afa8510-4eed-4b73-a29e-678838cd8acd" providerId="ADAL" clId="{F3A22D4D-2B68-4909-BFE7-4E46D0708FA9}" dt="2023-05-04T15:04:40.986" v="5005" actId="478"/>
            <ac:picMkLst>
              <pc:docMk/>
              <pc:sldMasterMk cId="31158695" sldId="2147483765"/>
              <pc:sldLayoutMk cId="2061156357" sldId="2147484041"/>
              <ac:picMk id="12" creationId="{0814E762-90C9-4902-873D-9C5CE876CFCF}"/>
            </ac:picMkLst>
          </pc:picChg>
        </pc:sldLayoutChg>
      </pc:sldMasterChg>
      <pc:sldMasterChg chg="delSldLayout">
        <pc:chgData name="Hans Gelissen (DHL SSC Maastricht)" userId="1afa8510-4eed-4b73-a29e-678838cd8acd" providerId="ADAL" clId="{F3A22D4D-2B68-4909-BFE7-4E46D0708FA9}" dt="2023-05-08T11:12:27.917" v="9876" actId="2696"/>
        <pc:sldMasterMkLst>
          <pc:docMk/>
          <pc:sldMasterMk cId="606287967" sldId="2147483766"/>
        </pc:sldMasterMkLst>
        <pc:sldLayoutChg chg="del">
          <pc:chgData name="Hans Gelissen (DHL SSC Maastricht)" userId="1afa8510-4eed-4b73-a29e-678838cd8acd" providerId="ADAL" clId="{F3A22D4D-2B68-4909-BFE7-4E46D0708FA9}" dt="2023-05-08T11:12:27.917" v="9876" actId="2696"/>
          <pc:sldLayoutMkLst>
            <pc:docMk/>
            <pc:sldMasterMk cId="606287967" sldId="2147483766"/>
            <pc:sldLayoutMk cId="1503734149" sldId="2147484042"/>
          </pc:sldLayoutMkLst>
        </pc:sldLayoutChg>
      </pc:sldMasterChg>
      <pc:sldMasterChg chg="delSldLayout">
        <pc:chgData name="Hans Gelissen (DHL SSC Maastricht)" userId="1afa8510-4eed-4b73-a29e-678838cd8acd" providerId="ADAL" clId="{F3A22D4D-2B68-4909-BFE7-4E46D0708FA9}" dt="2023-05-05T11:09:41.051" v="6424" actId="2696"/>
        <pc:sldMasterMkLst>
          <pc:docMk/>
          <pc:sldMasterMk cId="727954729" sldId="2147483772"/>
        </pc:sldMasterMkLst>
        <pc:sldLayoutChg chg="del">
          <pc:chgData name="Hans Gelissen (DHL SSC Maastricht)" userId="1afa8510-4eed-4b73-a29e-678838cd8acd" providerId="ADAL" clId="{F3A22D4D-2B68-4909-BFE7-4E46D0708FA9}" dt="2023-05-05T11:09:41.051" v="6424" actId="2696"/>
          <pc:sldLayoutMkLst>
            <pc:docMk/>
            <pc:sldMasterMk cId="727954729" sldId="2147483772"/>
            <pc:sldLayoutMk cId="3881808723" sldId="2147484039"/>
          </pc:sldLayoutMkLst>
        </pc:sldLayoutChg>
      </pc:sldMasterChg>
      <pc:sldMasterChg chg="delSldLayout">
        <pc:chgData name="Hans Gelissen (DHL SSC Maastricht)" userId="1afa8510-4eed-4b73-a29e-678838cd8acd" providerId="ADAL" clId="{F3A22D4D-2B68-4909-BFE7-4E46D0708FA9}" dt="2023-05-05T11:10:23.114" v="6426" actId="2696"/>
        <pc:sldMasterMkLst>
          <pc:docMk/>
          <pc:sldMasterMk cId="2791372136" sldId="2147483777"/>
        </pc:sldMasterMkLst>
        <pc:sldLayoutChg chg="del">
          <pc:chgData name="Hans Gelissen (DHL SSC Maastricht)" userId="1afa8510-4eed-4b73-a29e-678838cd8acd" providerId="ADAL" clId="{F3A22D4D-2B68-4909-BFE7-4E46D0708FA9}" dt="2023-05-05T11:10:23.114" v="6426" actId="2696"/>
          <pc:sldLayoutMkLst>
            <pc:docMk/>
            <pc:sldMasterMk cId="2791372136" sldId="2147483777"/>
            <pc:sldLayoutMk cId="4266768183" sldId="2147484038"/>
          </pc:sldLayoutMkLst>
        </pc:sldLayoutChg>
        <pc:sldLayoutChg chg="del">
          <pc:chgData name="Hans Gelissen (DHL SSC Maastricht)" userId="1afa8510-4eed-4b73-a29e-678838cd8acd" providerId="ADAL" clId="{F3A22D4D-2B68-4909-BFE7-4E46D0708FA9}" dt="2023-05-03T11:03:18.080" v="1681" actId="2696"/>
          <pc:sldLayoutMkLst>
            <pc:docMk/>
            <pc:sldMasterMk cId="2791372136" sldId="2147483777"/>
            <pc:sldLayoutMk cId="2289754719" sldId="2147484039"/>
          </pc:sldLayoutMkLst>
        </pc:sldLayoutChg>
        <pc:sldLayoutChg chg="del">
          <pc:chgData name="Hans Gelissen (DHL SSC Maastricht)" userId="1afa8510-4eed-4b73-a29e-678838cd8acd" providerId="ADAL" clId="{F3A22D4D-2B68-4909-BFE7-4E46D0708FA9}" dt="2023-05-03T11:03:18.080" v="1681" actId="2696"/>
          <pc:sldLayoutMkLst>
            <pc:docMk/>
            <pc:sldMasterMk cId="2791372136" sldId="2147483777"/>
            <pc:sldLayoutMk cId="511860767" sldId="2147484040"/>
          </pc:sldLayoutMkLst>
        </pc:sldLayoutChg>
      </pc:sldMasterChg>
      <pc:sldMasterChg chg="delSldLayout">
        <pc:chgData name="Hans Gelissen (DHL SSC Maastricht)" userId="1afa8510-4eed-4b73-a29e-678838cd8acd" providerId="ADAL" clId="{F3A22D4D-2B68-4909-BFE7-4E46D0708FA9}" dt="2023-05-10T11:18:53.796" v="10362" actId="2696"/>
        <pc:sldMasterMkLst>
          <pc:docMk/>
          <pc:sldMasterMk cId="3009645139" sldId="2147483782"/>
        </pc:sldMasterMkLst>
        <pc:sldLayoutChg chg="del">
          <pc:chgData name="Hans Gelissen (DHL SSC Maastricht)" userId="1afa8510-4eed-4b73-a29e-678838cd8acd" providerId="ADAL" clId="{F3A22D4D-2B68-4909-BFE7-4E46D0708FA9}" dt="2023-05-10T11:18:53.796" v="10362" actId="2696"/>
          <pc:sldLayoutMkLst>
            <pc:docMk/>
            <pc:sldMasterMk cId="3009645139" sldId="2147483782"/>
            <pc:sldLayoutMk cId="3324135692" sldId="2147484042"/>
          </pc:sldLayoutMkLst>
        </pc:sldLayoutChg>
      </pc:sldMasterChg>
      <pc:sldMasterChg chg="delSldLayout modSldLayout">
        <pc:chgData name="Hans Gelissen (DHL SSC Maastricht)" userId="1afa8510-4eed-4b73-a29e-678838cd8acd" providerId="ADAL" clId="{F3A22D4D-2B68-4909-BFE7-4E46D0708FA9}" dt="2023-05-03T12:35:08.282" v="1976" actId="21"/>
        <pc:sldMasterMkLst>
          <pc:docMk/>
          <pc:sldMasterMk cId="3057125872" sldId="2147483795"/>
        </pc:sldMasterMkLst>
        <pc:sldLayoutChg chg="addSp delSp mod">
          <pc:chgData name="Hans Gelissen (DHL SSC Maastricht)" userId="1afa8510-4eed-4b73-a29e-678838cd8acd" providerId="ADAL" clId="{F3A22D4D-2B68-4909-BFE7-4E46D0708FA9}" dt="2023-05-03T12:35:08.282" v="1976" actId="21"/>
          <pc:sldLayoutMkLst>
            <pc:docMk/>
            <pc:sldMasterMk cId="3057125872" sldId="2147483795"/>
            <pc:sldLayoutMk cId="2390748780" sldId="2147483893"/>
          </pc:sldLayoutMkLst>
          <pc:picChg chg="add del">
            <ac:chgData name="Hans Gelissen (DHL SSC Maastricht)" userId="1afa8510-4eed-4b73-a29e-678838cd8acd" providerId="ADAL" clId="{F3A22D4D-2B68-4909-BFE7-4E46D0708FA9}" dt="2023-05-03T12:35:08.282" v="1976" actId="21"/>
            <ac:picMkLst>
              <pc:docMk/>
              <pc:sldMasterMk cId="3057125872" sldId="2147483795"/>
              <pc:sldLayoutMk cId="2390748780" sldId="2147483893"/>
              <ac:picMk id="10" creationId="{7E8BE7B3-1AB1-4381-BEDA-DEFDBADB14DE}"/>
            </ac:picMkLst>
          </pc:picChg>
        </pc:sldLayoutChg>
        <pc:sldLayoutChg chg="del">
          <pc:chgData name="Hans Gelissen (DHL SSC Maastricht)" userId="1afa8510-4eed-4b73-a29e-678838cd8acd" providerId="ADAL" clId="{F3A22D4D-2B68-4909-BFE7-4E46D0708FA9}" dt="2023-05-03T10:43:08.404" v="1616" actId="2696"/>
          <pc:sldLayoutMkLst>
            <pc:docMk/>
            <pc:sldMasterMk cId="3057125872" sldId="2147483795"/>
            <pc:sldLayoutMk cId="3368679769" sldId="2147484037"/>
          </pc:sldLayoutMkLst>
        </pc:sldLayoutChg>
      </pc:sldMasterChg>
      <pc:sldMasterChg chg="delSldLayout">
        <pc:chgData name="Hans Gelissen (DHL SSC Maastricht)" userId="1afa8510-4eed-4b73-a29e-678838cd8acd" providerId="ADAL" clId="{F3A22D4D-2B68-4909-BFE7-4E46D0708FA9}" dt="2023-05-05T11:12:58.893" v="6428" actId="2696"/>
        <pc:sldMasterMkLst>
          <pc:docMk/>
          <pc:sldMasterMk cId="380743489" sldId="2147483798"/>
        </pc:sldMasterMkLst>
        <pc:sldLayoutChg chg="del">
          <pc:chgData name="Hans Gelissen (DHL SSC Maastricht)" userId="1afa8510-4eed-4b73-a29e-678838cd8acd" providerId="ADAL" clId="{F3A22D4D-2B68-4909-BFE7-4E46D0708FA9}" dt="2023-05-05T11:12:58.893" v="6428" actId="2696"/>
          <pc:sldLayoutMkLst>
            <pc:docMk/>
            <pc:sldMasterMk cId="380743489" sldId="2147483798"/>
            <pc:sldLayoutMk cId="296163913" sldId="2147484040"/>
          </pc:sldLayoutMkLst>
        </pc:sldLayoutChg>
      </pc:sldMasterChg>
      <pc:sldMasterChg chg="modSldLayout">
        <pc:chgData name="Hans Gelissen (DHL SSC Maastricht)" userId="1afa8510-4eed-4b73-a29e-678838cd8acd" providerId="ADAL" clId="{F3A22D4D-2B68-4909-BFE7-4E46D0708FA9}" dt="2023-05-04T13:40:51.819" v="3381" actId="1076"/>
        <pc:sldMasterMkLst>
          <pc:docMk/>
          <pc:sldMasterMk cId="2722686442" sldId="2147484013"/>
        </pc:sldMasterMkLst>
        <pc:sldLayoutChg chg="addSp delSp modSp mod">
          <pc:chgData name="Hans Gelissen (DHL SSC Maastricht)" userId="1afa8510-4eed-4b73-a29e-678838cd8acd" providerId="ADAL" clId="{F3A22D4D-2B68-4909-BFE7-4E46D0708FA9}" dt="2023-05-04T13:40:51.819" v="3381" actId="1076"/>
          <pc:sldLayoutMkLst>
            <pc:docMk/>
            <pc:sldMasterMk cId="2722686442" sldId="2147484013"/>
            <pc:sldLayoutMk cId="3955269639" sldId="2147484030"/>
          </pc:sldLayoutMkLst>
          <pc:spChg chg="add mod">
            <ac:chgData name="Hans Gelissen (DHL SSC Maastricht)" userId="1afa8510-4eed-4b73-a29e-678838cd8acd" providerId="ADAL" clId="{F3A22D4D-2B68-4909-BFE7-4E46D0708FA9}" dt="2023-05-04T13:35:39.048" v="3320" actId="1076"/>
            <ac:spMkLst>
              <pc:docMk/>
              <pc:sldMasterMk cId="2722686442" sldId="2147484013"/>
              <pc:sldLayoutMk cId="3955269639" sldId="2147484030"/>
              <ac:spMk id="2" creationId="{B80A71FC-30BD-EA5F-BEF6-95522CD41EDF}"/>
            </ac:spMkLst>
          </pc:spChg>
          <pc:spChg chg="add mod">
            <ac:chgData name="Hans Gelissen (DHL SSC Maastricht)" userId="1afa8510-4eed-4b73-a29e-678838cd8acd" providerId="ADAL" clId="{F3A22D4D-2B68-4909-BFE7-4E46D0708FA9}" dt="2023-05-04T13:37:35.903" v="3348" actId="1076"/>
            <ac:spMkLst>
              <pc:docMk/>
              <pc:sldMasterMk cId="2722686442" sldId="2147484013"/>
              <pc:sldLayoutMk cId="3955269639" sldId="2147484030"/>
              <ac:spMk id="3" creationId="{E297E58B-A9F7-CC74-3904-C7D2E658D738}"/>
            </ac:spMkLst>
          </pc:spChg>
          <pc:spChg chg="add mod">
            <ac:chgData name="Hans Gelissen (DHL SSC Maastricht)" userId="1afa8510-4eed-4b73-a29e-678838cd8acd" providerId="ADAL" clId="{F3A22D4D-2B68-4909-BFE7-4E46D0708FA9}" dt="2023-05-04T13:35:26.727" v="3316" actId="1076"/>
            <ac:spMkLst>
              <pc:docMk/>
              <pc:sldMasterMk cId="2722686442" sldId="2147484013"/>
              <pc:sldLayoutMk cId="3955269639" sldId="2147484030"/>
              <ac:spMk id="4" creationId="{54A7B7D2-EB9C-374B-87A5-895EE2DCE2CF}"/>
            </ac:spMkLst>
          </pc:spChg>
          <pc:spChg chg="add mod">
            <ac:chgData name="Hans Gelissen (DHL SSC Maastricht)" userId="1afa8510-4eed-4b73-a29e-678838cd8acd" providerId="ADAL" clId="{F3A22D4D-2B68-4909-BFE7-4E46D0708FA9}" dt="2023-05-04T13:40:51.819" v="3381" actId="1076"/>
            <ac:spMkLst>
              <pc:docMk/>
              <pc:sldMasterMk cId="2722686442" sldId="2147484013"/>
              <pc:sldLayoutMk cId="3955269639" sldId="2147484030"/>
              <ac:spMk id="5" creationId="{281D0B7D-DE59-8540-E2D9-5BFA48C64DA1}"/>
            </ac:spMkLst>
          </pc:spChg>
          <pc:spChg chg="add mod">
            <ac:chgData name="Hans Gelissen (DHL SSC Maastricht)" userId="1afa8510-4eed-4b73-a29e-678838cd8acd" providerId="ADAL" clId="{F3A22D4D-2B68-4909-BFE7-4E46D0708FA9}" dt="2023-05-04T13:37:46.225" v="3349" actId="1076"/>
            <ac:spMkLst>
              <pc:docMk/>
              <pc:sldMasterMk cId="2722686442" sldId="2147484013"/>
              <pc:sldLayoutMk cId="3955269639" sldId="2147484030"/>
              <ac:spMk id="6" creationId="{EA7CA9AD-58D0-E302-A74A-7CB7E6B9AF62}"/>
            </ac:spMkLst>
          </pc:spChg>
          <pc:spChg chg="add del mod">
            <ac:chgData name="Hans Gelissen (DHL SSC Maastricht)" userId="1afa8510-4eed-4b73-a29e-678838cd8acd" providerId="ADAL" clId="{F3A22D4D-2B68-4909-BFE7-4E46D0708FA9}" dt="2023-05-04T13:33:05.330" v="3283" actId="478"/>
            <ac:spMkLst>
              <pc:docMk/>
              <pc:sldMasterMk cId="2722686442" sldId="2147484013"/>
              <pc:sldLayoutMk cId="3955269639" sldId="2147484030"/>
              <ac:spMk id="7" creationId="{444DB599-B6FF-B1D9-7BF5-852D3B7303B9}"/>
            </ac:spMkLst>
          </pc:spChg>
          <pc:spChg chg="add mod">
            <ac:chgData name="Hans Gelissen (DHL SSC Maastricht)" userId="1afa8510-4eed-4b73-a29e-678838cd8acd" providerId="ADAL" clId="{F3A22D4D-2B68-4909-BFE7-4E46D0708FA9}" dt="2023-05-04T13:40:33.939" v="3378" actId="1076"/>
            <ac:spMkLst>
              <pc:docMk/>
              <pc:sldMasterMk cId="2722686442" sldId="2147484013"/>
              <pc:sldLayoutMk cId="3955269639" sldId="2147484030"/>
              <ac:spMk id="8" creationId="{A6D190E9-05D1-8D86-AABA-E2FECC28200D}"/>
            </ac:spMkLst>
          </pc:spChg>
          <pc:spChg chg="add mod">
            <ac:chgData name="Hans Gelissen (DHL SSC Maastricht)" userId="1afa8510-4eed-4b73-a29e-678838cd8acd" providerId="ADAL" clId="{F3A22D4D-2B68-4909-BFE7-4E46D0708FA9}" dt="2023-05-04T13:38:09.239" v="3354" actId="1076"/>
            <ac:spMkLst>
              <pc:docMk/>
              <pc:sldMasterMk cId="2722686442" sldId="2147484013"/>
              <pc:sldLayoutMk cId="3955269639" sldId="2147484030"/>
              <ac:spMk id="9" creationId="{6AA10849-912F-1D90-70B5-00E5BBC4B968}"/>
            </ac:spMkLst>
          </pc:spChg>
          <pc:spChg chg="add mod">
            <ac:chgData name="Hans Gelissen (DHL SSC Maastricht)" userId="1afa8510-4eed-4b73-a29e-678838cd8acd" providerId="ADAL" clId="{F3A22D4D-2B68-4909-BFE7-4E46D0708FA9}" dt="2023-05-04T13:38:17.677" v="3356" actId="1076"/>
            <ac:spMkLst>
              <pc:docMk/>
              <pc:sldMasterMk cId="2722686442" sldId="2147484013"/>
              <pc:sldLayoutMk cId="3955269639" sldId="2147484030"/>
              <ac:spMk id="10" creationId="{CC1811C5-8E70-3DFF-6002-5F88B7D28F2A}"/>
            </ac:spMkLst>
          </pc:spChg>
          <pc:spChg chg="mod">
            <ac:chgData name="Hans Gelissen (DHL SSC Maastricht)" userId="1afa8510-4eed-4b73-a29e-678838cd8acd" providerId="ADAL" clId="{F3A22D4D-2B68-4909-BFE7-4E46D0708FA9}" dt="2023-05-04T13:37:49.881" v="3350" actId="1076"/>
            <ac:spMkLst>
              <pc:docMk/>
              <pc:sldMasterMk cId="2722686442" sldId="2147484013"/>
              <pc:sldLayoutMk cId="3955269639" sldId="2147484030"/>
              <ac:spMk id="12" creationId="{0A7B1646-CB6A-49BC-BAC8-7FBCBF7501E0}"/>
            </ac:spMkLst>
          </pc:spChg>
          <pc:spChg chg="del mod">
            <ac:chgData name="Hans Gelissen (DHL SSC Maastricht)" userId="1afa8510-4eed-4b73-a29e-678838cd8acd" providerId="ADAL" clId="{F3A22D4D-2B68-4909-BFE7-4E46D0708FA9}" dt="2023-05-04T13:40:26.389" v="3375" actId="478"/>
            <ac:spMkLst>
              <pc:docMk/>
              <pc:sldMasterMk cId="2722686442" sldId="2147484013"/>
              <pc:sldLayoutMk cId="3955269639" sldId="2147484030"/>
              <ac:spMk id="19" creationId="{E59BC9C9-B4B8-4E00-BB35-5683181D89F3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22" creationId="{287ABBBB-A57D-4A54-BAD2-B01717BC5AC4}"/>
            </ac:spMkLst>
          </pc:spChg>
          <pc:spChg chg="mod">
            <ac:chgData name="Hans Gelissen (DHL SSC Maastricht)" userId="1afa8510-4eed-4b73-a29e-678838cd8acd" providerId="ADAL" clId="{F3A22D4D-2B68-4909-BFE7-4E46D0708FA9}" dt="2023-05-04T13:37:35.903" v="3348" actId="1076"/>
            <ac:spMkLst>
              <pc:docMk/>
              <pc:sldMasterMk cId="2722686442" sldId="2147484013"/>
              <pc:sldLayoutMk cId="3955269639" sldId="2147484030"/>
              <ac:spMk id="23" creationId="{04C26FED-6380-41EC-A08A-BEFD6C5AF9A0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27" creationId="{7CF0A2AB-9AF1-4C86-94DF-62626354E3A4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28" creationId="{B354EF95-C5D8-4FDB-A961-F82D4B26B737}"/>
            </ac:spMkLst>
          </pc:spChg>
          <pc:spChg chg="mod">
            <ac:chgData name="Hans Gelissen (DHL SSC Maastricht)" userId="1afa8510-4eed-4b73-a29e-678838cd8acd" providerId="ADAL" clId="{F3A22D4D-2B68-4909-BFE7-4E46D0708FA9}" dt="2023-05-04T13:39:36.675" v="3364" actId="1076"/>
            <ac:spMkLst>
              <pc:docMk/>
              <pc:sldMasterMk cId="2722686442" sldId="2147484013"/>
              <pc:sldLayoutMk cId="3955269639" sldId="2147484030"/>
              <ac:spMk id="29" creationId="{85E61EA8-4AAC-475E-A3A2-5D9E0D3F4431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30" creationId="{CE7232A1-128D-4D8B-B0F2-518ABEC354E4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31" creationId="{3A4DD1CE-5504-4377-A3FD-162E2DECF1B5}"/>
            </ac:spMkLst>
          </pc:spChg>
          <pc:spChg chg="mod">
            <ac:chgData name="Hans Gelissen (DHL SSC Maastricht)" userId="1afa8510-4eed-4b73-a29e-678838cd8acd" providerId="ADAL" clId="{F3A22D4D-2B68-4909-BFE7-4E46D0708FA9}" dt="2023-05-04T13:37:35.903" v="3348" actId="1076"/>
            <ac:spMkLst>
              <pc:docMk/>
              <pc:sldMasterMk cId="2722686442" sldId="2147484013"/>
              <pc:sldLayoutMk cId="3955269639" sldId="2147484030"/>
              <ac:spMk id="39" creationId="{F4C37A8C-9C13-403D-98A5-ED3EBCC2A3EB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40" creationId="{25C9D10F-2D43-4D07-BEB8-A18337211313}"/>
            </ac:spMkLst>
          </pc:spChg>
          <pc:spChg chg="mod">
            <ac:chgData name="Hans Gelissen (DHL SSC Maastricht)" userId="1afa8510-4eed-4b73-a29e-678838cd8acd" providerId="ADAL" clId="{F3A22D4D-2B68-4909-BFE7-4E46D0708FA9}" dt="2023-05-04T13:37:35.903" v="3348" actId="1076"/>
            <ac:spMkLst>
              <pc:docMk/>
              <pc:sldMasterMk cId="2722686442" sldId="2147484013"/>
              <pc:sldLayoutMk cId="3955269639" sldId="2147484030"/>
              <ac:spMk id="41" creationId="{81C23BE8-A85B-4D04-A303-F22692644051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42" creationId="{15935F59-7540-4EB1-9F1A-A8A38EAF3EFF}"/>
            </ac:spMkLst>
          </pc:spChg>
          <pc:spChg chg="mod">
            <ac:chgData name="Hans Gelissen (DHL SSC Maastricht)" userId="1afa8510-4eed-4b73-a29e-678838cd8acd" providerId="ADAL" clId="{F3A22D4D-2B68-4909-BFE7-4E46D0708FA9}" dt="2023-05-04T13:40:19.029" v="3373" actId="1076"/>
            <ac:spMkLst>
              <pc:docMk/>
              <pc:sldMasterMk cId="2722686442" sldId="2147484013"/>
              <pc:sldLayoutMk cId="3955269639" sldId="2147484030"/>
              <ac:spMk id="44" creationId="{AE96ABC9-943B-494C-BDD3-29D11BFD2FCD}"/>
            </ac:spMkLst>
          </pc:spChg>
          <pc:spChg chg="mod">
            <ac:chgData name="Hans Gelissen (DHL SSC Maastricht)" userId="1afa8510-4eed-4b73-a29e-678838cd8acd" providerId="ADAL" clId="{F3A22D4D-2B68-4909-BFE7-4E46D0708FA9}" dt="2023-05-04T13:37:35.903" v="3348" actId="1076"/>
            <ac:spMkLst>
              <pc:docMk/>
              <pc:sldMasterMk cId="2722686442" sldId="2147484013"/>
              <pc:sldLayoutMk cId="3955269639" sldId="2147484030"/>
              <ac:spMk id="45" creationId="{1940E72F-F248-42F2-A038-151EFC63B08F}"/>
            </ac:spMkLst>
          </pc:spChg>
          <pc:spChg chg="mod">
            <ac:chgData name="Hans Gelissen (DHL SSC Maastricht)" userId="1afa8510-4eed-4b73-a29e-678838cd8acd" providerId="ADAL" clId="{F3A22D4D-2B68-4909-BFE7-4E46D0708FA9}" dt="2023-05-04T13:40:14.588" v="3372" actId="1076"/>
            <ac:spMkLst>
              <pc:docMk/>
              <pc:sldMasterMk cId="2722686442" sldId="2147484013"/>
              <pc:sldLayoutMk cId="3955269639" sldId="2147484030"/>
              <ac:spMk id="46" creationId="{92798883-BFFF-4991-9CAA-00CB1E41ABA2}"/>
            </ac:spMkLst>
          </pc:spChg>
          <pc:spChg chg="mod">
            <ac:chgData name="Hans Gelissen (DHL SSC Maastricht)" userId="1afa8510-4eed-4b73-a29e-678838cd8acd" providerId="ADAL" clId="{F3A22D4D-2B68-4909-BFE7-4E46D0708FA9}" dt="2023-05-04T13:40:40.530" v="3380" actId="1076"/>
            <ac:spMkLst>
              <pc:docMk/>
              <pc:sldMasterMk cId="2722686442" sldId="2147484013"/>
              <pc:sldLayoutMk cId="3955269639" sldId="2147484030"/>
              <ac:spMk id="48" creationId="{2D2C5879-3C55-4DC0-B03C-2430D0C5D706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49" creationId="{42B63977-035E-46C4-AC03-909EE08B0910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51" creationId="{33313B44-0106-48DD-9E07-D2E149359D3F}"/>
            </ac:spMkLst>
          </pc:spChg>
          <pc:spChg chg="mod">
            <ac:chgData name="Hans Gelissen (DHL SSC Maastricht)" userId="1afa8510-4eed-4b73-a29e-678838cd8acd" providerId="ADAL" clId="{F3A22D4D-2B68-4909-BFE7-4E46D0708FA9}" dt="2023-05-04T13:39:38.444" v="3365" actId="1076"/>
            <ac:spMkLst>
              <pc:docMk/>
              <pc:sldMasterMk cId="2722686442" sldId="2147484013"/>
              <pc:sldLayoutMk cId="3955269639" sldId="2147484030"/>
              <ac:spMk id="52" creationId="{66D5D31B-C202-4A74-94A2-3B66200FE5C1}"/>
            </ac:spMkLst>
          </pc:spChg>
          <pc:spChg chg="mod">
            <ac:chgData name="Hans Gelissen (DHL SSC Maastricht)" userId="1afa8510-4eed-4b73-a29e-678838cd8acd" providerId="ADAL" clId="{F3A22D4D-2B68-4909-BFE7-4E46D0708FA9}" dt="2023-05-04T13:40:36.477" v="3379" actId="1076"/>
            <ac:spMkLst>
              <pc:docMk/>
              <pc:sldMasterMk cId="2722686442" sldId="2147484013"/>
              <pc:sldLayoutMk cId="3955269639" sldId="2147484030"/>
              <ac:spMk id="53" creationId="{15AC990D-42E9-4702-BE40-2980E3869393}"/>
            </ac:spMkLst>
          </pc:spChg>
          <pc:spChg chg="mod">
            <ac:chgData name="Hans Gelissen (DHL SSC Maastricht)" userId="1afa8510-4eed-4b73-a29e-678838cd8acd" providerId="ADAL" clId="{F3A22D4D-2B68-4909-BFE7-4E46D0708FA9}" dt="2023-05-04T13:39:40.628" v="3366" actId="1076"/>
            <ac:spMkLst>
              <pc:docMk/>
              <pc:sldMasterMk cId="2722686442" sldId="2147484013"/>
              <pc:sldLayoutMk cId="3955269639" sldId="2147484030"/>
              <ac:spMk id="54" creationId="{EED895DA-BB9E-41E5-849F-1E1219C5ADB8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55" creationId="{8EF7759F-047A-476B-881B-E1E25C0EB9D2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56" creationId="{D230B41B-193B-48F2-9BFE-09D1C6306E5B}"/>
            </ac:spMkLst>
          </pc:spChg>
          <pc:spChg chg="mod">
            <ac:chgData name="Hans Gelissen (DHL SSC Maastricht)" userId="1afa8510-4eed-4b73-a29e-678838cd8acd" providerId="ADAL" clId="{F3A22D4D-2B68-4909-BFE7-4E46D0708FA9}" dt="2023-05-04T13:39:43.545" v="3367" actId="1076"/>
            <ac:spMkLst>
              <pc:docMk/>
              <pc:sldMasterMk cId="2722686442" sldId="2147484013"/>
              <pc:sldLayoutMk cId="3955269639" sldId="2147484030"/>
              <ac:spMk id="57" creationId="{4CFA64B8-EE13-40EB-B93E-18A8E9FA30F0}"/>
            </ac:spMkLst>
          </pc:spChg>
          <pc:spChg chg="mod">
            <ac:chgData name="Hans Gelissen (DHL SSC Maastricht)" userId="1afa8510-4eed-4b73-a29e-678838cd8acd" providerId="ADAL" clId="{F3A22D4D-2B68-4909-BFE7-4E46D0708FA9}" dt="2023-05-04T13:35:42.537" v="3322" actId="1076"/>
            <ac:spMkLst>
              <pc:docMk/>
              <pc:sldMasterMk cId="2722686442" sldId="2147484013"/>
              <pc:sldLayoutMk cId="3955269639" sldId="2147484030"/>
              <ac:spMk id="58" creationId="{C2FBE1E5-51E3-4916-BD9B-6CE59EF4F0E8}"/>
            </ac:spMkLst>
          </pc:spChg>
          <pc:spChg chg="mod">
            <ac:chgData name="Hans Gelissen (DHL SSC Maastricht)" userId="1afa8510-4eed-4b73-a29e-678838cd8acd" providerId="ADAL" clId="{F3A22D4D-2B68-4909-BFE7-4E46D0708FA9}" dt="2023-05-04T13:39:33.625" v="3363" actId="1076"/>
            <ac:spMkLst>
              <pc:docMk/>
              <pc:sldMasterMk cId="2722686442" sldId="2147484013"/>
              <pc:sldLayoutMk cId="3955269639" sldId="2147484030"/>
              <ac:spMk id="60" creationId="{DC338880-A006-4A14-B205-694EE9C91695}"/>
            </ac:spMkLst>
          </pc:spChg>
          <pc:spChg chg="mod">
            <ac:chgData name="Hans Gelissen (DHL SSC Maastricht)" userId="1afa8510-4eed-4b73-a29e-678838cd8acd" providerId="ADAL" clId="{F3A22D4D-2B68-4909-BFE7-4E46D0708FA9}" dt="2023-05-04T13:39:33.625" v="3363" actId="1076"/>
            <ac:spMkLst>
              <pc:docMk/>
              <pc:sldMasterMk cId="2722686442" sldId="2147484013"/>
              <pc:sldLayoutMk cId="3955269639" sldId="2147484030"/>
              <ac:spMk id="61" creationId="{4BC2AB74-B2BB-499C-8696-DE5C2C43E3CF}"/>
            </ac:spMkLst>
          </pc:spChg>
          <pc:spChg chg="mod">
            <ac:chgData name="Hans Gelissen (DHL SSC Maastricht)" userId="1afa8510-4eed-4b73-a29e-678838cd8acd" providerId="ADAL" clId="{F3A22D4D-2B68-4909-BFE7-4E46D0708FA9}" dt="2023-05-04T13:37:35.903" v="3348" actId="1076"/>
            <ac:spMkLst>
              <pc:docMk/>
              <pc:sldMasterMk cId="2722686442" sldId="2147484013"/>
              <pc:sldLayoutMk cId="3955269639" sldId="2147484030"/>
              <ac:spMk id="62" creationId="{FCA0FFD6-6573-4CD8-8321-B2DFFE62BE1E}"/>
            </ac:spMkLst>
          </pc:spChg>
          <pc:spChg chg="mod">
            <ac:chgData name="Hans Gelissen (DHL SSC Maastricht)" userId="1afa8510-4eed-4b73-a29e-678838cd8acd" providerId="ADAL" clId="{F3A22D4D-2B68-4909-BFE7-4E46D0708FA9}" dt="2023-05-04T13:37:35.903" v="3348" actId="1076"/>
            <ac:spMkLst>
              <pc:docMk/>
              <pc:sldMasterMk cId="2722686442" sldId="2147484013"/>
              <pc:sldLayoutMk cId="3955269639" sldId="2147484030"/>
              <ac:spMk id="63" creationId="{A56E40A5-706D-4626-ACA4-D99B453E739F}"/>
            </ac:spMkLst>
          </pc:spChg>
          <pc:spChg chg="mod ord">
            <ac:chgData name="Hans Gelissen (DHL SSC Maastricht)" userId="1afa8510-4eed-4b73-a29e-678838cd8acd" providerId="ADAL" clId="{F3A22D4D-2B68-4909-BFE7-4E46D0708FA9}" dt="2023-05-04T13:37:46.225" v="3349" actId="1076"/>
            <ac:spMkLst>
              <pc:docMk/>
              <pc:sldMasterMk cId="2722686442" sldId="2147484013"/>
              <pc:sldLayoutMk cId="3955269639" sldId="2147484030"/>
              <ac:spMk id="64" creationId="{3DFBE54F-D8B9-4592-AB47-6B7F9B7D7088}"/>
            </ac:spMkLst>
          </pc:spChg>
          <pc:spChg chg="mod ord">
            <ac:chgData name="Hans Gelissen (DHL SSC Maastricht)" userId="1afa8510-4eed-4b73-a29e-678838cd8acd" providerId="ADAL" clId="{F3A22D4D-2B68-4909-BFE7-4E46D0708FA9}" dt="2023-05-04T13:37:46.225" v="3349" actId="1076"/>
            <ac:spMkLst>
              <pc:docMk/>
              <pc:sldMasterMk cId="2722686442" sldId="2147484013"/>
              <pc:sldLayoutMk cId="3955269639" sldId="2147484030"/>
              <ac:spMk id="65" creationId="{92EC2A0B-AA98-468B-A44B-EFAEC6418092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66" creationId="{B5BD4833-9D9B-4F72-961A-AD68F7A957B7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67" creationId="{8DDE5A79-B066-4343-9D26-F43545FFE17C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68" creationId="{99BFD5C5-51D6-4B5D-811E-39A20A057922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69" creationId="{568C17CA-755F-446C-9CC4-F4E7C1514384}"/>
            </ac:spMkLst>
          </pc:spChg>
          <pc:spChg chg="mod">
            <ac:chgData name="Hans Gelissen (DHL SSC Maastricht)" userId="1afa8510-4eed-4b73-a29e-678838cd8acd" providerId="ADAL" clId="{F3A22D4D-2B68-4909-BFE7-4E46D0708FA9}" dt="2023-05-04T13:40:51.819" v="3381" actId="1076"/>
            <ac:spMkLst>
              <pc:docMk/>
              <pc:sldMasterMk cId="2722686442" sldId="2147484013"/>
              <pc:sldLayoutMk cId="3955269639" sldId="2147484030"/>
              <ac:spMk id="70" creationId="{02D6D773-13E3-4565-9D85-FEFF00243877}"/>
            </ac:spMkLst>
          </pc:spChg>
          <pc:spChg chg="mod">
            <ac:chgData name="Hans Gelissen (DHL SSC Maastricht)" userId="1afa8510-4eed-4b73-a29e-678838cd8acd" providerId="ADAL" clId="{F3A22D4D-2B68-4909-BFE7-4E46D0708FA9}" dt="2023-05-04T13:37:35.903" v="3348" actId="1076"/>
            <ac:spMkLst>
              <pc:docMk/>
              <pc:sldMasterMk cId="2722686442" sldId="2147484013"/>
              <pc:sldLayoutMk cId="3955269639" sldId="2147484030"/>
              <ac:spMk id="71" creationId="{C0D67C9E-7AF7-488D-B988-1AF373BD7E57}"/>
            </ac:spMkLst>
          </pc:spChg>
          <pc:spChg chg="mod ord">
            <ac:chgData name="Hans Gelissen (DHL SSC Maastricht)" userId="1afa8510-4eed-4b73-a29e-678838cd8acd" providerId="ADAL" clId="{F3A22D4D-2B68-4909-BFE7-4E46D0708FA9}" dt="2023-05-04T13:40:06.269" v="3370" actId="1076"/>
            <ac:spMkLst>
              <pc:docMk/>
              <pc:sldMasterMk cId="2722686442" sldId="2147484013"/>
              <pc:sldLayoutMk cId="3955269639" sldId="2147484030"/>
              <ac:spMk id="73" creationId="{A869EE34-9FB5-43CA-948A-BE260AC92CB7}"/>
            </ac:spMkLst>
          </pc:spChg>
          <pc:spChg chg="mod">
            <ac:chgData name="Hans Gelissen (DHL SSC Maastricht)" userId="1afa8510-4eed-4b73-a29e-678838cd8acd" providerId="ADAL" clId="{F3A22D4D-2B68-4909-BFE7-4E46D0708FA9}" dt="2023-05-04T13:35:49.751" v="3324" actId="14100"/>
            <ac:spMkLst>
              <pc:docMk/>
              <pc:sldMasterMk cId="2722686442" sldId="2147484013"/>
              <pc:sldLayoutMk cId="3955269639" sldId="2147484030"/>
              <ac:spMk id="74" creationId="{3CFEE98C-0151-4635-B499-268B69AEE7DC}"/>
            </ac:spMkLst>
          </pc:spChg>
          <pc:spChg chg="mod">
            <ac:chgData name="Hans Gelissen (DHL SSC Maastricht)" userId="1afa8510-4eed-4b73-a29e-678838cd8acd" providerId="ADAL" clId="{F3A22D4D-2B68-4909-BFE7-4E46D0708FA9}" dt="2023-05-04T13:35:33.311" v="3318" actId="14100"/>
            <ac:spMkLst>
              <pc:docMk/>
              <pc:sldMasterMk cId="2722686442" sldId="2147484013"/>
              <pc:sldLayoutMk cId="3955269639" sldId="2147484030"/>
              <ac:spMk id="75" creationId="{0E5F35A7-B8DB-4125-A90F-A5B21BC860CB}"/>
            </ac:spMkLst>
          </pc:spChg>
          <pc:spChg chg="mod">
            <ac:chgData name="Hans Gelissen (DHL SSC Maastricht)" userId="1afa8510-4eed-4b73-a29e-678838cd8acd" providerId="ADAL" clId="{F3A22D4D-2B68-4909-BFE7-4E46D0708FA9}" dt="2023-05-04T13:40:12.211" v="3371" actId="1076"/>
            <ac:spMkLst>
              <pc:docMk/>
              <pc:sldMasterMk cId="2722686442" sldId="2147484013"/>
              <pc:sldLayoutMk cId="3955269639" sldId="2147484030"/>
              <ac:spMk id="76" creationId="{37AD8ADE-46E3-47CC-8E0C-18998F618CDC}"/>
            </ac:spMkLst>
          </pc:spChg>
          <pc:spChg chg="mod">
            <ac:chgData name="Hans Gelissen (DHL SSC Maastricht)" userId="1afa8510-4eed-4b73-a29e-678838cd8acd" providerId="ADAL" clId="{F3A22D4D-2B68-4909-BFE7-4E46D0708FA9}" dt="2023-05-04T13:35:19.525" v="3315" actId="1076"/>
            <ac:spMkLst>
              <pc:docMk/>
              <pc:sldMasterMk cId="2722686442" sldId="2147484013"/>
              <pc:sldLayoutMk cId="3955269639" sldId="2147484030"/>
              <ac:spMk id="78" creationId="{1E4BA902-2F35-4DC4-9085-CC337F5C25B2}"/>
            </ac:spMkLst>
          </pc:spChg>
          <pc:spChg chg="mod">
            <ac:chgData name="Hans Gelissen (DHL SSC Maastricht)" userId="1afa8510-4eed-4b73-a29e-678838cd8acd" providerId="ADAL" clId="{F3A22D4D-2B68-4909-BFE7-4E46D0708FA9}" dt="2023-05-04T13:37:35.903" v="3348" actId="1076"/>
            <ac:spMkLst>
              <pc:docMk/>
              <pc:sldMasterMk cId="2722686442" sldId="2147484013"/>
              <pc:sldLayoutMk cId="3955269639" sldId="2147484030"/>
              <ac:spMk id="80" creationId="{568C1C1B-B5FA-4475-AE08-16084E9B8472}"/>
            </ac:spMkLst>
          </pc:spChg>
          <pc:spChg chg="mod">
            <ac:chgData name="Hans Gelissen (DHL SSC Maastricht)" userId="1afa8510-4eed-4b73-a29e-678838cd8acd" providerId="ADAL" clId="{F3A22D4D-2B68-4909-BFE7-4E46D0708FA9}" dt="2023-05-04T13:37:35.903" v="3348" actId="1076"/>
            <ac:spMkLst>
              <pc:docMk/>
              <pc:sldMasterMk cId="2722686442" sldId="2147484013"/>
              <pc:sldLayoutMk cId="3955269639" sldId="2147484030"/>
              <ac:spMk id="81" creationId="{9485EC79-8030-4D5F-A6F0-192640D9BA3A}"/>
            </ac:spMkLst>
          </pc:spChg>
          <pc:spChg chg="mod ord">
            <ac:chgData name="Hans Gelissen (DHL SSC Maastricht)" userId="1afa8510-4eed-4b73-a29e-678838cd8acd" providerId="ADAL" clId="{F3A22D4D-2B68-4909-BFE7-4E46D0708FA9}" dt="2023-05-04T13:37:46.225" v="3349" actId="1076"/>
            <ac:spMkLst>
              <pc:docMk/>
              <pc:sldMasterMk cId="2722686442" sldId="2147484013"/>
              <pc:sldLayoutMk cId="3955269639" sldId="2147484030"/>
              <ac:spMk id="82" creationId="{114060D3-034B-47E3-A288-BC5418B411B5}"/>
            </ac:spMkLst>
          </pc:spChg>
          <pc:spChg chg="mod">
            <ac:chgData name="Hans Gelissen (DHL SSC Maastricht)" userId="1afa8510-4eed-4b73-a29e-678838cd8acd" providerId="ADAL" clId="{F3A22D4D-2B68-4909-BFE7-4E46D0708FA9}" dt="2023-05-04T13:39:33.625" v="3363" actId="1076"/>
            <ac:spMkLst>
              <pc:docMk/>
              <pc:sldMasterMk cId="2722686442" sldId="2147484013"/>
              <pc:sldLayoutMk cId="3955269639" sldId="2147484030"/>
              <ac:spMk id="83" creationId="{4A5BD4DB-2C4D-43E8-839A-EE36B9219A4C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84" creationId="{90B95753-9A76-4A4A-A0DA-7B8CA935D426}"/>
            </ac:spMkLst>
          </pc:spChg>
          <pc:spChg chg="mod">
            <ac:chgData name="Hans Gelissen (DHL SSC Maastricht)" userId="1afa8510-4eed-4b73-a29e-678838cd8acd" providerId="ADAL" clId="{F3A22D4D-2B68-4909-BFE7-4E46D0708FA9}" dt="2023-05-04T13:33:23.355" v="3284" actId="166"/>
            <ac:spMkLst>
              <pc:docMk/>
              <pc:sldMasterMk cId="2722686442" sldId="2147484013"/>
              <pc:sldLayoutMk cId="3955269639" sldId="2147484030"/>
              <ac:spMk id="85" creationId="{764C3636-BD60-405C-B3C7-F9DBA0A595C3}"/>
            </ac:spMkLst>
          </pc:spChg>
          <pc:picChg chg="mod">
            <ac:chgData name="Hans Gelissen (DHL SSC Maastricht)" userId="1afa8510-4eed-4b73-a29e-678838cd8acd" providerId="ADAL" clId="{F3A22D4D-2B68-4909-BFE7-4E46D0708FA9}" dt="2023-05-04T13:35:19.525" v="3315" actId="1076"/>
            <ac:picMkLst>
              <pc:docMk/>
              <pc:sldMasterMk cId="2722686442" sldId="2147484013"/>
              <pc:sldLayoutMk cId="3955269639" sldId="2147484030"/>
              <ac:picMk id="79" creationId="{7D47235C-7BEA-4D47-B34A-A486AFAA160D}"/>
            </ac:picMkLst>
          </pc:picChg>
        </pc:sldLayoutChg>
        <pc:sldLayoutChg chg="modSp mod">
          <pc:chgData name="Hans Gelissen (DHL SSC Maastricht)" userId="1afa8510-4eed-4b73-a29e-678838cd8acd" providerId="ADAL" clId="{F3A22D4D-2B68-4909-BFE7-4E46D0708FA9}" dt="2023-05-03T09:59:04.582" v="897" actId="1076"/>
          <pc:sldLayoutMkLst>
            <pc:docMk/>
            <pc:sldMasterMk cId="2722686442" sldId="2147484013"/>
            <pc:sldLayoutMk cId="1452984864" sldId="2147484034"/>
          </pc:sldLayoutMkLst>
          <pc:spChg chg="mod">
            <ac:chgData name="Hans Gelissen (DHL SSC Maastricht)" userId="1afa8510-4eed-4b73-a29e-678838cd8acd" providerId="ADAL" clId="{F3A22D4D-2B68-4909-BFE7-4E46D0708FA9}" dt="2023-05-03T09:59:04.582" v="897" actId="1076"/>
            <ac:spMkLst>
              <pc:docMk/>
              <pc:sldMasterMk cId="2722686442" sldId="2147484013"/>
              <pc:sldLayoutMk cId="1452984864" sldId="2147484034"/>
              <ac:spMk id="6" creationId="{7378D8CD-C3E3-4637-8184-7FC938EE9CFF}"/>
            </ac:spMkLst>
          </pc:spChg>
          <pc:spChg chg="mod">
            <ac:chgData name="Hans Gelissen (DHL SSC Maastricht)" userId="1afa8510-4eed-4b73-a29e-678838cd8acd" providerId="ADAL" clId="{F3A22D4D-2B68-4909-BFE7-4E46D0708FA9}" dt="2023-05-03T09:59:04.582" v="897" actId="1076"/>
            <ac:spMkLst>
              <pc:docMk/>
              <pc:sldMasterMk cId="2722686442" sldId="2147484013"/>
              <pc:sldLayoutMk cId="1452984864" sldId="2147484034"/>
              <ac:spMk id="33" creationId="{5B6B688A-4321-4967-ADCE-3DD62CCF28D1}"/>
            </ac:spMkLst>
          </pc:spChg>
          <pc:spChg chg="mod">
            <ac:chgData name="Hans Gelissen (DHL SSC Maastricht)" userId="1afa8510-4eed-4b73-a29e-678838cd8acd" providerId="ADAL" clId="{F3A22D4D-2B68-4909-BFE7-4E46D0708FA9}" dt="2023-05-03T09:59:04.582" v="897" actId="1076"/>
            <ac:spMkLst>
              <pc:docMk/>
              <pc:sldMasterMk cId="2722686442" sldId="2147484013"/>
              <pc:sldLayoutMk cId="1452984864" sldId="2147484034"/>
              <ac:spMk id="34" creationId="{10A46619-F1F2-43A8-85D6-A1D7F402C17E}"/>
            </ac:spMkLst>
          </pc:spChg>
          <pc:spChg chg="mod">
            <ac:chgData name="Hans Gelissen (DHL SSC Maastricht)" userId="1afa8510-4eed-4b73-a29e-678838cd8acd" providerId="ADAL" clId="{F3A22D4D-2B68-4909-BFE7-4E46D0708FA9}" dt="2023-05-03T09:59:04.582" v="897" actId="1076"/>
            <ac:spMkLst>
              <pc:docMk/>
              <pc:sldMasterMk cId="2722686442" sldId="2147484013"/>
              <pc:sldLayoutMk cId="1452984864" sldId="2147484034"/>
              <ac:spMk id="35" creationId="{A04A0385-DE7C-4017-A042-7DF11670E515}"/>
            </ac:spMkLst>
          </pc:spChg>
          <pc:spChg chg="mod">
            <ac:chgData name="Hans Gelissen (DHL SSC Maastricht)" userId="1afa8510-4eed-4b73-a29e-678838cd8acd" providerId="ADAL" clId="{F3A22D4D-2B68-4909-BFE7-4E46D0708FA9}" dt="2023-05-03T09:59:04.582" v="897" actId="1076"/>
            <ac:spMkLst>
              <pc:docMk/>
              <pc:sldMasterMk cId="2722686442" sldId="2147484013"/>
              <pc:sldLayoutMk cId="1452984864" sldId="2147484034"/>
              <ac:spMk id="37" creationId="{1F9277E1-AD60-4D2D-BE69-54968C565961}"/>
            </ac:spMkLst>
          </pc:spChg>
        </pc:sldLayoutChg>
      </pc:sldMasterChg>
    </pc:docChg>
  </pc:docChgLst>
  <pc:docChgLst>
    <pc:chgData name="Hans Gelissen (DHL SSC Maastricht)" userId="1afa8510-4eed-4b73-a29e-678838cd8acd" providerId="ADAL" clId="{BED0E5C0-84DB-42C8-AA9C-BA85E21B7A23}"/>
    <pc:docChg chg="undo custSel addSld delSld modSld sldOrd modMainMaster">
      <pc:chgData name="Hans Gelissen (DHL SSC Maastricht)" userId="1afa8510-4eed-4b73-a29e-678838cd8acd" providerId="ADAL" clId="{BED0E5C0-84DB-42C8-AA9C-BA85E21B7A23}" dt="2023-05-01T14:10:45.130" v="484" actId="1076"/>
      <pc:docMkLst>
        <pc:docMk/>
      </pc:docMkLst>
      <pc:sldChg chg="modSp mod">
        <pc:chgData name="Hans Gelissen (DHL SSC Maastricht)" userId="1afa8510-4eed-4b73-a29e-678838cd8acd" providerId="ADAL" clId="{BED0E5C0-84DB-42C8-AA9C-BA85E21B7A23}" dt="2023-05-01T12:42:22.235" v="434" actId="27636"/>
        <pc:sldMkLst>
          <pc:docMk/>
          <pc:sldMk cId="2338473233" sldId="258"/>
        </pc:sldMkLst>
        <pc:spChg chg="mod">
          <ac:chgData name="Hans Gelissen (DHL SSC Maastricht)" userId="1afa8510-4eed-4b73-a29e-678838cd8acd" providerId="ADAL" clId="{BED0E5C0-84DB-42C8-AA9C-BA85E21B7A23}" dt="2023-05-01T12:42:22.235" v="434" actId="27636"/>
          <ac:spMkLst>
            <pc:docMk/>
            <pc:sldMk cId="2338473233" sldId="258"/>
            <ac:spMk id="3" creationId="{6D6E7CE4-2A7C-47FD-AE9E-86763B9D3163}"/>
          </ac:spMkLst>
        </pc:spChg>
      </pc:sldChg>
      <pc:sldChg chg="modSp mod">
        <pc:chgData name="Hans Gelissen (DHL SSC Maastricht)" userId="1afa8510-4eed-4b73-a29e-678838cd8acd" providerId="ADAL" clId="{BED0E5C0-84DB-42C8-AA9C-BA85E21B7A23}" dt="2023-04-25T14:39:40.311" v="162" actId="20577"/>
        <pc:sldMkLst>
          <pc:docMk/>
          <pc:sldMk cId="2219543139" sldId="284"/>
        </pc:sldMkLst>
        <pc:spChg chg="mod">
          <ac:chgData name="Hans Gelissen (DHL SSC Maastricht)" userId="1afa8510-4eed-4b73-a29e-678838cd8acd" providerId="ADAL" clId="{BED0E5C0-84DB-42C8-AA9C-BA85E21B7A23}" dt="2023-04-25T12:14:41.495" v="135" actId="20577"/>
          <ac:spMkLst>
            <pc:docMk/>
            <pc:sldMk cId="2219543139" sldId="284"/>
            <ac:spMk id="3" creationId="{E9505191-D401-4B1F-A0FD-9DA8DF3EA35C}"/>
          </ac:spMkLst>
        </pc:spChg>
        <pc:spChg chg="mod">
          <ac:chgData name="Hans Gelissen (DHL SSC Maastricht)" userId="1afa8510-4eed-4b73-a29e-678838cd8acd" providerId="ADAL" clId="{BED0E5C0-84DB-42C8-AA9C-BA85E21B7A23}" dt="2023-04-25T12:15:05.895" v="139" actId="20577"/>
          <ac:spMkLst>
            <pc:docMk/>
            <pc:sldMk cId="2219543139" sldId="284"/>
            <ac:spMk id="4" creationId="{CF6CC01A-D8F6-4AE1-A79C-B9423066DA29}"/>
          </ac:spMkLst>
        </pc:spChg>
        <pc:spChg chg="mod">
          <ac:chgData name="Hans Gelissen (DHL SSC Maastricht)" userId="1afa8510-4eed-4b73-a29e-678838cd8acd" providerId="ADAL" clId="{BED0E5C0-84DB-42C8-AA9C-BA85E21B7A23}" dt="2023-04-25T14:39:40.311" v="162" actId="20577"/>
          <ac:spMkLst>
            <pc:docMk/>
            <pc:sldMk cId="2219543139" sldId="284"/>
            <ac:spMk id="5" creationId="{530A048D-D80F-4F76-9FB5-FE1C09E5CE0D}"/>
          </ac:spMkLst>
        </pc:spChg>
      </pc:sldChg>
      <pc:sldChg chg="modSp mod modNotesTx">
        <pc:chgData name="Hans Gelissen (DHL SSC Maastricht)" userId="1afa8510-4eed-4b73-a29e-678838cd8acd" providerId="ADAL" clId="{BED0E5C0-84DB-42C8-AA9C-BA85E21B7A23}" dt="2023-05-01T09:19:13.745" v="207" actId="6549"/>
        <pc:sldMkLst>
          <pc:docMk/>
          <pc:sldMk cId="3019530908" sldId="290"/>
        </pc:sldMkLst>
        <pc:spChg chg="mod">
          <ac:chgData name="Hans Gelissen (DHL SSC Maastricht)" userId="1afa8510-4eed-4b73-a29e-678838cd8acd" providerId="ADAL" clId="{BED0E5C0-84DB-42C8-AA9C-BA85E21B7A23}" dt="2023-04-28T14:29:37.196" v="206" actId="27636"/>
          <ac:spMkLst>
            <pc:docMk/>
            <pc:sldMk cId="3019530908" sldId="290"/>
            <ac:spMk id="2" creationId="{861444EB-F7AC-4C40-8F0E-916778EE475D}"/>
          </ac:spMkLst>
        </pc:spChg>
      </pc:sldChg>
      <pc:sldChg chg="addSp delSp modSp mod modClrScheme chgLayout">
        <pc:chgData name="Hans Gelissen (DHL SSC Maastricht)" userId="1afa8510-4eed-4b73-a29e-678838cd8acd" providerId="ADAL" clId="{BED0E5C0-84DB-42C8-AA9C-BA85E21B7A23}" dt="2023-04-25T14:39:40.090" v="161" actId="700"/>
        <pc:sldMkLst>
          <pc:docMk/>
          <pc:sldMk cId="1798378602" sldId="291"/>
        </pc:sldMkLst>
        <pc:spChg chg="add del mod ord">
          <ac:chgData name="Hans Gelissen (DHL SSC Maastricht)" userId="1afa8510-4eed-4b73-a29e-678838cd8acd" providerId="ADAL" clId="{BED0E5C0-84DB-42C8-AA9C-BA85E21B7A23}" dt="2023-04-25T14:39:40.090" v="161" actId="700"/>
          <ac:spMkLst>
            <pc:docMk/>
            <pc:sldMk cId="1798378602" sldId="291"/>
            <ac:spMk id="2" creationId="{6D3B36CE-D694-7487-B6C9-D95EE5FCC561}"/>
          </ac:spMkLst>
        </pc:spChg>
        <pc:spChg chg="mod ord">
          <ac:chgData name="Hans Gelissen (DHL SSC Maastricht)" userId="1afa8510-4eed-4b73-a29e-678838cd8acd" providerId="ADAL" clId="{BED0E5C0-84DB-42C8-AA9C-BA85E21B7A23}" dt="2023-04-25T14:39:40.090" v="161" actId="700"/>
          <ac:spMkLst>
            <pc:docMk/>
            <pc:sldMk cId="1798378602" sldId="291"/>
            <ac:spMk id="3" creationId="{3518157F-A8E5-40FC-96B5-FA6D44674F7E}"/>
          </ac:spMkLst>
        </pc:spChg>
        <pc:picChg chg="add del mod">
          <ac:chgData name="Hans Gelissen (DHL SSC Maastricht)" userId="1afa8510-4eed-4b73-a29e-678838cd8acd" providerId="ADAL" clId="{BED0E5C0-84DB-42C8-AA9C-BA85E21B7A23}" dt="2023-04-25T14:39:39.688" v="160" actId="931"/>
          <ac:picMkLst>
            <pc:docMk/>
            <pc:sldMk cId="1798378602" sldId="291"/>
            <ac:picMk id="5" creationId="{369C3FE9-8682-856F-F80E-29817D6B1DEE}"/>
          </ac:picMkLst>
        </pc:picChg>
      </pc:sldChg>
      <pc:sldChg chg="addSp delSp modSp mod modClrScheme chgLayout">
        <pc:chgData name="Hans Gelissen (DHL SSC Maastricht)" userId="1afa8510-4eed-4b73-a29e-678838cd8acd" providerId="ADAL" clId="{BED0E5C0-84DB-42C8-AA9C-BA85E21B7A23}" dt="2023-04-19T15:12:01.129" v="98" actId="700"/>
        <pc:sldMkLst>
          <pc:docMk/>
          <pc:sldMk cId="2652363728" sldId="292"/>
        </pc:sldMkLst>
        <pc:spChg chg="add del mod ord">
          <ac:chgData name="Hans Gelissen (DHL SSC Maastricht)" userId="1afa8510-4eed-4b73-a29e-678838cd8acd" providerId="ADAL" clId="{BED0E5C0-84DB-42C8-AA9C-BA85E21B7A23}" dt="2023-04-19T15:12:01.129" v="98" actId="700"/>
          <ac:spMkLst>
            <pc:docMk/>
            <pc:sldMk cId="2652363728" sldId="292"/>
            <ac:spMk id="2" creationId="{7FBBC3EE-DF88-BFC0-5C3A-D9D071621182}"/>
          </ac:spMkLst>
        </pc:spChg>
        <pc:spChg chg="add del mod ord">
          <ac:chgData name="Hans Gelissen (DHL SSC Maastricht)" userId="1afa8510-4eed-4b73-a29e-678838cd8acd" providerId="ADAL" clId="{BED0E5C0-84DB-42C8-AA9C-BA85E21B7A23}" dt="2023-04-19T15:12:01.129" v="98" actId="700"/>
          <ac:spMkLst>
            <pc:docMk/>
            <pc:sldMk cId="2652363728" sldId="292"/>
            <ac:spMk id="3" creationId="{5D6FC936-E942-4163-A5C5-DC4A16AC4E80}"/>
          </ac:spMkLst>
        </pc:spChg>
        <pc:spChg chg="add del mod ord">
          <ac:chgData name="Hans Gelissen (DHL SSC Maastricht)" userId="1afa8510-4eed-4b73-a29e-678838cd8acd" providerId="ADAL" clId="{BED0E5C0-84DB-42C8-AA9C-BA85E21B7A23}" dt="2023-04-19T15:12:01.129" v="98" actId="700"/>
          <ac:spMkLst>
            <pc:docMk/>
            <pc:sldMk cId="2652363728" sldId="292"/>
            <ac:spMk id="4" creationId="{6FEC531B-0E03-E6C0-ADF7-2D821CAE0A89}"/>
          </ac:spMkLst>
        </pc:spChg>
        <pc:spChg chg="add del mod ord">
          <ac:chgData name="Hans Gelissen (DHL SSC Maastricht)" userId="1afa8510-4eed-4b73-a29e-678838cd8acd" providerId="ADAL" clId="{BED0E5C0-84DB-42C8-AA9C-BA85E21B7A23}" dt="2023-04-19T15:12:01.129" v="98" actId="700"/>
          <ac:spMkLst>
            <pc:docMk/>
            <pc:sldMk cId="2652363728" sldId="292"/>
            <ac:spMk id="5" creationId="{3C8AC9F3-A3B8-575C-D04C-1A58048BD6DE}"/>
          </ac:spMkLst>
        </pc:spChg>
        <pc:spChg chg="add del">
          <ac:chgData name="Hans Gelissen (DHL SSC Maastricht)" userId="1afa8510-4eed-4b73-a29e-678838cd8acd" providerId="ADAL" clId="{BED0E5C0-84DB-42C8-AA9C-BA85E21B7A23}" dt="2023-04-19T15:12:01.129" v="98" actId="700"/>
          <ac:spMkLst>
            <pc:docMk/>
            <pc:sldMk cId="2652363728" sldId="292"/>
            <ac:spMk id="6" creationId="{DC92F33C-68EC-372D-9F14-EB078E897441}"/>
          </ac:spMkLst>
        </pc:spChg>
        <pc:spChg chg="add del mod ord">
          <ac:chgData name="Hans Gelissen (DHL SSC Maastricht)" userId="1afa8510-4eed-4b73-a29e-678838cd8acd" providerId="ADAL" clId="{BED0E5C0-84DB-42C8-AA9C-BA85E21B7A23}" dt="2023-04-19T15:12:01.129" v="98" actId="700"/>
          <ac:spMkLst>
            <pc:docMk/>
            <pc:sldMk cId="2652363728" sldId="292"/>
            <ac:spMk id="7" creationId="{45A10353-A619-9B8A-F14A-7C5ECEEA8199}"/>
          </ac:spMkLst>
        </pc:spChg>
        <pc:spChg chg="add del mod ord">
          <ac:chgData name="Hans Gelissen (DHL SSC Maastricht)" userId="1afa8510-4eed-4b73-a29e-678838cd8acd" providerId="ADAL" clId="{BED0E5C0-84DB-42C8-AA9C-BA85E21B7A23}" dt="2023-04-19T15:12:01.129" v="98" actId="700"/>
          <ac:spMkLst>
            <pc:docMk/>
            <pc:sldMk cId="2652363728" sldId="292"/>
            <ac:spMk id="8" creationId="{44474064-2DB4-41EA-94B5-D2B62486B2A9}"/>
          </ac:spMkLst>
        </pc:spChg>
        <pc:spChg chg="add del">
          <ac:chgData name="Hans Gelissen (DHL SSC Maastricht)" userId="1afa8510-4eed-4b73-a29e-678838cd8acd" providerId="ADAL" clId="{BED0E5C0-84DB-42C8-AA9C-BA85E21B7A23}" dt="2023-04-19T15:12:01.129" v="98" actId="700"/>
          <ac:spMkLst>
            <pc:docMk/>
            <pc:sldMk cId="2652363728" sldId="292"/>
            <ac:spMk id="9" creationId="{7268A0B5-E529-69BC-6FDA-288E3F7093A8}"/>
          </ac:spMkLst>
        </pc:spChg>
        <pc:spChg chg="add del">
          <ac:chgData name="Hans Gelissen (DHL SSC Maastricht)" userId="1afa8510-4eed-4b73-a29e-678838cd8acd" providerId="ADAL" clId="{BED0E5C0-84DB-42C8-AA9C-BA85E21B7A23}" dt="2023-04-19T15:12:01.129" v="98" actId="700"/>
          <ac:spMkLst>
            <pc:docMk/>
            <pc:sldMk cId="2652363728" sldId="292"/>
            <ac:spMk id="13" creationId="{5F89EA13-C2EA-EE08-CA7B-720C2BA1A728}"/>
          </ac:spMkLst>
        </pc:spChg>
      </pc:sldChg>
      <pc:sldChg chg="modSp mod">
        <pc:chgData name="Hans Gelissen (DHL SSC Maastricht)" userId="1afa8510-4eed-4b73-a29e-678838cd8acd" providerId="ADAL" clId="{BED0E5C0-84DB-42C8-AA9C-BA85E21B7A23}" dt="2023-04-28T14:29:19.589" v="204" actId="947"/>
        <pc:sldMkLst>
          <pc:docMk/>
          <pc:sldMk cId="2805156081" sldId="293"/>
        </pc:sldMkLst>
        <pc:spChg chg="mod">
          <ac:chgData name="Hans Gelissen (DHL SSC Maastricht)" userId="1afa8510-4eed-4b73-a29e-678838cd8acd" providerId="ADAL" clId="{BED0E5C0-84DB-42C8-AA9C-BA85E21B7A23}" dt="2023-04-28T14:29:19.589" v="204" actId="947"/>
          <ac:spMkLst>
            <pc:docMk/>
            <pc:sldMk cId="2805156081" sldId="293"/>
            <ac:spMk id="3" creationId="{BD68A1A4-27C7-4139-883F-4E748584F0EB}"/>
          </ac:spMkLst>
        </pc:spChg>
      </pc:sldChg>
      <pc:sldChg chg="modSp mod">
        <pc:chgData name="Hans Gelissen (DHL SSC Maastricht)" userId="1afa8510-4eed-4b73-a29e-678838cd8acd" providerId="ADAL" clId="{BED0E5C0-84DB-42C8-AA9C-BA85E21B7A23}" dt="2023-04-19T15:14:23.668" v="101" actId="20577"/>
        <pc:sldMkLst>
          <pc:docMk/>
          <pc:sldMk cId="881367480" sldId="297"/>
        </pc:sldMkLst>
        <pc:spChg chg="mod">
          <ac:chgData name="Hans Gelissen (DHL SSC Maastricht)" userId="1afa8510-4eed-4b73-a29e-678838cd8acd" providerId="ADAL" clId="{BED0E5C0-84DB-42C8-AA9C-BA85E21B7A23}" dt="2023-04-19T15:06:23.429" v="15" actId="20577"/>
          <ac:spMkLst>
            <pc:docMk/>
            <pc:sldMk cId="881367480" sldId="297"/>
            <ac:spMk id="2" creationId="{6BBA3A47-0FFF-4B6A-B7D5-2196E5E8A14A}"/>
          </ac:spMkLst>
        </pc:spChg>
        <pc:spChg chg="mod">
          <ac:chgData name="Hans Gelissen (DHL SSC Maastricht)" userId="1afa8510-4eed-4b73-a29e-678838cd8acd" providerId="ADAL" clId="{BED0E5C0-84DB-42C8-AA9C-BA85E21B7A23}" dt="2023-04-19T15:06:48.478" v="46" actId="1076"/>
          <ac:spMkLst>
            <pc:docMk/>
            <pc:sldMk cId="881367480" sldId="297"/>
            <ac:spMk id="4" creationId="{C9F250CE-3AB6-4002-A51C-C849F93A0703}"/>
          </ac:spMkLst>
        </pc:spChg>
        <pc:spChg chg="mod">
          <ac:chgData name="Hans Gelissen (DHL SSC Maastricht)" userId="1afa8510-4eed-4b73-a29e-678838cd8acd" providerId="ADAL" clId="{BED0E5C0-84DB-42C8-AA9C-BA85E21B7A23}" dt="2023-04-19T15:14:23.668" v="101" actId="20577"/>
          <ac:spMkLst>
            <pc:docMk/>
            <pc:sldMk cId="881367480" sldId="297"/>
            <ac:spMk id="8" creationId="{ECEAB483-8E21-42CC-870F-BE6C52E578DB}"/>
          </ac:spMkLst>
        </pc:spChg>
      </pc:sldChg>
      <pc:sldChg chg="modSp mod">
        <pc:chgData name="Hans Gelissen (DHL SSC Maastricht)" userId="1afa8510-4eed-4b73-a29e-678838cd8acd" providerId="ADAL" clId="{BED0E5C0-84DB-42C8-AA9C-BA85E21B7A23}" dt="2023-05-01T10:28:40.953" v="357" actId="113"/>
        <pc:sldMkLst>
          <pc:docMk/>
          <pc:sldMk cId="1438127617" sldId="299"/>
        </pc:sldMkLst>
        <pc:spChg chg="mod">
          <ac:chgData name="Hans Gelissen (DHL SSC Maastricht)" userId="1afa8510-4eed-4b73-a29e-678838cd8acd" providerId="ADAL" clId="{BED0E5C0-84DB-42C8-AA9C-BA85E21B7A23}" dt="2023-05-01T10:28:40.953" v="357" actId="113"/>
          <ac:spMkLst>
            <pc:docMk/>
            <pc:sldMk cId="1438127617" sldId="299"/>
            <ac:spMk id="28" creationId="{8064D980-47B1-4908-91F7-E3248663BC9D}"/>
          </ac:spMkLst>
        </pc:spChg>
      </pc:sldChg>
      <pc:sldChg chg="addSp modSp mod">
        <pc:chgData name="Hans Gelissen (DHL SSC Maastricht)" userId="1afa8510-4eed-4b73-a29e-678838cd8acd" providerId="ADAL" clId="{BED0E5C0-84DB-42C8-AA9C-BA85E21B7A23}" dt="2023-05-01T12:32:55.569" v="432" actId="1076"/>
        <pc:sldMkLst>
          <pc:docMk/>
          <pc:sldMk cId="1321327356" sldId="300"/>
        </pc:sldMkLst>
        <pc:spChg chg="add mod">
          <ac:chgData name="Hans Gelissen (DHL SSC Maastricht)" userId="1afa8510-4eed-4b73-a29e-678838cd8acd" providerId="ADAL" clId="{BED0E5C0-84DB-42C8-AA9C-BA85E21B7A23}" dt="2023-05-01T12:32:47.881" v="431" actId="1076"/>
          <ac:spMkLst>
            <pc:docMk/>
            <pc:sldMk cId="1321327356" sldId="300"/>
            <ac:spMk id="5" creationId="{B2B5E9D5-28D9-0842-C97C-18E68C4AEF75}"/>
          </ac:spMkLst>
        </pc:spChg>
        <pc:spChg chg="mod">
          <ac:chgData name="Hans Gelissen (DHL SSC Maastricht)" userId="1afa8510-4eed-4b73-a29e-678838cd8acd" providerId="ADAL" clId="{BED0E5C0-84DB-42C8-AA9C-BA85E21B7A23}" dt="2023-05-01T12:32:55.569" v="432" actId="1076"/>
          <ac:spMkLst>
            <pc:docMk/>
            <pc:sldMk cId="1321327356" sldId="300"/>
            <ac:spMk id="10" creationId="{55A05272-E08B-4FCB-8F18-44D937FDF594}"/>
          </ac:spMkLst>
        </pc:spChg>
        <pc:spChg chg="mod">
          <ac:chgData name="Hans Gelissen (DHL SSC Maastricht)" userId="1afa8510-4eed-4b73-a29e-678838cd8acd" providerId="ADAL" clId="{BED0E5C0-84DB-42C8-AA9C-BA85E21B7A23}" dt="2023-05-01T12:32:40.129" v="429" actId="1076"/>
          <ac:spMkLst>
            <pc:docMk/>
            <pc:sldMk cId="1321327356" sldId="300"/>
            <ac:spMk id="13" creationId="{DCC12F1E-1A5E-44A7-8558-5BC406E2469F}"/>
          </ac:spMkLst>
        </pc:spChg>
        <pc:picChg chg="add mod">
          <ac:chgData name="Hans Gelissen (DHL SSC Maastricht)" userId="1afa8510-4eed-4b73-a29e-678838cd8acd" providerId="ADAL" clId="{BED0E5C0-84DB-42C8-AA9C-BA85E21B7A23}" dt="2023-05-01T12:32:47.881" v="431" actId="1076"/>
          <ac:picMkLst>
            <pc:docMk/>
            <pc:sldMk cId="1321327356" sldId="300"/>
            <ac:picMk id="3" creationId="{CDBF24B0-B98C-9614-05DB-3309BDD3BC1B}"/>
          </ac:picMkLst>
        </pc:picChg>
        <pc:picChg chg="mod">
          <ac:chgData name="Hans Gelissen (DHL SSC Maastricht)" userId="1afa8510-4eed-4b73-a29e-678838cd8acd" providerId="ADAL" clId="{BED0E5C0-84DB-42C8-AA9C-BA85E21B7A23}" dt="2023-05-01T12:32:55.569" v="432" actId="1076"/>
          <ac:picMkLst>
            <pc:docMk/>
            <pc:sldMk cId="1321327356" sldId="300"/>
            <ac:picMk id="7" creationId="{DB268481-15CD-43FC-A837-E3D080295F6F}"/>
          </ac:picMkLst>
        </pc:picChg>
        <pc:picChg chg="mod">
          <ac:chgData name="Hans Gelissen (DHL SSC Maastricht)" userId="1afa8510-4eed-4b73-a29e-678838cd8acd" providerId="ADAL" clId="{BED0E5C0-84DB-42C8-AA9C-BA85E21B7A23}" dt="2023-05-01T12:32:40.129" v="429" actId="1076"/>
          <ac:picMkLst>
            <pc:docMk/>
            <pc:sldMk cId="1321327356" sldId="300"/>
            <ac:picMk id="8" creationId="{FE7C2B43-B618-4C19-AD0B-968E6C741786}"/>
          </ac:picMkLst>
        </pc:picChg>
      </pc:sldChg>
      <pc:sldChg chg="modSp">
        <pc:chgData name="Hans Gelissen (DHL SSC Maastricht)" userId="1afa8510-4eed-4b73-a29e-678838cd8acd" providerId="ADAL" clId="{BED0E5C0-84DB-42C8-AA9C-BA85E21B7A23}" dt="2023-05-01T09:33:37.315" v="347"/>
        <pc:sldMkLst>
          <pc:docMk/>
          <pc:sldMk cId="2804179008" sldId="305"/>
        </pc:sldMkLst>
        <pc:picChg chg="mod">
          <ac:chgData name="Hans Gelissen (DHL SSC Maastricht)" userId="1afa8510-4eed-4b73-a29e-678838cd8acd" providerId="ADAL" clId="{BED0E5C0-84DB-42C8-AA9C-BA85E21B7A23}" dt="2023-05-01T09:33:37.315" v="347"/>
          <ac:picMkLst>
            <pc:docMk/>
            <pc:sldMk cId="2804179008" sldId="305"/>
            <ac:picMk id="4" creationId="{33C266AC-61B2-7064-4A5F-BFA3BB8710C4}"/>
          </ac:picMkLst>
        </pc:picChg>
      </pc:sldChg>
      <pc:sldChg chg="modSp mod">
        <pc:chgData name="Hans Gelissen (DHL SSC Maastricht)" userId="1afa8510-4eed-4b73-a29e-678838cd8acd" providerId="ADAL" clId="{BED0E5C0-84DB-42C8-AA9C-BA85E21B7A23}" dt="2023-04-28T10:53:30.824" v="166" actId="20577"/>
        <pc:sldMkLst>
          <pc:docMk/>
          <pc:sldMk cId="2313544586" sldId="309"/>
        </pc:sldMkLst>
        <pc:spChg chg="mod">
          <ac:chgData name="Hans Gelissen (DHL SSC Maastricht)" userId="1afa8510-4eed-4b73-a29e-678838cd8acd" providerId="ADAL" clId="{BED0E5C0-84DB-42C8-AA9C-BA85E21B7A23}" dt="2023-04-28T10:53:30.824" v="166" actId="20577"/>
          <ac:spMkLst>
            <pc:docMk/>
            <pc:sldMk cId="2313544586" sldId="309"/>
            <ac:spMk id="30" creationId="{1A24CB54-1256-4A12-9DC4-850F76A8C937}"/>
          </ac:spMkLst>
        </pc:spChg>
      </pc:sldChg>
      <pc:sldChg chg="modAnim">
        <pc:chgData name="Hans Gelissen (DHL SSC Maastricht)" userId="1afa8510-4eed-4b73-a29e-678838cd8acd" providerId="ADAL" clId="{BED0E5C0-84DB-42C8-AA9C-BA85E21B7A23}" dt="2023-05-01T11:08:55.957" v="358"/>
        <pc:sldMkLst>
          <pc:docMk/>
          <pc:sldMk cId="2800447061" sldId="311"/>
        </pc:sldMkLst>
      </pc:sldChg>
      <pc:sldChg chg="modSp mod">
        <pc:chgData name="Hans Gelissen (DHL SSC Maastricht)" userId="1afa8510-4eed-4b73-a29e-678838cd8acd" providerId="ADAL" clId="{BED0E5C0-84DB-42C8-AA9C-BA85E21B7A23}" dt="2023-05-01T11:22:17.460" v="376" actId="20577"/>
        <pc:sldMkLst>
          <pc:docMk/>
          <pc:sldMk cId="433562934" sldId="313"/>
        </pc:sldMkLst>
        <pc:spChg chg="mod">
          <ac:chgData name="Hans Gelissen (DHL SSC Maastricht)" userId="1afa8510-4eed-4b73-a29e-678838cd8acd" providerId="ADAL" clId="{BED0E5C0-84DB-42C8-AA9C-BA85E21B7A23}" dt="2023-05-01T11:22:17.460" v="376" actId="20577"/>
          <ac:spMkLst>
            <pc:docMk/>
            <pc:sldMk cId="433562934" sldId="313"/>
            <ac:spMk id="9" creationId="{786FF0EE-3B29-4FDC-BBDE-D52104C28520}"/>
          </ac:spMkLst>
        </pc:spChg>
      </pc:sldChg>
      <pc:sldChg chg="modSp mod">
        <pc:chgData name="Hans Gelissen (DHL SSC Maastricht)" userId="1afa8510-4eed-4b73-a29e-678838cd8acd" providerId="ADAL" clId="{BED0E5C0-84DB-42C8-AA9C-BA85E21B7A23}" dt="2023-05-01T11:50:50.333" v="409" actId="20577"/>
        <pc:sldMkLst>
          <pc:docMk/>
          <pc:sldMk cId="3703085558" sldId="315"/>
        </pc:sldMkLst>
        <pc:spChg chg="mod">
          <ac:chgData name="Hans Gelissen (DHL SSC Maastricht)" userId="1afa8510-4eed-4b73-a29e-678838cd8acd" providerId="ADAL" clId="{BED0E5C0-84DB-42C8-AA9C-BA85E21B7A23}" dt="2023-05-01T11:46:54.245" v="389" actId="20577"/>
          <ac:spMkLst>
            <pc:docMk/>
            <pc:sldMk cId="3703085558" sldId="315"/>
            <ac:spMk id="4" creationId="{02122118-43E9-43EB-A9F1-5D9985A9DE3A}"/>
          </ac:spMkLst>
        </pc:spChg>
        <pc:spChg chg="mod">
          <ac:chgData name="Hans Gelissen (DHL SSC Maastricht)" userId="1afa8510-4eed-4b73-a29e-678838cd8acd" providerId="ADAL" clId="{BED0E5C0-84DB-42C8-AA9C-BA85E21B7A23}" dt="2023-05-01T11:50:50.333" v="409" actId="20577"/>
          <ac:spMkLst>
            <pc:docMk/>
            <pc:sldMk cId="3703085558" sldId="315"/>
            <ac:spMk id="6" creationId="{BA82EB73-1F99-49CD-9D9E-0460A6A401DC}"/>
          </ac:spMkLst>
        </pc:spChg>
      </pc:sldChg>
      <pc:sldChg chg="ord">
        <pc:chgData name="Hans Gelissen (DHL SSC Maastricht)" userId="1afa8510-4eed-4b73-a29e-678838cd8acd" providerId="ADAL" clId="{BED0E5C0-84DB-42C8-AA9C-BA85E21B7A23}" dt="2023-04-19T15:06:56.302" v="47" actId="20578"/>
        <pc:sldMkLst>
          <pc:docMk/>
          <pc:sldMk cId="2243764772" sldId="331"/>
        </pc:sldMkLst>
      </pc:sldChg>
      <pc:sldChg chg="modNotesTx">
        <pc:chgData name="Hans Gelissen (DHL SSC Maastricht)" userId="1afa8510-4eed-4b73-a29e-678838cd8acd" providerId="ADAL" clId="{BED0E5C0-84DB-42C8-AA9C-BA85E21B7A23}" dt="2023-05-01T09:19:35.514" v="209" actId="6549"/>
        <pc:sldMkLst>
          <pc:docMk/>
          <pc:sldMk cId="774294746" sldId="332"/>
        </pc:sldMkLst>
      </pc:sldChg>
      <pc:sldChg chg="modNotesTx">
        <pc:chgData name="Hans Gelissen (DHL SSC Maastricht)" userId="1afa8510-4eed-4b73-a29e-678838cd8acd" providerId="ADAL" clId="{BED0E5C0-84DB-42C8-AA9C-BA85E21B7A23}" dt="2023-05-01T09:19:27.638" v="208" actId="6549"/>
        <pc:sldMkLst>
          <pc:docMk/>
          <pc:sldMk cId="2072125447" sldId="333"/>
        </pc:sldMkLst>
      </pc:sldChg>
      <pc:sldChg chg="modSp mod">
        <pc:chgData name="Hans Gelissen (DHL SSC Maastricht)" userId="1afa8510-4eed-4b73-a29e-678838cd8acd" providerId="ADAL" clId="{BED0E5C0-84DB-42C8-AA9C-BA85E21B7A23}" dt="2023-05-01T09:39:24.502" v="351" actId="20577"/>
        <pc:sldMkLst>
          <pc:docMk/>
          <pc:sldMk cId="2102271174" sldId="334"/>
        </pc:sldMkLst>
        <pc:spChg chg="mod">
          <ac:chgData name="Hans Gelissen (DHL SSC Maastricht)" userId="1afa8510-4eed-4b73-a29e-678838cd8acd" providerId="ADAL" clId="{BED0E5C0-84DB-42C8-AA9C-BA85E21B7A23}" dt="2023-05-01T09:39:24.502" v="351" actId="20577"/>
          <ac:spMkLst>
            <pc:docMk/>
            <pc:sldMk cId="2102271174" sldId="334"/>
            <ac:spMk id="2" creationId="{67F3CAA9-8755-6A64-72B3-59AF298CE50E}"/>
          </ac:spMkLst>
        </pc:spChg>
      </pc:sldChg>
      <pc:sldChg chg="addSp delSp modSp new mod modClrScheme chgLayout">
        <pc:chgData name="Hans Gelissen (DHL SSC Maastricht)" userId="1afa8510-4eed-4b73-a29e-678838cd8acd" providerId="ADAL" clId="{BED0E5C0-84DB-42C8-AA9C-BA85E21B7A23}" dt="2023-04-19T15:12:09.482" v="99" actId="700"/>
        <pc:sldMkLst>
          <pc:docMk/>
          <pc:sldMk cId="1516152122" sldId="335"/>
        </pc:sldMkLst>
        <pc:spChg chg="del mod ord">
          <ac:chgData name="Hans Gelissen (DHL SSC Maastricht)" userId="1afa8510-4eed-4b73-a29e-678838cd8acd" providerId="ADAL" clId="{BED0E5C0-84DB-42C8-AA9C-BA85E21B7A23}" dt="2023-04-19T15:12:09.482" v="99" actId="700"/>
          <ac:spMkLst>
            <pc:docMk/>
            <pc:sldMk cId="1516152122" sldId="335"/>
            <ac:spMk id="2" creationId="{F9671A47-C625-DDD0-9EB8-0F6BA8376823}"/>
          </ac:spMkLst>
        </pc:spChg>
        <pc:spChg chg="del mod ord">
          <ac:chgData name="Hans Gelissen (DHL SSC Maastricht)" userId="1afa8510-4eed-4b73-a29e-678838cd8acd" providerId="ADAL" clId="{BED0E5C0-84DB-42C8-AA9C-BA85E21B7A23}" dt="2023-04-19T15:12:09.482" v="99" actId="700"/>
          <ac:spMkLst>
            <pc:docMk/>
            <pc:sldMk cId="1516152122" sldId="335"/>
            <ac:spMk id="3" creationId="{2347A01A-FCFA-A301-5F9C-4DC3D9CBFD11}"/>
          </ac:spMkLst>
        </pc:spChg>
        <pc:spChg chg="add mod ord">
          <ac:chgData name="Hans Gelissen (DHL SSC Maastricht)" userId="1afa8510-4eed-4b73-a29e-678838cd8acd" providerId="ADAL" clId="{BED0E5C0-84DB-42C8-AA9C-BA85E21B7A23}" dt="2023-04-19T15:12:09.482" v="99" actId="700"/>
          <ac:spMkLst>
            <pc:docMk/>
            <pc:sldMk cId="1516152122" sldId="335"/>
            <ac:spMk id="4" creationId="{27D0DD94-901F-2D56-25C6-C5D56B479D2B}"/>
          </ac:spMkLst>
        </pc:spChg>
        <pc:spChg chg="add mod ord">
          <ac:chgData name="Hans Gelissen (DHL SSC Maastricht)" userId="1afa8510-4eed-4b73-a29e-678838cd8acd" providerId="ADAL" clId="{BED0E5C0-84DB-42C8-AA9C-BA85E21B7A23}" dt="2023-04-19T15:12:09.482" v="99" actId="700"/>
          <ac:spMkLst>
            <pc:docMk/>
            <pc:sldMk cId="1516152122" sldId="335"/>
            <ac:spMk id="5" creationId="{44B84764-CFC5-F49B-8776-AC5CDBCEC673}"/>
          </ac:spMkLst>
        </pc:spChg>
        <pc:spChg chg="add mod ord">
          <ac:chgData name="Hans Gelissen (DHL SSC Maastricht)" userId="1afa8510-4eed-4b73-a29e-678838cd8acd" providerId="ADAL" clId="{BED0E5C0-84DB-42C8-AA9C-BA85E21B7A23}" dt="2023-04-19T15:12:09.482" v="99" actId="700"/>
          <ac:spMkLst>
            <pc:docMk/>
            <pc:sldMk cId="1516152122" sldId="335"/>
            <ac:spMk id="6" creationId="{54DA1CC6-533F-FC8A-42C0-F040E1009A2B}"/>
          </ac:spMkLst>
        </pc:spChg>
      </pc:sldChg>
      <pc:sldChg chg="addSp delSp modSp add del mod modClrScheme chgLayout">
        <pc:chgData name="Hans Gelissen (DHL SSC Maastricht)" userId="1afa8510-4eed-4b73-a29e-678838cd8acd" providerId="ADAL" clId="{BED0E5C0-84DB-42C8-AA9C-BA85E21B7A23}" dt="2023-04-28T14:15:28.831" v="203" actId="47"/>
        <pc:sldMkLst>
          <pc:docMk/>
          <pc:sldMk cId="270816509" sldId="336"/>
        </pc:sldMkLst>
        <pc:spChg chg="mod ord">
          <ac:chgData name="Hans Gelissen (DHL SSC Maastricht)" userId="1afa8510-4eed-4b73-a29e-678838cd8acd" providerId="ADAL" clId="{BED0E5C0-84DB-42C8-AA9C-BA85E21B7A23}" dt="2023-04-28T14:15:03.243" v="201" actId="700"/>
          <ac:spMkLst>
            <pc:docMk/>
            <pc:sldMk cId="270816509" sldId="336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BED0E5C0-84DB-42C8-AA9C-BA85E21B7A23}" dt="2023-04-28T14:15:09.380" v="202" actId="478"/>
          <ac:spMkLst>
            <pc:docMk/>
            <pc:sldMk cId="270816509" sldId="336"/>
            <ac:spMk id="3" creationId="{C26120A8-D18E-BE5D-2C36-FB562A5C19F1}"/>
          </ac:spMkLst>
        </pc:spChg>
      </pc:sldChg>
      <pc:sldChg chg="addSp delSp modSp new mod modClrScheme chgLayout">
        <pc:chgData name="Hans Gelissen (DHL SSC Maastricht)" userId="1afa8510-4eed-4b73-a29e-678838cd8acd" providerId="ADAL" clId="{BED0E5C0-84DB-42C8-AA9C-BA85E21B7A23}" dt="2023-05-01T09:23:45.538" v="346" actId="1076"/>
        <pc:sldMkLst>
          <pc:docMk/>
          <pc:sldMk cId="1138183494" sldId="336"/>
        </pc:sldMkLst>
        <pc:spChg chg="del mod ord">
          <ac:chgData name="Hans Gelissen (DHL SSC Maastricht)" userId="1afa8510-4eed-4b73-a29e-678838cd8acd" providerId="ADAL" clId="{BED0E5C0-84DB-42C8-AA9C-BA85E21B7A23}" dt="2023-05-01T09:21:38.436" v="211" actId="700"/>
          <ac:spMkLst>
            <pc:docMk/>
            <pc:sldMk cId="1138183494" sldId="336"/>
            <ac:spMk id="2" creationId="{73CF927D-1B7C-9EAE-5F05-B3EFFD2E44E1}"/>
          </ac:spMkLst>
        </pc:spChg>
        <pc:spChg chg="del">
          <ac:chgData name="Hans Gelissen (DHL SSC Maastricht)" userId="1afa8510-4eed-4b73-a29e-678838cd8acd" providerId="ADAL" clId="{BED0E5C0-84DB-42C8-AA9C-BA85E21B7A23}" dt="2023-05-01T09:21:38.436" v="211" actId="700"/>
          <ac:spMkLst>
            <pc:docMk/>
            <pc:sldMk cId="1138183494" sldId="336"/>
            <ac:spMk id="3" creationId="{EBDFA648-9CA2-3A0A-61E5-02262C21E272}"/>
          </ac:spMkLst>
        </pc:spChg>
        <pc:spChg chg="add del mod ord">
          <ac:chgData name="Hans Gelissen (DHL SSC Maastricht)" userId="1afa8510-4eed-4b73-a29e-678838cd8acd" providerId="ADAL" clId="{BED0E5C0-84DB-42C8-AA9C-BA85E21B7A23}" dt="2023-05-01T09:21:48.907" v="212" actId="700"/>
          <ac:spMkLst>
            <pc:docMk/>
            <pc:sldMk cId="1138183494" sldId="336"/>
            <ac:spMk id="4" creationId="{C309900F-70FD-191A-7FE3-A46B55EEDCB1}"/>
          </ac:spMkLst>
        </pc:spChg>
        <pc:spChg chg="add mod ord">
          <ac:chgData name="Hans Gelissen (DHL SSC Maastricht)" userId="1afa8510-4eed-4b73-a29e-678838cd8acd" providerId="ADAL" clId="{BED0E5C0-84DB-42C8-AA9C-BA85E21B7A23}" dt="2023-05-01T09:22:04.656" v="245" actId="20577"/>
          <ac:spMkLst>
            <pc:docMk/>
            <pc:sldMk cId="1138183494" sldId="336"/>
            <ac:spMk id="5" creationId="{83627CEC-EB08-0178-90BB-5F4C1A2A72BB}"/>
          </ac:spMkLst>
        </pc:spChg>
        <pc:spChg chg="add mod">
          <ac:chgData name="Hans Gelissen (DHL SSC Maastricht)" userId="1afa8510-4eed-4b73-a29e-678838cd8acd" providerId="ADAL" clId="{BED0E5C0-84DB-42C8-AA9C-BA85E21B7A23}" dt="2023-05-01T09:23:45.538" v="346" actId="1076"/>
          <ac:spMkLst>
            <pc:docMk/>
            <pc:sldMk cId="1138183494" sldId="336"/>
            <ac:spMk id="6" creationId="{069208A1-27B7-E047-DC7C-E6FD3FC80E78}"/>
          </ac:spMkLst>
        </pc:spChg>
        <pc:spChg chg="add mod">
          <ac:chgData name="Hans Gelissen (DHL SSC Maastricht)" userId="1afa8510-4eed-4b73-a29e-678838cd8acd" providerId="ADAL" clId="{BED0E5C0-84DB-42C8-AA9C-BA85E21B7A23}" dt="2023-05-01T09:23:45.538" v="346" actId="1076"/>
          <ac:spMkLst>
            <pc:docMk/>
            <pc:sldMk cId="1138183494" sldId="336"/>
            <ac:spMk id="7" creationId="{D8686DF0-AF92-8FD1-8461-54182E29CD22}"/>
          </ac:spMkLst>
        </pc:spChg>
      </pc:sldChg>
      <pc:sldChg chg="new del">
        <pc:chgData name="Hans Gelissen (DHL SSC Maastricht)" userId="1afa8510-4eed-4b73-a29e-678838cd8acd" providerId="ADAL" clId="{BED0E5C0-84DB-42C8-AA9C-BA85E21B7A23}" dt="2023-04-25T14:22:58.018" v="150" actId="680"/>
        <pc:sldMkLst>
          <pc:docMk/>
          <pc:sldMk cId="3534608951" sldId="336"/>
        </pc:sldMkLst>
      </pc:sldChg>
      <pc:sldChg chg="delSp add del mod delAnim">
        <pc:chgData name="Hans Gelissen (DHL SSC Maastricht)" userId="1afa8510-4eed-4b73-a29e-678838cd8acd" providerId="ADAL" clId="{BED0E5C0-84DB-42C8-AA9C-BA85E21B7A23}" dt="2023-05-01T10:22:17.120" v="355" actId="47"/>
        <pc:sldMkLst>
          <pc:docMk/>
          <pc:sldMk cId="2307419721" sldId="337"/>
        </pc:sldMkLst>
        <pc:grpChg chg="del">
          <ac:chgData name="Hans Gelissen (DHL SSC Maastricht)" userId="1afa8510-4eed-4b73-a29e-678838cd8acd" providerId="ADAL" clId="{BED0E5C0-84DB-42C8-AA9C-BA85E21B7A23}" dt="2023-05-01T10:17:33.285" v="353" actId="478"/>
          <ac:grpSpMkLst>
            <pc:docMk/>
            <pc:sldMk cId="2307419721" sldId="337"/>
            <ac:grpSpMk id="10" creationId="{2D71C1D1-5469-476D-8378-66EC5E96F0F9}"/>
          </ac:grpSpMkLst>
        </pc:grpChg>
        <pc:grpChg chg="del">
          <ac:chgData name="Hans Gelissen (DHL SSC Maastricht)" userId="1afa8510-4eed-4b73-a29e-678838cd8acd" providerId="ADAL" clId="{BED0E5C0-84DB-42C8-AA9C-BA85E21B7A23}" dt="2023-05-01T10:17:35.084" v="354" actId="478"/>
          <ac:grpSpMkLst>
            <pc:docMk/>
            <pc:sldMk cId="2307419721" sldId="337"/>
            <ac:grpSpMk id="11" creationId="{D5F67812-3B67-449E-B0E1-7D089E21F789}"/>
          </ac:grpSpMkLst>
        </pc:grpChg>
      </pc:sldChg>
      <pc:sldChg chg="addSp delSp modSp new mod modClrScheme chgLayout">
        <pc:chgData name="Hans Gelissen (DHL SSC Maastricht)" userId="1afa8510-4eed-4b73-a29e-678838cd8acd" providerId="ADAL" clId="{BED0E5C0-84DB-42C8-AA9C-BA85E21B7A23}" dt="2023-05-01T14:10:45.130" v="484" actId="1076"/>
        <pc:sldMkLst>
          <pc:docMk/>
          <pc:sldMk cId="2995812918" sldId="337"/>
        </pc:sldMkLst>
        <pc:spChg chg="mod ord">
          <ac:chgData name="Hans Gelissen (DHL SSC Maastricht)" userId="1afa8510-4eed-4b73-a29e-678838cd8acd" providerId="ADAL" clId="{BED0E5C0-84DB-42C8-AA9C-BA85E21B7A23}" dt="2023-05-01T14:10:26.318" v="479" actId="700"/>
          <ac:spMkLst>
            <pc:docMk/>
            <pc:sldMk cId="2995812918" sldId="337"/>
            <ac:spMk id="2" creationId="{DAD122FB-BB8A-1FF6-F8DC-6463ACB29166}"/>
          </ac:spMkLst>
        </pc:spChg>
        <pc:spChg chg="del">
          <ac:chgData name="Hans Gelissen (DHL SSC Maastricht)" userId="1afa8510-4eed-4b73-a29e-678838cd8acd" providerId="ADAL" clId="{BED0E5C0-84DB-42C8-AA9C-BA85E21B7A23}" dt="2023-05-01T14:08:23.291" v="437" actId="478"/>
          <ac:spMkLst>
            <pc:docMk/>
            <pc:sldMk cId="2995812918" sldId="337"/>
            <ac:spMk id="3" creationId="{A962F957-8B81-8BE5-CFEB-1AEAD756B9CE}"/>
          </ac:spMkLst>
        </pc:spChg>
        <pc:spChg chg="add mod">
          <ac:chgData name="Hans Gelissen (DHL SSC Maastricht)" userId="1afa8510-4eed-4b73-a29e-678838cd8acd" providerId="ADAL" clId="{BED0E5C0-84DB-42C8-AA9C-BA85E21B7A23}" dt="2023-05-01T14:10:45.130" v="484" actId="1076"/>
          <ac:spMkLst>
            <pc:docMk/>
            <pc:sldMk cId="2995812918" sldId="337"/>
            <ac:spMk id="4" creationId="{F1A84DB1-8CD7-5F1C-8B69-6CDA62EF8160}"/>
          </ac:spMkLst>
        </pc:spChg>
        <pc:spChg chg="add mod">
          <ac:chgData name="Hans Gelissen (DHL SSC Maastricht)" userId="1afa8510-4eed-4b73-a29e-678838cd8acd" providerId="ADAL" clId="{BED0E5C0-84DB-42C8-AA9C-BA85E21B7A23}" dt="2023-05-01T14:10:45.130" v="484" actId="1076"/>
          <ac:spMkLst>
            <pc:docMk/>
            <pc:sldMk cId="2995812918" sldId="337"/>
            <ac:spMk id="5" creationId="{DABA6331-61D4-4AE0-78AE-1894A55441CE}"/>
          </ac:spMkLst>
        </pc:spChg>
      </pc:sldChg>
      <pc:sldMasterChg chg="modSldLayout">
        <pc:chgData name="Hans Gelissen (DHL SSC Maastricht)" userId="1afa8510-4eed-4b73-a29e-678838cd8acd" providerId="ADAL" clId="{BED0E5C0-84DB-42C8-AA9C-BA85E21B7A23}" dt="2023-04-19T15:18:02.851" v="126" actId="20577"/>
        <pc:sldMasterMkLst>
          <pc:docMk/>
          <pc:sldMasterMk cId="2722686442" sldId="2147484013"/>
        </pc:sldMasterMkLst>
        <pc:sldLayoutChg chg="addSp delSp modSp mod">
          <pc:chgData name="Hans Gelissen (DHL SSC Maastricht)" userId="1afa8510-4eed-4b73-a29e-678838cd8acd" providerId="ADAL" clId="{BED0E5C0-84DB-42C8-AA9C-BA85E21B7A23}" dt="2023-04-19T15:18:02.851" v="126" actId="20577"/>
          <pc:sldLayoutMkLst>
            <pc:docMk/>
            <pc:sldMasterMk cId="2722686442" sldId="2147484013"/>
            <pc:sldLayoutMk cId="1338591679" sldId="2147484036"/>
          </pc:sldLayoutMkLst>
          <pc:spChg chg="mod ord">
            <ac:chgData name="Hans Gelissen (DHL SSC Maastricht)" userId="1afa8510-4eed-4b73-a29e-678838cd8acd" providerId="ADAL" clId="{BED0E5C0-84DB-42C8-AA9C-BA85E21B7A23}" dt="2023-04-19T15:17:35.794" v="111" actId="207"/>
            <ac:spMkLst>
              <pc:docMk/>
              <pc:sldMasterMk cId="2722686442" sldId="2147484013"/>
              <pc:sldLayoutMk cId="1338591679" sldId="2147484036"/>
              <ac:spMk id="5" creationId="{8D4C9A0D-85D6-4749-99E3-B8A1C8FE8CEF}"/>
            </ac:spMkLst>
          </pc:spChg>
          <pc:spChg chg="mod">
            <ac:chgData name="Hans Gelissen (DHL SSC Maastricht)" userId="1afa8510-4eed-4b73-a29e-678838cd8acd" providerId="ADAL" clId="{BED0E5C0-84DB-42C8-AA9C-BA85E21B7A23}" dt="2023-04-19T15:18:02.851" v="126" actId="20577"/>
            <ac:spMkLst>
              <pc:docMk/>
              <pc:sldMasterMk cId="2722686442" sldId="2147484013"/>
              <pc:sldLayoutMk cId="1338591679" sldId="2147484036"/>
              <ac:spMk id="10" creationId="{69CCF839-CB7A-451F-9F2C-6D310B5F0286}"/>
            </ac:spMkLst>
          </pc:spChg>
          <pc:spChg chg="mod">
            <ac:chgData name="Hans Gelissen (DHL SSC Maastricht)" userId="1afa8510-4eed-4b73-a29e-678838cd8acd" providerId="ADAL" clId="{BED0E5C0-84DB-42C8-AA9C-BA85E21B7A23}" dt="2023-04-19T15:08:08.998" v="68" actId="20577"/>
            <ac:spMkLst>
              <pc:docMk/>
              <pc:sldMasterMk cId="2722686442" sldId="2147484013"/>
              <pc:sldLayoutMk cId="1338591679" sldId="2147484036"/>
              <ac:spMk id="18" creationId="{00000000-0000-0000-0000-000000000000}"/>
            </ac:spMkLst>
          </pc:spChg>
          <pc:spChg chg="del">
            <ac:chgData name="Hans Gelissen (DHL SSC Maastricht)" userId="1afa8510-4eed-4b73-a29e-678838cd8acd" providerId="ADAL" clId="{BED0E5C0-84DB-42C8-AA9C-BA85E21B7A23}" dt="2023-04-19T15:08:00.360" v="49" actId="478"/>
            <ac:spMkLst>
              <pc:docMk/>
              <pc:sldMasterMk cId="2722686442" sldId="2147484013"/>
              <pc:sldLayoutMk cId="1338591679" sldId="2147484036"/>
              <ac:spMk id="19" creationId="{F372FD0B-3A4C-49AF-A3E6-3F79D14527E7}"/>
            </ac:spMkLst>
          </pc:spChg>
          <pc:spChg chg="del">
            <ac:chgData name="Hans Gelissen (DHL SSC Maastricht)" userId="1afa8510-4eed-4b73-a29e-678838cd8acd" providerId="ADAL" clId="{BED0E5C0-84DB-42C8-AA9C-BA85E21B7A23}" dt="2023-04-19T15:08:00.360" v="49" actId="478"/>
            <ac:spMkLst>
              <pc:docMk/>
              <pc:sldMasterMk cId="2722686442" sldId="2147484013"/>
              <pc:sldLayoutMk cId="1338591679" sldId="2147484036"/>
              <ac:spMk id="30" creationId="{D5FFDEC1-D300-4ED7-B7D0-55E38BB90D59}"/>
            </ac:spMkLst>
          </pc:spChg>
          <pc:spChg chg="del">
            <ac:chgData name="Hans Gelissen (DHL SSC Maastricht)" userId="1afa8510-4eed-4b73-a29e-678838cd8acd" providerId="ADAL" clId="{BED0E5C0-84DB-42C8-AA9C-BA85E21B7A23}" dt="2023-04-19T15:08:00.360" v="49" actId="478"/>
            <ac:spMkLst>
              <pc:docMk/>
              <pc:sldMasterMk cId="2722686442" sldId="2147484013"/>
              <pc:sldLayoutMk cId="1338591679" sldId="2147484036"/>
              <ac:spMk id="31" creationId="{2B2BF270-6D30-4E83-A9D8-5E4566461AAB}"/>
            </ac:spMkLst>
          </pc:spChg>
          <pc:grpChg chg="del">
            <ac:chgData name="Hans Gelissen (DHL SSC Maastricht)" userId="1afa8510-4eed-4b73-a29e-678838cd8acd" providerId="ADAL" clId="{BED0E5C0-84DB-42C8-AA9C-BA85E21B7A23}" dt="2023-04-19T15:08:00.360" v="49" actId="478"/>
            <ac:grpSpMkLst>
              <pc:docMk/>
              <pc:sldMasterMk cId="2722686442" sldId="2147484013"/>
              <pc:sldLayoutMk cId="1338591679" sldId="2147484036"/>
              <ac:grpSpMk id="2" creationId="{2566B10A-67D6-4817-803D-E293C04AF6D7}"/>
            </ac:grpSpMkLst>
          </pc:grpChg>
          <pc:grpChg chg="del">
            <ac:chgData name="Hans Gelissen (DHL SSC Maastricht)" userId="1afa8510-4eed-4b73-a29e-678838cd8acd" providerId="ADAL" clId="{BED0E5C0-84DB-42C8-AA9C-BA85E21B7A23}" dt="2023-04-19T15:08:00.360" v="49" actId="478"/>
            <ac:grpSpMkLst>
              <pc:docMk/>
              <pc:sldMasterMk cId="2722686442" sldId="2147484013"/>
              <pc:sldLayoutMk cId="1338591679" sldId="2147484036"/>
              <ac:grpSpMk id="3" creationId="{9B3E76C6-36BA-4547-9FFB-0683FA3373EC}"/>
            </ac:grpSpMkLst>
          </pc:grpChg>
          <pc:grpChg chg="del">
            <ac:chgData name="Hans Gelissen (DHL SSC Maastricht)" userId="1afa8510-4eed-4b73-a29e-678838cd8acd" providerId="ADAL" clId="{BED0E5C0-84DB-42C8-AA9C-BA85E21B7A23}" dt="2023-04-19T15:08:00.360" v="49" actId="478"/>
            <ac:grpSpMkLst>
              <pc:docMk/>
              <pc:sldMasterMk cId="2722686442" sldId="2147484013"/>
              <pc:sldLayoutMk cId="1338591679" sldId="2147484036"/>
              <ac:grpSpMk id="13" creationId="{EC4AB622-BEA1-4BAE-8A6C-4875AB934586}"/>
            </ac:grpSpMkLst>
          </pc:grpChg>
          <pc:picChg chg="add del mod">
            <ac:chgData name="Hans Gelissen (DHL SSC Maastricht)" userId="1afa8510-4eed-4b73-a29e-678838cd8acd" providerId="ADAL" clId="{BED0E5C0-84DB-42C8-AA9C-BA85E21B7A23}" dt="2023-04-19T15:15:30.693" v="103" actId="478"/>
            <ac:picMkLst>
              <pc:docMk/>
              <pc:sldMasterMk cId="2722686442" sldId="2147484013"/>
              <pc:sldLayoutMk cId="1338591679" sldId="2147484036"/>
              <ac:picMk id="4" creationId="{6A1121C7-CEC3-7232-D43F-5FDDFFDB8596}"/>
            </ac:picMkLst>
          </pc:picChg>
          <pc:picChg chg="add mod">
            <ac:chgData name="Hans Gelissen (DHL SSC Maastricht)" userId="1afa8510-4eed-4b73-a29e-678838cd8acd" providerId="ADAL" clId="{BED0E5C0-84DB-42C8-AA9C-BA85E21B7A23}" dt="2023-04-19T15:15:21.952" v="102"/>
            <ac:picMkLst>
              <pc:docMk/>
              <pc:sldMasterMk cId="2722686442" sldId="2147484013"/>
              <pc:sldLayoutMk cId="1338591679" sldId="2147484036"/>
              <ac:picMk id="6" creationId="{F8A63C9F-6C43-BA6A-F4D8-9728BC977CE7}"/>
            </ac:picMkLst>
          </pc:picChg>
        </pc:sldLayoutChg>
      </pc:sldMasterChg>
    </pc:docChg>
  </pc:docChgLst>
  <pc:docChgLst>
    <pc:chgData name="Lange, Isabel, Z 11B4, BN" userId="5a82f4a0-b85c-48b1-b711-c32419614323" providerId="ADAL" clId="{4B32C42B-4444-4CAE-BF64-860579DE0E15}"/>
    <pc:docChg chg="custSel replTag delTag">
      <pc:chgData name="Lange, Isabel, Z 11B4, BN" userId="5a82f4a0-b85c-48b1-b711-c32419614323" providerId="ADAL" clId="{4B32C42B-4444-4CAE-BF64-860579DE0E15}" dt="2023-06-19T11:22:26.685" v="13"/>
      <pc:docMkLst>
        <pc:docMk/>
      </pc:docMkLst>
    </pc:docChg>
  </pc:docChgLst>
  <pc:docChgLst>
    <pc:chgData name="Hans Gelissen (DHL SSC Maastricht)" userId="1afa8510-4eed-4b73-a29e-678838cd8acd" providerId="ADAL" clId="{8A350684-7764-4507-9138-96ED9B87A59E}"/>
    <pc:docChg chg="undo redo custSel modSld addMainMaster delMainMaster modMainMaster">
      <pc:chgData name="Hans Gelissen (DHL SSC Maastricht)" userId="1afa8510-4eed-4b73-a29e-678838cd8acd" providerId="ADAL" clId="{8A350684-7764-4507-9138-96ED9B87A59E}" dt="2023-03-14T12:40:16.915" v="284" actId="6014"/>
      <pc:docMkLst>
        <pc:docMk/>
      </pc:docMkLst>
      <pc:sldChg chg="modSp mod modClrScheme chgLayout">
        <pc:chgData name="Hans Gelissen (DHL SSC Maastricht)" userId="1afa8510-4eed-4b73-a29e-678838cd8acd" providerId="ADAL" clId="{8A350684-7764-4507-9138-96ED9B87A59E}" dt="2023-03-14T12:35:31.456" v="278" actId="700"/>
        <pc:sldMkLst>
          <pc:docMk/>
          <pc:sldMk cId="3223761135" sldId="282"/>
        </pc:sldMkLst>
        <pc:spChg chg="mod">
          <ac:chgData name="Hans Gelissen (DHL SSC Maastricht)" userId="1afa8510-4eed-4b73-a29e-678838cd8acd" providerId="ADAL" clId="{8A350684-7764-4507-9138-96ED9B87A59E}" dt="2023-03-13T12:55:43.774" v="227" actId="1076"/>
          <ac:spMkLst>
            <pc:docMk/>
            <pc:sldMk cId="3223761135" sldId="282"/>
            <ac:spMk id="4" creationId="{A1366F1C-2958-456E-9ED3-CE15270DFB0B}"/>
          </ac:spMkLst>
        </pc:spChg>
        <pc:spChg chg="mod">
          <ac:chgData name="Hans Gelissen (DHL SSC Maastricht)" userId="1afa8510-4eed-4b73-a29e-678838cd8acd" providerId="ADAL" clId="{8A350684-7764-4507-9138-96ED9B87A59E}" dt="2023-03-13T13:02:08.437" v="249" actId="1076"/>
          <ac:spMkLst>
            <pc:docMk/>
            <pc:sldMk cId="3223761135" sldId="282"/>
            <ac:spMk id="7" creationId="{110818A4-C4AF-45B5-93BF-A75FD2BCF8F0}"/>
          </ac:spMkLst>
        </pc:spChg>
        <pc:spChg chg="mod">
          <ac:chgData name="Hans Gelissen (DHL SSC Maastricht)" userId="1afa8510-4eed-4b73-a29e-678838cd8acd" providerId="ADAL" clId="{8A350684-7764-4507-9138-96ED9B87A59E}" dt="2023-03-13T12:56:23.238" v="236" actId="1076"/>
          <ac:spMkLst>
            <pc:docMk/>
            <pc:sldMk cId="3223761135" sldId="282"/>
            <ac:spMk id="14" creationId="{D028DF70-0AC2-49AB-AE0A-0FD6F0C07A3B}"/>
          </ac:spMkLst>
        </pc:spChg>
        <pc:spChg chg="mod">
          <ac:chgData name="Hans Gelissen (DHL SSC Maastricht)" userId="1afa8510-4eed-4b73-a29e-678838cd8acd" providerId="ADAL" clId="{8A350684-7764-4507-9138-96ED9B87A59E}" dt="2023-03-13T12:56:27.417" v="237" actId="403"/>
          <ac:spMkLst>
            <pc:docMk/>
            <pc:sldMk cId="3223761135" sldId="282"/>
            <ac:spMk id="15" creationId="{D5686EDD-88A3-4E26-A644-2FF069E3DAF1}"/>
          </ac:spMkLst>
        </pc:spChg>
        <pc:spChg chg="mod">
          <ac:chgData name="Hans Gelissen (DHL SSC Maastricht)" userId="1afa8510-4eed-4b73-a29e-678838cd8acd" providerId="ADAL" clId="{8A350684-7764-4507-9138-96ED9B87A59E}" dt="2023-03-13T12:56:17.524" v="234" actId="1076"/>
          <ac:spMkLst>
            <pc:docMk/>
            <pc:sldMk cId="3223761135" sldId="282"/>
            <ac:spMk id="17" creationId="{823BBED1-AE4F-4E3C-9927-947A28C04642}"/>
          </ac:spMkLst>
        </pc:spChg>
        <pc:spChg chg="mod">
          <ac:chgData name="Hans Gelissen (DHL SSC Maastricht)" userId="1afa8510-4eed-4b73-a29e-678838cd8acd" providerId="ADAL" clId="{8A350684-7764-4507-9138-96ED9B87A59E}" dt="2023-03-13T12:56:27.417" v="237" actId="403"/>
          <ac:spMkLst>
            <pc:docMk/>
            <pc:sldMk cId="3223761135" sldId="282"/>
            <ac:spMk id="18" creationId="{AA737609-09C5-4AF1-981B-B38AF015B213}"/>
          </ac:spMkLst>
        </pc:spChg>
        <pc:spChg chg="mod">
          <ac:chgData name="Hans Gelissen (DHL SSC Maastricht)" userId="1afa8510-4eed-4b73-a29e-678838cd8acd" providerId="ADAL" clId="{8A350684-7764-4507-9138-96ED9B87A59E}" dt="2023-03-13T12:56:20.605" v="235" actId="1076"/>
          <ac:spMkLst>
            <pc:docMk/>
            <pc:sldMk cId="3223761135" sldId="282"/>
            <ac:spMk id="20" creationId="{8F7D7CFC-7A10-426E-9355-E8170FB7B910}"/>
          </ac:spMkLst>
        </pc:spChg>
        <pc:spChg chg="mod">
          <ac:chgData name="Hans Gelissen (DHL SSC Maastricht)" userId="1afa8510-4eed-4b73-a29e-678838cd8acd" providerId="ADAL" clId="{8A350684-7764-4507-9138-96ED9B87A59E}" dt="2023-03-13T12:56:27.417" v="237" actId="403"/>
          <ac:spMkLst>
            <pc:docMk/>
            <pc:sldMk cId="3223761135" sldId="282"/>
            <ac:spMk id="21" creationId="{0B839A31-4B81-4D28-B72A-D3A3123FB6F9}"/>
          </ac:spMkLst>
        </pc:spChg>
        <pc:spChg chg="mod ord">
          <ac:chgData name="Hans Gelissen (DHL SSC Maastricht)" userId="1afa8510-4eed-4b73-a29e-678838cd8acd" providerId="ADAL" clId="{8A350684-7764-4507-9138-96ED9B87A59E}" dt="2023-03-14T12:35:31.456" v="278" actId="700"/>
          <ac:spMkLst>
            <pc:docMk/>
            <pc:sldMk cId="3223761135" sldId="282"/>
            <ac:spMk id="22" creationId="{6C0E8881-8451-4E57-96F1-E3D05E9ED366}"/>
          </ac:spMkLst>
        </pc:spChg>
        <pc:picChg chg="mod ord">
          <ac:chgData name="Hans Gelissen (DHL SSC Maastricht)" userId="1afa8510-4eed-4b73-a29e-678838cd8acd" providerId="ADAL" clId="{8A350684-7764-4507-9138-96ED9B87A59E}" dt="2023-03-14T12:35:31.456" v="278" actId="700"/>
          <ac:picMkLst>
            <pc:docMk/>
            <pc:sldMk cId="3223761135" sldId="282"/>
            <ac:picMk id="23" creationId="{B73D4C54-0A1D-4989-8D6F-45CD15603F54}"/>
          </ac:picMkLst>
        </pc:picChg>
      </pc:sldChg>
      <pc:sldChg chg="modSp mod modClrScheme chgLayout">
        <pc:chgData name="Hans Gelissen (DHL SSC Maastricht)" userId="1afa8510-4eed-4b73-a29e-678838cd8acd" providerId="ADAL" clId="{8A350684-7764-4507-9138-96ED9B87A59E}" dt="2023-03-14T12:35:31.517" v="281" actId="27636"/>
        <pc:sldMkLst>
          <pc:docMk/>
          <pc:sldMk cId="2737807208" sldId="283"/>
        </pc:sldMkLst>
        <pc:spChg chg="mod ord">
          <ac:chgData name="Hans Gelissen (DHL SSC Maastricht)" userId="1afa8510-4eed-4b73-a29e-678838cd8acd" providerId="ADAL" clId="{8A350684-7764-4507-9138-96ED9B87A59E}" dt="2023-03-14T12:35:31.517" v="281" actId="27636"/>
          <ac:spMkLst>
            <pc:docMk/>
            <pc:sldMk cId="2737807208" sldId="283"/>
            <ac:spMk id="22" creationId="{79B150B5-3946-4DA8-9260-E4FA90F79297}"/>
          </ac:spMkLst>
        </pc:spChg>
        <pc:spChg chg="mod">
          <ac:chgData name="Hans Gelissen (DHL SSC Maastricht)" userId="1afa8510-4eed-4b73-a29e-678838cd8acd" providerId="ADAL" clId="{8A350684-7764-4507-9138-96ED9B87A59E}" dt="2023-03-13T12:58:29.481" v="243" actId="2711"/>
          <ac:spMkLst>
            <pc:docMk/>
            <pc:sldMk cId="2737807208" sldId="283"/>
            <ac:spMk id="29" creationId="{1F381FEC-D546-4A1F-8FBE-99A15FC850A9}"/>
          </ac:spMkLst>
        </pc:spChg>
        <pc:spChg chg="mod">
          <ac:chgData name="Hans Gelissen (DHL SSC Maastricht)" userId="1afa8510-4eed-4b73-a29e-678838cd8acd" providerId="ADAL" clId="{8A350684-7764-4507-9138-96ED9B87A59E}" dt="2023-03-13T12:58:29.481" v="243" actId="2711"/>
          <ac:spMkLst>
            <pc:docMk/>
            <pc:sldMk cId="2737807208" sldId="283"/>
            <ac:spMk id="30" creationId="{01DEB4BF-5A6B-417C-B5AD-AA77194605DD}"/>
          </ac:spMkLst>
        </pc:spChg>
      </pc:sldChg>
      <pc:sldChg chg="addSp delSp modSp mod modClrScheme chgLayout">
        <pc:chgData name="Hans Gelissen (DHL SSC Maastricht)" userId="1afa8510-4eed-4b73-a29e-678838cd8acd" providerId="ADAL" clId="{8A350684-7764-4507-9138-96ED9B87A59E}" dt="2023-03-14T12:35:31.456" v="278" actId="700"/>
        <pc:sldMkLst>
          <pc:docMk/>
          <pc:sldMk cId="2219543139" sldId="284"/>
        </pc:sldMkLst>
        <pc:spChg chg="add del mod ord">
          <ac:chgData name="Hans Gelissen (DHL SSC Maastricht)" userId="1afa8510-4eed-4b73-a29e-678838cd8acd" providerId="ADAL" clId="{8A350684-7764-4507-9138-96ED9B87A59E}" dt="2023-03-06T15:21:26.062" v="72" actId="700"/>
          <ac:spMkLst>
            <pc:docMk/>
            <pc:sldMk cId="2219543139" sldId="284"/>
            <ac:spMk id="2" creationId="{47425300-E4C0-4C2A-A8DD-0F150E97D59A}"/>
          </ac:spMkLst>
        </pc:spChg>
        <pc:spChg chg="add mod ord">
          <ac:chgData name="Hans Gelissen (DHL SSC Maastricht)" userId="1afa8510-4eed-4b73-a29e-678838cd8acd" providerId="ADAL" clId="{8A350684-7764-4507-9138-96ED9B87A59E}" dt="2023-03-14T12:35:31.456" v="278" actId="700"/>
          <ac:spMkLst>
            <pc:docMk/>
            <pc:sldMk cId="2219543139" sldId="284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8A350684-7764-4507-9138-96ED9B87A59E}" dt="2023-03-08T14:09:00.408" v="126" actId="700"/>
          <ac:spMkLst>
            <pc:docMk/>
            <pc:sldMk cId="2219543139" sldId="284"/>
            <ac:spMk id="2" creationId="{ACFA0B8C-1E8B-400A-97AA-2A920B328E01}"/>
          </ac:spMkLst>
        </pc:spChg>
        <pc:spChg chg="add del mod ord">
          <ac:chgData name="Hans Gelissen (DHL SSC Maastricht)" userId="1afa8510-4eed-4b73-a29e-678838cd8acd" providerId="ADAL" clId="{8A350684-7764-4507-9138-96ED9B87A59E}" dt="2023-03-06T15:21:26.062" v="72" actId="700"/>
          <ac:spMkLst>
            <pc:docMk/>
            <pc:sldMk cId="2219543139" sldId="284"/>
            <ac:spMk id="3" creationId="{6F677D1F-F6BA-4796-A263-BFFE035D4AE8}"/>
          </ac:spMkLst>
        </pc:spChg>
        <pc:spChg chg="add del mod ord">
          <ac:chgData name="Hans Gelissen (DHL SSC Maastricht)" userId="1afa8510-4eed-4b73-a29e-678838cd8acd" providerId="ADAL" clId="{8A350684-7764-4507-9138-96ED9B87A59E}" dt="2023-03-08T14:23:15.938" v="224" actId="700"/>
          <ac:spMkLst>
            <pc:docMk/>
            <pc:sldMk cId="2219543139" sldId="284"/>
            <ac:spMk id="3" creationId="{7AB72FC8-D96B-440C-A133-F44808516468}"/>
          </ac:spMkLst>
        </pc:spChg>
        <pc:spChg chg="add del mod ord">
          <ac:chgData name="Hans Gelissen (DHL SSC Maastricht)" userId="1afa8510-4eed-4b73-a29e-678838cd8acd" providerId="ADAL" clId="{8A350684-7764-4507-9138-96ED9B87A59E}" dt="2023-03-08T14:09:37.157" v="127" actId="931"/>
          <ac:spMkLst>
            <pc:docMk/>
            <pc:sldMk cId="2219543139" sldId="284"/>
            <ac:spMk id="4" creationId="{671A2FA9-A851-4415-97B0-89D0A1E3889F}"/>
          </ac:spMkLst>
        </pc:spChg>
        <pc:spChg chg="add del mod ord">
          <ac:chgData name="Hans Gelissen (DHL SSC Maastricht)" userId="1afa8510-4eed-4b73-a29e-678838cd8acd" providerId="ADAL" clId="{8A350684-7764-4507-9138-96ED9B87A59E}" dt="2023-03-06T15:21:26.062" v="72" actId="700"/>
          <ac:spMkLst>
            <pc:docMk/>
            <pc:sldMk cId="2219543139" sldId="284"/>
            <ac:spMk id="4" creationId="{82556BD1-EB53-4BF7-AB78-5A45DFCB4626}"/>
          </ac:spMkLst>
        </pc:spChg>
        <pc:spChg chg="add del mod ord">
          <ac:chgData name="Hans Gelissen (DHL SSC Maastricht)" userId="1afa8510-4eed-4b73-a29e-678838cd8acd" providerId="ADAL" clId="{8A350684-7764-4507-9138-96ED9B87A59E}" dt="2023-03-06T15:21:26.062" v="72" actId="700"/>
          <ac:spMkLst>
            <pc:docMk/>
            <pc:sldMk cId="2219543139" sldId="284"/>
            <ac:spMk id="5" creationId="{DEB2A014-4F81-4764-81C6-0969A3723F8E}"/>
          </ac:spMkLst>
        </pc:spChg>
        <pc:spChg chg="add del mod ord">
          <ac:chgData name="Hans Gelissen (DHL SSC Maastricht)" userId="1afa8510-4eed-4b73-a29e-678838cd8acd" providerId="ADAL" clId="{8A350684-7764-4507-9138-96ED9B87A59E}" dt="2023-03-06T15:21:26.062" v="72" actId="700"/>
          <ac:spMkLst>
            <pc:docMk/>
            <pc:sldMk cId="2219543139" sldId="284"/>
            <ac:spMk id="6" creationId="{5096FB36-A35B-4F55-9B86-4ADA4D4AFBCD}"/>
          </ac:spMkLst>
        </pc:spChg>
        <pc:spChg chg="add del mod ord">
          <ac:chgData name="Hans Gelissen (DHL SSC Maastricht)" userId="1afa8510-4eed-4b73-a29e-678838cd8acd" providerId="ADAL" clId="{8A350684-7764-4507-9138-96ED9B87A59E}" dt="2023-03-06T15:21:26.062" v="72" actId="700"/>
          <ac:spMkLst>
            <pc:docMk/>
            <pc:sldMk cId="2219543139" sldId="284"/>
            <ac:spMk id="7" creationId="{37DE9C01-BDA6-4F58-861C-05C670E1311C}"/>
          </ac:spMkLst>
        </pc:spChg>
        <pc:spChg chg="add del mod ord">
          <ac:chgData name="Hans Gelissen (DHL SSC Maastricht)" userId="1afa8510-4eed-4b73-a29e-678838cd8acd" providerId="ADAL" clId="{8A350684-7764-4507-9138-96ED9B87A59E}" dt="2023-03-08T14:06:19.713" v="123" actId="700"/>
          <ac:spMkLst>
            <pc:docMk/>
            <pc:sldMk cId="2219543139" sldId="284"/>
            <ac:spMk id="8" creationId="{68129025-73D4-4FFE-B90C-7875AE10C34E}"/>
          </ac:spMkLst>
        </pc:spChg>
        <pc:spChg chg="add del mod">
          <ac:chgData name="Hans Gelissen (DHL SSC Maastricht)" userId="1afa8510-4eed-4b73-a29e-678838cd8acd" providerId="ADAL" clId="{8A350684-7764-4507-9138-96ED9B87A59E}" dt="2023-03-08T14:10:28.751" v="131" actId="931"/>
          <ac:spMkLst>
            <pc:docMk/>
            <pc:sldMk cId="2219543139" sldId="284"/>
            <ac:spMk id="9" creationId="{FE6FB4C8-E1E2-430C-AD57-FEA24110AA00}"/>
          </ac:spMkLst>
        </pc:spChg>
        <pc:spChg chg="add del mod">
          <ac:chgData name="Hans Gelissen (DHL SSC Maastricht)" userId="1afa8510-4eed-4b73-a29e-678838cd8acd" providerId="ADAL" clId="{8A350684-7764-4507-9138-96ED9B87A59E}" dt="2023-03-08T14:23:15.938" v="224" actId="700"/>
          <ac:spMkLst>
            <pc:docMk/>
            <pc:sldMk cId="2219543139" sldId="284"/>
            <ac:spMk id="13" creationId="{8889720C-C4D5-4E59-9A4C-EDEF98D08B60}"/>
          </ac:spMkLst>
        </pc:spChg>
        <pc:spChg chg="add del mod ord">
          <ac:chgData name="Hans Gelissen (DHL SSC Maastricht)" userId="1afa8510-4eed-4b73-a29e-678838cd8acd" providerId="ADAL" clId="{8A350684-7764-4507-9138-96ED9B87A59E}" dt="2023-03-08T14:22:01.507" v="223" actId="700"/>
          <ac:spMkLst>
            <pc:docMk/>
            <pc:sldMk cId="2219543139" sldId="284"/>
            <ac:spMk id="14" creationId="{E6DC596E-B758-4924-BF79-796863BB91F1}"/>
          </ac:spMkLst>
        </pc:spChg>
        <pc:spChg chg="add del mod ord">
          <ac:chgData name="Hans Gelissen (DHL SSC Maastricht)" userId="1afa8510-4eed-4b73-a29e-678838cd8acd" providerId="ADAL" clId="{8A350684-7764-4507-9138-96ED9B87A59E}" dt="2023-03-14T12:35:31.456" v="278" actId="700"/>
          <ac:spMkLst>
            <pc:docMk/>
            <pc:sldMk cId="2219543139" sldId="284"/>
            <ac:spMk id="15" creationId="{36BAE3D0-71D3-4780-B5CD-62064DA144FC}"/>
          </ac:spMkLst>
        </pc:spChg>
        <pc:spChg chg="del mod ord">
          <ac:chgData name="Hans Gelissen (DHL SSC Maastricht)" userId="1afa8510-4eed-4b73-a29e-678838cd8acd" providerId="ADAL" clId="{8A350684-7764-4507-9138-96ED9B87A59E}" dt="2023-03-06T15:21:17.653" v="71" actId="700"/>
          <ac:spMkLst>
            <pc:docMk/>
            <pc:sldMk cId="2219543139" sldId="284"/>
            <ac:spMk id="394" creationId="{7F1820A0-6D57-49DC-8E5F-0F3E0B6F8B8D}"/>
          </ac:spMkLst>
        </pc:spChg>
        <pc:picChg chg="add del mod">
          <ac:chgData name="Hans Gelissen (DHL SSC Maastricht)" userId="1afa8510-4eed-4b73-a29e-678838cd8acd" providerId="ADAL" clId="{8A350684-7764-4507-9138-96ED9B87A59E}" dt="2023-03-08T14:10:19.433" v="130" actId="478"/>
          <ac:picMkLst>
            <pc:docMk/>
            <pc:sldMk cId="2219543139" sldId="284"/>
            <ac:picMk id="6" creationId="{2812FFE2-1362-435D-963B-F436925268B8}"/>
          </ac:picMkLst>
        </pc:picChg>
        <pc:picChg chg="add del mod modCrop">
          <ac:chgData name="Hans Gelissen (DHL SSC Maastricht)" userId="1afa8510-4eed-4b73-a29e-678838cd8acd" providerId="ADAL" clId="{8A350684-7764-4507-9138-96ED9B87A59E}" dt="2023-03-08T14:10:59.051" v="138" actId="21"/>
          <ac:picMkLst>
            <pc:docMk/>
            <pc:sldMk cId="2219543139" sldId="284"/>
            <ac:picMk id="11" creationId="{F540ECC6-262E-4EE5-A2C4-295B171F8487}"/>
          </ac:picMkLst>
        </pc:picChg>
      </pc:sldChg>
      <pc:sldChg chg="addSp delSp modSp mod modClrScheme chgLayout">
        <pc:chgData name="Hans Gelissen (DHL SSC Maastricht)" userId="1afa8510-4eed-4b73-a29e-678838cd8acd" providerId="ADAL" clId="{8A350684-7764-4507-9138-96ED9B87A59E}" dt="2023-03-14T12:35:31.505" v="279" actId="27636"/>
        <pc:sldMkLst>
          <pc:docMk/>
          <pc:sldMk cId="2907131151" sldId="285"/>
        </pc:sldMkLst>
        <pc:spChg chg="del">
          <ac:chgData name="Hans Gelissen (DHL SSC Maastricht)" userId="1afa8510-4eed-4b73-a29e-678838cd8acd" providerId="ADAL" clId="{8A350684-7764-4507-9138-96ED9B87A59E}" dt="2023-03-13T12:57:11.442" v="238" actId="478"/>
          <ac:spMkLst>
            <pc:docMk/>
            <pc:sldMk cId="2907131151" sldId="285"/>
            <ac:spMk id="4" creationId="{A1366F1C-2958-456E-9ED3-CE15270DFB0B}"/>
          </ac:spMkLst>
        </pc:spChg>
        <pc:spChg chg="del">
          <ac:chgData name="Hans Gelissen (DHL SSC Maastricht)" userId="1afa8510-4eed-4b73-a29e-678838cd8acd" providerId="ADAL" clId="{8A350684-7764-4507-9138-96ED9B87A59E}" dt="2023-03-13T12:57:11.442" v="238" actId="478"/>
          <ac:spMkLst>
            <pc:docMk/>
            <pc:sldMk cId="2907131151" sldId="285"/>
            <ac:spMk id="14" creationId="{D028DF70-0AC2-49AB-AE0A-0FD6F0C07A3B}"/>
          </ac:spMkLst>
        </pc:spChg>
        <pc:spChg chg="del">
          <ac:chgData name="Hans Gelissen (DHL SSC Maastricht)" userId="1afa8510-4eed-4b73-a29e-678838cd8acd" providerId="ADAL" clId="{8A350684-7764-4507-9138-96ED9B87A59E}" dt="2023-03-13T12:57:11.442" v="238" actId="478"/>
          <ac:spMkLst>
            <pc:docMk/>
            <pc:sldMk cId="2907131151" sldId="285"/>
            <ac:spMk id="15" creationId="{D5686EDD-88A3-4E26-A644-2FF069E3DAF1}"/>
          </ac:spMkLst>
        </pc:spChg>
        <pc:spChg chg="del">
          <ac:chgData name="Hans Gelissen (DHL SSC Maastricht)" userId="1afa8510-4eed-4b73-a29e-678838cd8acd" providerId="ADAL" clId="{8A350684-7764-4507-9138-96ED9B87A59E}" dt="2023-03-13T12:57:11.442" v="238" actId="478"/>
          <ac:spMkLst>
            <pc:docMk/>
            <pc:sldMk cId="2907131151" sldId="285"/>
            <ac:spMk id="17" creationId="{823BBED1-AE4F-4E3C-9927-947A28C04642}"/>
          </ac:spMkLst>
        </pc:spChg>
        <pc:spChg chg="del">
          <ac:chgData name="Hans Gelissen (DHL SSC Maastricht)" userId="1afa8510-4eed-4b73-a29e-678838cd8acd" providerId="ADAL" clId="{8A350684-7764-4507-9138-96ED9B87A59E}" dt="2023-03-13T12:57:11.442" v="238" actId="478"/>
          <ac:spMkLst>
            <pc:docMk/>
            <pc:sldMk cId="2907131151" sldId="285"/>
            <ac:spMk id="18" creationId="{AA737609-09C5-4AF1-981B-B38AF015B213}"/>
          </ac:spMkLst>
        </pc:spChg>
        <pc:spChg chg="del">
          <ac:chgData name="Hans Gelissen (DHL SSC Maastricht)" userId="1afa8510-4eed-4b73-a29e-678838cd8acd" providerId="ADAL" clId="{8A350684-7764-4507-9138-96ED9B87A59E}" dt="2023-03-13T12:57:11.442" v="238" actId="478"/>
          <ac:spMkLst>
            <pc:docMk/>
            <pc:sldMk cId="2907131151" sldId="285"/>
            <ac:spMk id="20" creationId="{8F7D7CFC-7A10-426E-9355-E8170FB7B910}"/>
          </ac:spMkLst>
        </pc:spChg>
        <pc:spChg chg="del">
          <ac:chgData name="Hans Gelissen (DHL SSC Maastricht)" userId="1afa8510-4eed-4b73-a29e-678838cd8acd" providerId="ADAL" clId="{8A350684-7764-4507-9138-96ED9B87A59E}" dt="2023-03-13T12:57:11.442" v="238" actId="478"/>
          <ac:spMkLst>
            <pc:docMk/>
            <pc:sldMk cId="2907131151" sldId="285"/>
            <ac:spMk id="21" creationId="{0B839A31-4B81-4D28-B72A-D3A3123FB6F9}"/>
          </ac:spMkLst>
        </pc:spChg>
        <pc:spChg chg="mod ord">
          <ac:chgData name="Hans Gelissen (DHL SSC Maastricht)" userId="1afa8510-4eed-4b73-a29e-678838cd8acd" providerId="ADAL" clId="{8A350684-7764-4507-9138-96ED9B87A59E}" dt="2023-03-14T12:35:31.505" v="279" actId="27636"/>
          <ac:spMkLst>
            <pc:docMk/>
            <pc:sldMk cId="2907131151" sldId="285"/>
            <ac:spMk id="22" creationId="{6C0E8881-8451-4E57-96F1-E3D05E9ED366}"/>
          </ac:spMkLst>
        </pc:spChg>
        <pc:spChg chg="add mod">
          <ac:chgData name="Hans Gelissen (DHL SSC Maastricht)" userId="1afa8510-4eed-4b73-a29e-678838cd8acd" providerId="ADAL" clId="{8A350684-7764-4507-9138-96ED9B87A59E}" dt="2023-03-13T12:57:11.814" v="239"/>
          <ac:spMkLst>
            <pc:docMk/>
            <pc:sldMk cId="2907131151" sldId="285"/>
            <ac:spMk id="23" creationId="{D1ADF78A-2342-42AC-AEEB-40C6D46B7C0B}"/>
          </ac:spMkLst>
        </pc:spChg>
        <pc:spChg chg="add mod">
          <ac:chgData name="Hans Gelissen (DHL SSC Maastricht)" userId="1afa8510-4eed-4b73-a29e-678838cd8acd" providerId="ADAL" clId="{8A350684-7764-4507-9138-96ED9B87A59E}" dt="2023-03-13T12:57:11.814" v="239"/>
          <ac:spMkLst>
            <pc:docMk/>
            <pc:sldMk cId="2907131151" sldId="285"/>
            <ac:spMk id="24" creationId="{D06A2B06-16F0-46EA-A052-6CBDD6F01092}"/>
          </ac:spMkLst>
        </pc:spChg>
        <pc:spChg chg="add mod">
          <ac:chgData name="Hans Gelissen (DHL SSC Maastricht)" userId="1afa8510-4eed-4b73-a29e-678838cd8acd" providerId="ADAL" clId="{8A350684-7764-4507-9138-96ED9B87A59E}" dt="2023-03-13T12:57:11.814" v="239"/>
          <ac:spMkLst>
            <pc:docMk/>
            <pc:sldMk cId="2907131151" sldId="285"/>
            <ac:spMk id="25" creationId="{FB4B0965-8DA7-4DBC-8BBF-A05503C4D906}"/>
          </ac:spMkLst>
        </pc:spChg>
        <pc:spChg chg="add mod">
          <ac:chgData name="Hans Gelissen (DHL SSC Maastricht)" userId="1afa8510-4eed-4b73-a29e-678838cd8acd" providerId="ADAL" clId="{8A350684-7764-4507-9138-96ED9B87A59E}" dt="2023-03-13T12:57:11.814" v="239"/>
          <ac:spMkLst>
            <pc:docMk/>
            <pc:sldMk cId="2907131151" sldId="285"/>
            <ac:spMk id="26" creationId="{2C1FED7C-EF46-473E-A3AF-F09BD8ECA215}"/>
          </ac:spMkLst>
        </pc:spChg>
        <pc:spChg chg="add mod">
          <ac:chgData name="Hans Gelissen (DHL SSC Maastricht)" userId="1afa8510-4eed-4b73-a29e-678838cd8acd" providerId="ADAL" clId="{8A350684-7764-4507-9138-96ED9B87A59E}" dt="2023-03-13T12:57:11.814" v="239"/>
          <ac:spMkLst>
            <pc:docMk/>
            <pc:sldMk cId="2907131151" sldId="285"/>
            <ac:spMk id="27" creationId="{F48088B0-F61B-4784-A4F3-6C92EE6E44E0}"/>
          </ac:spMkLst>
        </pc:spChg>
        <pc:spChg chg="add mod">
          <ac:chgData name="Hans Gelissen (DHL SSC Maastricht)" userId="1afa8510-4eed-4b73-a29e-678838cd8acd" providerId="ADAL" clId="{8A350684-7764-4507-9138-96ED9B87A59E}" dt="2023-03-13T12:57:11.814" v="239"/>
          <ac:spMkLst>
            <pc:docMk/>
            <pc:sldMk cId="2907131151" sldId="285"/>
            <ac:spMk id="28" creationId="{D114C9FC-B874-4A34-BC87-624E908E754A}"/>
          </ac:spMkLst>
        </pc:spChg>
        <pc:spChg chg="add mod">
          <ac:chgData name="Hans Gelissen (DHL SSC Maastricht)" userId="1afa8510-4eed-4b73-a29e-678838cd8acd" providerId="ADAL" clId="{8A350684-7764-4507-9138-96ED9B87A59E}" dt="2023-03-13T12:57:11.814" v="239"/>
          <ac:spMkLst>
            <pc:docMk/>
            <pc:sldMk cId="2907131151" sldId="285"/>
            <ac:spMk id="29" creationId="{045BF4D2-55E8-4453-B887-51F125837DDB}"/>
          </ac:spMkLst>
        </pc:spChg>
        <pc:picChg chg="add del mod">
          <ac:chgData name="Hans Gelissen (DHL SSC Maastricht)" userId="1afa8510-4eed-4b73-a29e-678838cd8acd" providerId="ADAL" clId="{8A350684-7764-4507-9138-96ED9B87A59E}" dt="2023-03-13T12:57:28.355" v="241" actId="478"/>
          <ac:picMkLst>
            <pc:docMk/>
            <pc:sldMk cId="2907131151" sldId="285"/>
            <ac:picMk id="30" creationId="{05649EEF-920C-49FD-8764-CE41193A9574}"/>
          </ac:picMkLst>
        </pc:picChg>
      </pc:sldChg>
      <pc:sldChg chg="modSp mod modClrScheme chgLayout">
        <pc:chgData name="Hans Gelissen (DHL SSC Maastricht)" userId="1afa8510-4eed-4b73-a29e-678838cd8acd" providerId="ADAL" clId="{8A350684-7764-4507-9138-96ED9B87A59E}" dt="2023-03-14T12:35:31.510" v="280" actId="27636"/>
        <pc:sldMkLst>
          <pc:docMk/>
          <pc:sldMk cId="1318613216" sldId="286"/>
        </pc:sldMkLst>
        <pc:spChg chg="mod">
          <ac:chgData name="Hans Gelissen (DHL SSC Maastricht)" userId="1afa8510-4eed-4b73-a29e-678838cd8acd" providerId="ADAL" clId="{8A350684-7764-4507-9138-96ED9B87A59E}" dt="2023-03-13T12:58:15.579" v="242" actId="2711"/>
          <ac:spMkLst>
            <pc:docMk/>
            <pc:sldMk cId="1318613216" sldId="286"/>
            <ac:spMk id="5" creationId="{6A603669-A424-47F2-8F84-4FA4AB954ECB}"/>
          </ac:spMkLst>
        </pc:spChg>
        <pc:spChg chg="mod">
          <ac:chgData name="Hans Gelissen (DHL SSC Maastricht)" userId="1afa8510-4eed-4b73-a29e-678838cd8acd" providerId="ADAL" clId="{8A350684-7764-4507-9138-96ED9B87A59E}" dt="2023-03-13T12:58:15.579" v="242" actId="2711"/>
          <ac:spMkLst>
            <pc:docMk/>
            <pc:sldMk cId="1318613216" sldId="286"/>
            <ac:spMk id="6" creationId="{838CE19D-B9F0-4671-A3BF-470357C6E83B}"/>
          </ac:spMkLst>
        </pc:spChg>
        <pc:spChg chg="mod">
          <ac:chgData name="Hans Gelissen (DHL SSC Maastricht)" userId="1afa8510-4eed-4b73-a29e-678838cd8acd" providerId="ADAL" clId="{8A350684-7764-4507-9138-96ED9B87A59E}" dt="2023-03-13T12:58:15.579" v="242" actId="2711"/>
          <ac:spMkLst>
            <pc:docMk/>
            <pc:sldMk cId="1318613216" sldId="286"/>
            <ac:spMk id="11" creationId="{7A042BD6-1755-4AE4-AEB8-D6B334CE7D57}"/>
          </ac:spMkLst>
        </pc:spChg>
        <pc:spChg chg="mod">
          <ac:chgData name="Hans Gelissen (DHL SSC Maastricht)" userId="1afa8510-4eed-4b73-a29e-678838cd8acd" providerId="ADAL" clId="{8A350684-7764-4507-9138-96ED9B87A59E}" dt="2023-03-13T12:58:15.579" v="242" actId="2711"/>
          <ac:spMkLst>
            <pc:docMk/>
            <pc:sldMk cId="1318613216" sldId="286"/>
            <ac:spMk id="12" creationId="{03340572-7063-4A28-93E8-42D8A805D544}"/>
          </ac:spMkLst>
        </pc:spChg>
        <pc:spChg chg="mod">
          <ac:chgData name="Hans Gelissen (DHL SSC Maastricht)" userId="1afa8510-4eed-4b73-a29e-678838cd8acd" providerId="ADAL" clId="{8A350684-7764-4507-9138-96ED9B87A59E}" dt="2023-03-13T12:58:15.579" v="242" actId="2711"/>
          <ac:spMkLst>
            <pc:docMk/>
            <pc:sldMk cId="1318613216" sldId="286"/>
            <ac:spMk id="14" creationId="{1FFAB1E0-C82A-4F2D-AF8F-D83E0B7A1A1C}"/>
          </ac:spMkLst>
        </pc:spChg>
        <pc:spChg chg="mod">
          <ac:chgData name="Hans Gelissen (DHL SSC Maastricht)" userId="1afa8510-4eed-4b73-a29e-678838cd8acd" providerId="ADAL" clId="{8A350684-7764-4507-9138-96ED9B87A59E}" dt="2023-03-13T12:58:15.579" v="242" actId="2711"/>
          <ac:spMkLst>
            <pc:docMk/>
            <pc:sldMk cId="1318613216" sldId="286"/>
            <ac:spMk id="15" creationId="{746EA0AA-9FE0-421E-985E-6CFBEF65571C}"/>
          </ac:spMkLst>
        </pc:spChg>
        <pc:spChg chg="mod">
          <ac:chgData name="Hans Gelissen (DHL SSC Maastricht)" userId="1afa8510-4eed-4b73-a29e-678838cd8acd" providerId="ADAL" clId="{8A350684-7764-4507-9138-96ED9B87A59E}" dt="2023-03-13T12:58:15.579" v="242" actId="2711"/>
          <ac:spMkLst>
            <pc:docMk/>
            <pc:sldMk cId="1318613216" sldId="286"/>
            <ac:spMk id="18" creationId="{86585DDC-1553-4952-B09F-DA87E764361B}"/>
          </ac:spMkLst>
        </pc:spChg>
        <pc:spChg chg="mod">
          <ac:chgData name="Hans Gelissen (DHL SSC Maastricht)" userId="1afa8510-4eed-4b73-a29e-678838cd8acd" providerId="ADAL" clId="{8A350684-7764-4507-9138-96ED9B87A59E}" dt="2023-03-13T12:58:15.579" v="242" actId="2711"/>
          <ac:spMkLst>
            <pc:docMk/>
            <pc:sldMk cId="1318613216" sldId="286"/>
            <ac:spMk id="19" creationId="{1C2B125F-0C7B-40FB-B290-A64CCBF579D6}"/>
          </ac:spMkLst>
        </pc:spChg>
        <pc:spChg chg="mod">
          <ac:chgData name="Hans Gelissen (DHL SSC Maastricht)" userId="1afa8510-4eed-4b73-a29e-678838cd8acd" providerId="ADAL" clId="{8A350684-7764-4507-9138-96ED9B87A59E}" dt="2023-03-13T12:58:15.579" v="242" actId="2711"/>
          <ac:spMkLst>
            <pc:docMk/>
            <pc:sldMk cId="1318613216" sldId="286"/>
            <ac:spMk id="20" creationId="{E9E4A9DF-E77F-415F-9BE6-EF02A36AEB54}"/>
          </ac:spMkLst>
        </pc:spChg>
        <pc:spChg chg="mod">
          <ac:chgData name="Hans Gelissen (DHL SSC Maastricht)" userId="1afa8510-4eed-4b73-a29e-678838cd8acd" providerId="ADAL" clId="{8A350684-7764-4507-9138-96ED9B87A59E}" dt="2023-03-13T12:58:15.579" v="242" actId="2711"/>
          <ac:spMkLst>
            <pc:docMk/>
            <pc:sldMk cId="1318613216" sldId="286"/>
            <ac:spMk id="21" creationId="{FE35AD75-BE8E-4CCA-B97F-820A8E1AB5FC}"/>
          </ac:spMkLst>
        </pc:spChg>
        <pc:spChg chg="mod ord">
          <ac:chgData name="Hans Gelissen (DHL SSC Maastricht)" userId="1afa8510-4eed-4b73-a29e-678838cd8acd" providerId="ADAL" clId="{8A350684-7764-4507-9138-96ED9B87A59E}" dt="2023-03-14T12:35:31.510" v="280" actId="27636"/>
          <ac:spMkLst>
            <pc:docMk/>
            <pc:sldMk cId="1318613216" sldId="286"/>
            <ac:spMk id="22" creationId="{79B150B5-3946-4DA8-9260-E4FA90F79297}"/>
          </ac:spMkLst>
        </pc:spChg>
      </pc:sldChg>
      <pc:sldChg chg="addSp modSp mod modClrScheme chgLayout">
        <pc:chgData name="Hans Gelissen (DHL SSC Maastricht)" userId="1afa8510-4eed-4b73-a29e-678838cd8acd" providerId="ADAL" clId="{8A350684-7764-4507-9138-96ED9B87A59E}" dt="2023-03-14T12:35:31.456" v="278" actId="700"/>
        <pc:sldMkLst>
          <pc:docMk/>
          <pc:sldMk cId="787741321" sldId="287"/>
        </pc:sldMkLst>
        <pc:spChg chg="add mod ord">
          <ac:chgData name="Hans Gelissen (DHL SSC Maastricht)" userId="1afa8510-4eed-4b73-a29e-678838cd8acd" providerId="ADAL" clId="{8A350684-7764-4507-9138-96ED9B87A59E}" dt="2023-03-14T12:35:31.456" v="278" actId="700"/>
          <ac:spMkLst>
            <pc:docMk/>
            <pc:sldMk cId="787741321" sldId="287"/>
            <ac:spMk id="2" creationId="{C3D269F4-DDE4-47FD-B9F7-B0E131D86951}"/>
          </ac:spMkLst>
        </pc:spChg>
      </pc:sldChg>
      <pc:sldMasterChg chg="delSldLayout modSldLayout">
        <pc:chgData name="Hans Gelissen (DHL SSC Maastricht)" userId="1afa8510-4eed-4b73-a29e-678838cd8acd" providerId="ADAL" clId="{8A350684-7764-4507-9138-96ED9B87A59E}" dt="2023-03-14T12:35:50.264" v="282" actId="2696"/>
        <pc:sldMasterMkLst>
          <pc:docMk/>
          <pc:sldMasterMk cId="2253695231" sldId="2147483754"/>
        </pc:sldMasterMkLst>
        <pc:sldLayoutChg chg="modSp mod">
          <pc:chgData name="Hans Gelissen (DHL SSC Maastricht)" userId="1afa8510-4eed-4b73-a29e-678838cd8acd" providerId="ADAL" clId="{8A350684-7764-4507-9138-96ED9B87A59E}" dt="2023-03-13T13:57:51.239" v="251" actId="1076"/>
          <pc:sldLayoutMkLst>
            <pc:docMk/>
            <pc:sldMasterMk cId="2253695231" sldId="2147483754"/>
            <pc:sldLayoutMk cId="3938857042" sldId="2147483927"/>
          </pc:sldLayoutMkLst>
          <pc:grpChg chg="mod">
            <ac:chgData name="Hans Gelissen (DHL SSC Maastricht)" userId="1afa8510-4eed-4b73-a29e-678838cd8acd" providerId="ADAL" clId="{8A350684-7764-4507-9138-96ED9B87A59E}" dt="2023-03-13T13:57:51.239" v="251" actId="1076"/>
            <ac:grpSpMkLst>
              <pc:docMk/>
              <pc:sldMasterMk cId="2253695231" sldId="2147483754"/>
              <pc:sldLayoutMk cId="3938857042" sldId="2147483927"/>
              <ac:grpSpMk id="10" creationId="{60824F2D-8428-405D-8215-08C1B17AB63A}"/>
            </ac:grpSpMkLst>
          </pc:grpChg>
        </pc:sldLayoutChg>
        <pc:sldLayoutChg chg="del mod">
          <pc:chgData name="Hans Gelissen (DHL SSC Maastricht)" userId="1afa8510-4eed-4b73-a29e-678838cd8acd" providerId="ADAL" clId="{8A350684-7764-4507-9138-96ED9B87A59E}" dt="2023-03-14T12:35:50.264" v="282" actId="2696"/>
          <pc:sldLayoutMkLst>
            <pc:docMk/>
            <pc:sldMasterMk cId="2253695231" sldId="2147483754"/>
            <pc:sldLayoutMk cId="3306321757" sldId="2147484024"/>
          </pc:sldLayoutMkLst>
        </pc:sldLayoutChg>
      </pc:sldMasterChg>
      <pc:sldMasterChg chg="modSldLayout">
        <pc:chgData name="Hans Gelissen (DHL SSC Maastricht)" userId="1afa8510-4eed-4b73-a29e-678838cd8acd" providerId="ADAL" clId="{8A350684-7764-4507-9138-96ED9B87A59E}" dt="2023-03-13T13:01:54.111" v="246"/>
        <pc:sldMasterMkLst>
          <pc:docMk/>
          <pc:sldMasterMk cId="31158695" sldId="2147483765"/>
        </pc:sldMasterMkLst>
        <pc:sldLayoutChg chg="addSp delSp modSp mod">
          <pc:chgData name="Hans Gelissen (DHL SSC Maastricht)" userId="1afa8510-4eed-4b73-a29e-678838cd8acd" providerId="ADAL" clId="{8A350684-7764-4507-9138-96ED9B87A59E}" dt="2023-03-13T13:01:54.111" v="246"/>
          <pc:sldLayoutMkLst>
            <pc:docMk/>
            <pc:sldMasterMk cId="31158695" sldId="2147483765"/>
            <pc:sldLayoutMk cId="3456633064" sldId="2147483740"/>
          </pc:sldLayoutMkLst>
          <pc:picChg chg="del">
            <ac:chgData name="Hans Gelissen (DHL SSC Maastricht)" userId="1afa8510-4eed-4b73-a29e-678838cd8acd" providerId="ADAL" clId="{8A350684-7764-4507-9138-96ED9B87A59E}" dt="2023-03-13T13:01:53.674" v="245" actId="478"/>
            <ac:picMkLst>
              <pc:docMk/>
              <pc:sldMasterMk cId="31158695" sldId="2147483765"/>
              <pc:sldLayoutMk cId="3456633064" sldId="2147483740"/>
              <ac:picMk id="2" creationId="{00000000-0000-0000-0000-000000000000}"/>
            </ac:picMkLst>
          </pc:picChg>
          <pc:picChg chg="add mod">
            <ac:chgData name="Hans Gelissen (DHL SSC Maastricht)" userId="1afa8510-4eed-4b73-a29e-678838cd8acd" providerId="ADAL" clId="{8A350684-7764-4507-9138-96ED9B87A59E}" dt="2023-03-13T13:01:54.111" v="246"/>
            <ac:picMkLst>
              <pc:docMk/>
              <pc:sldMasterMk cId="31158695" sldId="2147483765"/>
              <pc:sldLayoutMk cId="3456633064" sldId="2147483740"/>
              <ac:picMk id="12" creationId="{0814E762-90C9-4902-873D-9C5CE876CFCF}"/>
            </ac:picMkLst>
          </pc:picChg>
        </pc:sldLayoutChg>
        <pc:sldLayoutChg chg="modSp mod">
          <pc:chgData name="Hans Gelissen (DHL SSC Maastricht)" userId="1afa8510-4eed-4b73-a29e-678838cd8acd" providerId="ADAL" clId="{8A350684-7764-4507-9138-96ED9B87A59E}" dt="2023-03-08T13:52:31.971" v="118" actId="6549"/>
          <pc:sldLayoutMkLst>
            <pc:docMk/>
            <pc:sldMasterMk cId="31158695" sldId="2147483765"/>
            <pc:sldLayoutMk cId="2950485860" sldId="2147483783"/>
          </pc:sldLayoutMkLst>
          <pc:spChg chg="mod">
            <ac:chgData name="Hans Gelissen (DHL SSC Maastricht)" userId="1afa8510-4eed-4b73-a29e-678838cd8acd" providerId="ADAL" clId="{8A350684-7764-4507-9138-96ED9B87A59E}" dt="2023-03-08T13:52:31.971" v="118" actId="6549"/>
            <ac:spMkLst>
              <pc:docMk/>
              <pc:sldMasterMk cId="31158695" sldId="2147483765"/>
              <pc:sldLayoutMk cId="2950485860" sldId="2147483783"/>
              <ac:spMk id="18" creationId="{659C8730-2212-4221-B7B1-839C8C5A890F}"/>
            </ac:spMkLst>
          </pc:spChg>
        </pc:sldLayoutChg>
      </pc:sldMasterChg>
      <pc:sldMasterChg chg="mod modSldLayout">
        <pc:chgData name="Hans Gelissen (DHL SSC Maastricht)" userId="1afa8510-4eed-4b73-a29e-678838cd8acd" providerId="ADAL" clId="{8A350684-7764-4507-9138-96ED9B87A59E}" dt="2023-03-14T12:36:15.815" v="283" actId="6014"/>
        <pc:sldMasterMkLst>
          <pc:docMk/>
          <pc:sldMasterMk cId="727954729" sldId="2147483772"/>
        </pc:sldMasterMkLst>
        <pc:sldLayoutChg chg="mod">
          <pc:chgData name="Hans Gelissen (DHL SSC Maastricht)" userId="1afa8510-4eed-4b73-a29e-678838cd8acd" providerId="ADAL" clId="{8A350684-7764-4507-9138-96ED9B87A59E}" dt="2023-03-14T12:34:27.267" v="274" actId="6014"/>
          <pc:sldLayoutMkLst>
            <pc:docMk/>
            <pc:sldMasterMk cId="727954729" sldId="2147483772"/>
            <pc:sldLayoutMk cId="2628106048" sldId="2147484017"/>
          </pc:sldLayoutMkLst>
        </pc:sldLayoutChg>
        <pc:sldLayoutChg chg="mod">
          <pc:chgData name="Hans Gelissen (DHL SSC Maastricht)" userId="1afa8510-4eed-4b73-a29e-678838cd8acd" providerId="ADAL" clId="{8A350684-7764-4507-9138-96ED9B87A59E}" dt="2023-03-14T12:34:33.169" v="275" actId="6014"/>
          <pc:sldLayoutMkLst>
            <pc:docMk/>
            <pc:sldMasterMk cId="727954729" sldId="2147483772"/>
            <pc:sldLayoutMk cId="1533518156" sldId="2147484018"/>
          </pc:sldLayoutMkLst>
        </pc:sldLayoutChg>
        <pc:sldLayoutChg chg="mod">
          <pc:chgData name="Hans Gelissen (DHL SSC Maastricht)" userId="1afa8510-4eed-4b73-a29e-678838cd8acd" providerId="ADAL" clId="{8A350684-7764-4507-9138-96ED9B87A59E}" dt="2023-03-14T12:34:38.918" v="276" actId="6014"/>
          <pc:sldLayoutMkLst>
            <pc:docMk/>
            <pc:sldMasterMk cId="727954729" sldId="2147483772"/>
            <pc:sldLayoutMk cId="1765109845" sldId="2147484019"/>
          </pc:sldLayoutMkLst>
        </pc:sldLayoutChg>
      </pc:sldMasterChg>
      <pc:sldMasterChg chg="modSldLayout">
        <pc:chgData name="Hans Gelissen (DHL SSC Maastricht)" userId="1afa8510-4eed-4b73-a29e-678838cd8acd" providerId="ADAL" clId="{8A350684-7764-4507-9138-96ED9B87A59E}" dt="2023-03-13T13:58:07.481" v="252" actId="1076"/>
        <pc:sldMasterMkLst>
          <pc:docMk/>
          <pc:sldMasterMk cId="2791372136" sldId="2147483777"/>
        </pc:sldMasterMkLst>
        <pc:sldLayoutChg chg="modSp mod">
          <pc:chgData name="Hans Gelissen (DHL SSC Maastricht)" userId="1afa8510-4eed-4b73-a29e-678838cd8acd" providerId="ADAL" clId="{8A350684-7764-4507-9138-96ED9B87A59E}" dt="2023-03-13T13:58:07.481" v="252" actId="1076"/>
          <pc:sldLayoutMkLst>
            <pc:docMk/>
            <pc:sldMasterMk cId="2791372136" sldId="2147483777"/>
            <pc:sldLayoutMk cId="3829185410" sldId="2147483979"/>
          </pc:sldLayoutMkLst>
          <pc:grpChg chg="mod">
            <ac:chgData name="Hans Gelissen (DHL SSC Maastricht)" userId="1afa8510-4eed-4b73-a29e-678838cd8acd" providerId="ADAL" clId="{8A350684-7764-4507-9138-96ED9B87A59E}" dt="2023-03-13T13:58:07.481" v="252" actId="1076"/>
            <ac:grpSpMkLst>
              <pc:docMk/>
              <pc:sldMasterMk cId="2791372136" sldId="2147483777"/>
              <pc:sldLayoutMk cId="3829185410" sldId="2147483979"/>
              <ac:grpSpMk id="8" creationId="{6A47A10B-ABB4-4293-AF81-5FA27A13750C}"/>
            </ac:grpSpMkLst>
          </pc:grpChg>
        </pc:sldLayoutChg>
      </pc:sldMasterChg>
      <pc:sldMasterChg chg="del delSldLayout">
        <pc:chgData name="Hans Gelissen (DHL SSC Maastricht)" userId="1afa8510-4eed-4b73-a29e-678838cd8acd" providerId="ADAL" clId="{8A350684-7764-4507-9138-96ED9B87A59E}" dt="2023-03-14T12:32:49.648" v="261" actId="2696"/>
        <pc:sldMasterMkLst>
          <pc:docMk/>
          <pc:sldMasterMk cId="4174525152" sldId="2147483787"/>
        </pc:sldMasterMkLst>
        <pc:sldLayoutChg chg="del">
          <pc:chgData name="Hans Gelissen (DHL SSC Maastricht)" userId="1afa8510-4eed-4b73-a29e-678838cd8acd" providerId="ADAL" clId="{8A350684-7764-4507-9138-96ED9B87A59E}" dt="2023-03-14T12:32:45.574" v="260" actId="2696"/>
          <pc:sldLayoutMkLst>
            <pc:docMk/>
            <pc:sldMasterMk cId="4174525152" sldId="2147483787"/>
            <pc:sldLayoutMk cId="2728327263" sldId="2147483786"/>
          </pc:sldLayoutMkLst>
        </pc:sldLayoutChg>
        <pc:sldLayoutChg chg="del">
          <pc:chgData name="Hans Gelissen (DHL SSC Maastricht)" userId="1afa8510-4eed-4b73-a29e-678838cd8acd" providerId="ADAL" clId="{8A350684-7764-4507-9138-96ED9B87A59E}" dt="2023-03-14T12:32:45.567" v="259" actId="2696"/>
          <pc:sldLayoutMkLst>
            <pc:docMk/>
            <pc:sldMasterMk cId="4174525152" sldId="2147483787"/>
            <pc:sldLayoutMk cId="3690997835" sldId="2147483800"/>
          </pc:sldLayoutMkLst>
        </pc:sldLayoutChg>
        <pc:sldLayoutChg chg="del">
          <pc:chgData name="Hans Gelissen (DHL SSC Maastricht)" userId="1afa8510-4eed-4b73-a29e-678838cd8acd" providerId="ADAL" clId="{8A350684-7764-4507-9138-96ED9B87A59E}" dt="2023-03-14T12:32:45.558" v="258" actId="2696"/>
          <pc:sldLayoutMkLst>
            <pc:docMk/>
            <pc:sldMasterMk cId="4174525152" sldId="2147483787"/>
            <pc:sldLayoutMk cId="151018440" sldId="2147483801"/>
          </pc:sldLayoutMkLst>
        </pc:sldLayoutChg>
      </pc:sldMasterChg>
      <pc:sldMasterChg chg="del delSldLayout">
        <pc:chgData name="Hans Gelissen (DHL SSC Maastricht)" userId="1afa8510-4eed-4b73-a29e-678838cd8acd" providerId="ADAL" clId="{8A350684-7764-4507-9138-96ED9B87A59E}" dt="2023-03-14T12:33:10.551" v="265" actId="2696"/>
        <pc:sldMasterMkLst>
          <pc:docMk/>
          <pc:sldMasterMk cId="872021773" sldId="2147483791"/>
        </pc:sldMasterMkLst>
        <pc:sldLayoutChg chg="del">
          <pc:chgData name="Hans Gelissen (DHL SSC Maastricht)" userId="1afa8510-4eed-4b73-a29e-678838cd8acd" providerId="ADAL" clId="{8A350684-7764-4507-9138-96ED9B87A59E}" dt="2023-03-14T12:33:10.536" v="262" actId="2696"/>
          <pc:sldLayoutMkLst>
            <pc:docMk/>
            <pc:sldMasterMk cId="872021773" sldId="2147483791"/>
            <pc:sldLayoutMk cId="2354677274" sldId="2147483747"/>
          </pc:sldLayoutMkLst>
        </pc:sldLayoutChg>
        <pc:sldLayoutChg chg="del">
          <pc:chgData name="Hans Gelissen (DHL SSC Maastricht)" userId="1afa8510-4eed-4b73-a29e-678838cd8acd" providerId="ADAL" clId="{8A350684-7764-4507-9138-96ED9B87A59E}" dt="2023-03-14T12:33:10.542" v="263" actId="2696"/>
          <pc:sldLayoutMkLst>
            <pc:docMk/>
            <pc:sldMasterMk cId="872021773" sldId="2147483791"/>
            <pc:sldLayoutMk cId="14774516" sldId="2147483749"/>
          </pc:sldLayoutMkLst>
        </pc:sldLayoutChg>
        <pc:sldLayoutChg chg="del">
          <pc:chgData name="Hans Gelissen (DHL SSC Maastricht)" userId="1afa8510-4eed-4b73-a29e-678838cd8acd" providerId="ADAL" clId="{8A350684-7764-4507-9138-96ED9B87A59E}" dt="2023-03-14T12:33:10.547" v="264" actId="2696"/>
          <pc:sldLayoutMkLst>
            <pc:docMk/>
            <pc:sldMasterMk cId="872021773" sldId="2147483791"/>
            <pc:sldLayoutMk cId="465836321" sldId="2147483750"/>
          </pc:sldLayoutMkLst>
        </pc:sldLayoutChg>
      </pc:sldMasterChg>
      <pc:sldMasterChg chg="modSldLayout sldLayoutOrd">
        <pc:chgData name="Hans Gelissen (DHL SSC Maastricht)" userId="1afa8510-4eed-4b73-a29e-678838cd8acd" providerId="ADAL" clId="{8A350684-7764-4507-9138-96ED9B87A59E}" dt="2023-03-14T09:43:42.488" v="257" actId="2711"/>
        <pc:sldMasterMkLst>
          <pc:docMk/>
          <pc:sldMasterMk cId="1868986140" sldId="2147483797"/>
        </pc:sldMasterMkLst>
        <pc:sldLayoutChg chg="modSp mod ord">
          <pc:chgData name="Hans Gelissen (DHL SSC Maastricht)" userId="1afa8510-4eed-4b73-a29e-678838cd8acd" providerId="ADAL" clId="{8A350684-7764-4507-9138-96ED9B87A59E}" dt="2023-03-08T14:08:33.060" v="125" actId="20578"/>
          <pc:sldLayoutMkLst>
            <pc:docMk/>
            <pc:sldMasterMk cId="1868986140" sldId="2147483797"/>
            <pc:sldLayoutMk cId="685959609" sldId="2147483816"/>
          </pc:sldLayoutMkLst>
          <pc:spChg chg="mod">
            <ac:chgData name="Hans Gelissen (DHL SSC Maastricht)" userId="1afa8510-4eed-4b73-a29e-678838cd8acd" providerId="ADAL" clId="{8A350684-7764-4507-9138-96ED9B87A59E}" dt="2023-03-08T14:08:33.060" v="125" actId="20578"/>
            <ac:spMkLst>
              <pc:docMk/>
              <pc:sldMasterMk cId="1868986140" sldId="2147483797"/>
              <pc:sldLayoutMk cId="685959609" sldId="2147483816"/>
              <ac:spMk id="16" creationId="{C1D2AD36-65F1-4F18-A422-601C53B20FD1}"/>
            </ac:spMkLst>
          </pc:spChg>
        </pc:sldLayoutChg>
        <pc:sldLayoutChg chg="modSp mod">
          <pc:chgData name="Hans Gelissen (DHL SSC Maastricht)" userId="1afa8510-4eed-4b73-a29e-678838cd8acd" providerId="ADAL" clId="{8A350684-7764-4507-9138-96ED9B87A59E}" dt="2023-03-14T09:43:21.648" v="254" actId="2711"/>
          <pc:sldLayoutMkLst>
            <pc:docMk/>
            <pc:sldMasterMk cId="1868986140" sldId="2147483797"/>
            <pc:sldLayoutMk cId="1943396673" sldId="2147483817"/>
          </pc:sldLayoutMkLst>
          <pc:spChg chg="mod">
            <ac:chgData name="Hans Gelissen (DHL SSC Maastricht)" userId="1afa8510-4eed-4b73-a29e-678838cd8acd" providerId="ADAL" clId="{8A350684-7764-4507-9138-96ED9B87A59E}" dt="2023-03-14T09:43:21.648" v="254" actId="2711"/>
            <ac:spMkLst>
              <pc:docMk/>
              <pc:sldMasterMk cId="1868986140" sldId="2147483797"/>
              <pc:sldLayoutMk cId="1943396673" sldId="2147483817"/>
              <ac:spMk id="18" creationId="{87DC52E1-61B4-41C6-9C1B-78B53F41A182}"/>
            </ac:spMkLst>
          </pc:spChg>
          <pc:spChg chg="mod">
            <ac:chgData name="Hans Gelissen (DHL SSC Maastricht)" userId="1afa8510-4eed-4b73-a29e-678838cd8acd" providerId="ADAL" clId="{8A350684-7764-4507-9138-96ED9B87A59E}" dt="2023-03-14T09:43:21.648" v="254" actId="2711"/>
            <ac:spMkLst>
              <pc:docMk/>
              <pc:sldMasterMk cId="1868986140" sldId="2147483797"/>
              <pc:sldLayoutMk cId="1943396673" sldId="2147483817"/>
              <ac:spMk id="22" creationId="{5D33661A-E879-4955-BAB9-AA7B3C955E42}"/>
            </ac:spMkLst>
          </pc:spChg>
          <pc:spChg chg="mod">
            <ac:chgData name="Hans Gelissen (DHL SSC Maastricht)" userId="1afa8510-4eed-4b73-a29e-678838cd8acd" providerId="ADAL" clId="{8A350684-7764-4507-9138-96ED9B87A59E}" dt="2023-03-14T09:43:21.648" v="254" actId="2711"/>
            <ac:spMkLst>
              <pc:docMk/>
              <pc:sldMasterMk cId="1868986140" sldId="2147483797"/>
              <pc:sldLayoutMk cId="1943396673" sldId="2147483817"/>
              <ac:spMk id="23" creationId="{694DBE2C-2418-448B-A0C4-52EECB64EBA6}"/>
            </ac:spMkLst>
          </pc:spChg>
        </pc:sldLayoutChg>
        <pc:sldLayoutChg chg="modSp mod ord">
          <pc:chgData name="Hans Gelissen (DHL SSC Maastricht)" userId="1afa8510-4eed-4b73-a29e-678838cd8acd" providerId="ADAL" clId="{8A350684-7764-4507-9138-96ED9B87A59E}" dt="2023-03-14T09:43:42.488" v="257" actId="2711"/>
          <pc:sldLayoutMkLst>
            <pc:docMk/>
            <pc:sldMasterMk cId="1868986140" sldId="2147483797"/>
            <pc:sldLayoutMk cId="2070522211" sldId="2147483819"/>
          </pc:sldLayoutMkLst>
          <pc:spChg chg="mod">
            <ac:chgData name="Hans Gelissen (DHL SSC Maastricht)" userId="1afa8510-4eed-4b73-a29e-678838cd8acd" providerId="ADAL" clId="{8A350684-7764-4507-9138-96ED9B87A59E}" dt="2023-03-14T09:43:32.662" v="256" actId="1076"/>
            <ac:spMkLst>
              <pc:docMk/>
              <pc:sldMasterMk cId="1868986140" sldId="2147483797"/>
              <pc:sldLayoutMk cId="2070522211" sldId="2147483819"/>
              <ac:spMk id="3" creationId="{8CCBF2A2-4A94-4167-B811-76A9071CFD5E}"/>
            </ac:spMkLst>
          </pc:spChg>
          <pc:spChg chg="mod">
            <ac:chgData name="Hans Gelissen (DHL SSC Maastricht)" userId="1afa8510-4eed-4b73-a29e-678838cd8acd" providerId="ADAL" clId="{8A350684-7764-4507-9138-96ED9B87A59E}" dt="2023-03-14T09:43:42.488" v="257" actId="2711"/>
            <ac:spMkLst>
              <pc:docMk/>
              <pc:sldMasterMk cId="1868986140" sldId="2147483797"/>
              <pc:sldLayoutMk cId="2070522211" sldId="2147483819"/>
              <ac:spMk id="18" creationId="{87DC52E1-61B4-41C6-9C1B-78B53F41A182}"/>
            </ac:spMkLst>
          </pc:spChg>
          <pc:spChg chg="mod">
            <ac:chgData name="Hans Gelissen (DHL SSC Maastricht)" userId="1afa8510-4eed-4b73-a29e-678838cd8acd" providerId="ADAL" clId="{8A350684-7764-4507-9138-96ED9B87A59E}" dt="2023-03-14T09:43:30.911" v="255" actId="2711"/>
            <ac:spMkLst>
              <pc:docMk/>
              <pc:sldMasterMk cId="1868986140" sldId="2147483797"/>
              <pc:sldLayoutMk cId="2070522211" sldId="2147483819"/>
              <ac:spMk id="22" creationId="{5D33661A-E879-4955-BAB9-AA7B3C955E42}"/>
            </ac:spMkLst>
          </pc:spChg>
          <pc:spChg chg="mod">
            <ac:chgData name="Hans Gelissen (DHL SSC Maastricht)" userId="1afa8510-4eed-4b73-a29e-678838cd8acd" providerId="ADAL" clId="{8A350684-7764-4507-9138-96ED9B87A59E}" dt="2023-03-14T09:43:30.911" v="255" actId="2711"/>
            <ac:spMkLst>
              <pc:docMk/>
              <pc:sldMasterMk cId="1868986140" sldId="2147483797"/>
              <pc:sldLayoutMk cId="2070522211" sldId="2147483819"/>
              <ac:spMk id="23" creationId="{694DBE2C-2418-448B-A0C4-52EECB64EBA6}"/>
            </ac:spMkLst>
          </pc:spChg>
        </pc:sldLayoutChg>
        <pc:sldLayoutChg chg="addSp delSp modSp mod">
          <pc:chgData name="Hans Gelissen (DHL SSC Maastricht)" userId="1afa8510-4eed-4b73-a29e-678838cd8acd" providerId="ADAL" clId="{8A350684-7764-4507-9138-96ED9B87A59E}" dt="2023-03-08T14:11:10.171" v="142" actId="21"/>
          <pc:sldLayoutMkLst>
            <pc:docMk/>
            <pc:sldMasterMk cId="1868986140" sldId="2147483797"/>
            <pc:sldLayoutMk cId="3526513862" sldId="2147483822"/>
          </pc:sldLayoutMkLst>
          <pc:spChg chg="add del">
            <ac:chgData name="Hans Gelissen (DHL SSC Maastricht)" userId="1afa8510-4eed-4b73-a29e-678838cd8acd" providerId="ADAL" clId="{8A350684-7764-4507-9138-96ED9B87A59E}" dt="2023-03-08T14:11:05.618" v="140" actId="11529"/>
            <ac:spMkLst>
              <pc:docMk/>
              <pc:sldMasterMk cId="1868986140" sldId="2147483797"/>
              <pc:sldLayoutMk cId="3526513862" sldId="2147483822"/>
              <ac:spMk id="2" creationId="{6E3DAAD2-2CFA-4108-9E90-072666AF6F5D}"/>
            </ac:spMkLst>
          </pc:spChg>
          <pc:spChg chg="add del mod">
            <ac:chgData name="Hans Gelissen (DHL SSC Maastricht)" userId="1afa8510-4eed-4b73-a29e-678838cd8acd" providerId="ADAL" clId="{8A350684-7764-4507-9138-96ED9B87A59E}" dt="2023-03-08T14:11:05.618" v="140" actId="11529"/>
            <ac:spMkLst>
              <pc:docMk/>
              <pc:sldMasterMk cId="1868986140" sldId="2147483797"/>
              <pc:sldLayoutMk cId="3526513862" sldId="2147483822"/>
              <ac:spMk id="3" creationId="{298814BE-579B-48F4-988A-8F1FAD276FFC}"/>
            </ac:spMkLst>
          </pc:spChg>
          <pc:picChg chg="add del mod">
            <ac:chgData name="Hans Gelissen (DHL SSC Maastricht)" userId="1afa8510-4eed-4b73-a29e-678838cd8acd" providerId="ADAL" clId="{8A350684-7764-4507-9138-96ED9B87A59E}" dt="2023-03-08T14:11:10.171" v="142" actId="21"/>
            <ac:picMkLst>
              <pc:docMk/>
              <pc:sldMasterMk cId="1868986140" sldId="2147483797"/>
              <pc:sldLayoutMk cId="3526513862" sldId="2147483822"/>
              <ac:picMk id="18" creationId="{116B38DC-9E10-4F03-A5DC-EA8D75C15E94}"/>
            </ac:picMkLst>
          </pc:picChg>
        </pc:sldLayoutChg>
      </pc:sldMasterChg>
      <pc:sldMasterChg chg="mod modSldLayout">
        <pc:chgData name="Hans Gelissen (DHL SSC Maastricht)" userId="1afa8510-4eed-4b73-a29e-678838cd8acd" providerId="ADAL" clId="{8A350684-7764-4507-9138-96ED9B87A59E}" dt="2023-03-14T12:40:16.915" v="284" actId="6014"/>
        <pc:sldMasterMkLst>
          <pc:docMk/>
          <pc:sldMasterMk cId="2722686442" sldId="2147484013"/>
        </pc:sldMasterMkLst>
        <pc:sldLayoutChg chg="modSp">
          <pc:chgData name="Hans Gelissen (DHL SSC Maastricht)" userId="1afa8510-4eed-4b73-a29e-678838cd8acd" providerId="ADAL" clId="{8A350684-7764-4507-9138-96ED9B87A59E}" dt="2023-03-14T09:42:13.497" v="253" actId="2711"/>
          <pc:sldLayoutMkLst>
            <pc:docMk/>
            <pc:sldMasterMk cId="2722686442" sldId="2147484013"/>
            <pc:sldLayoutMk cId="2927420278" sldId="2147484014"/>
          </pc:sldLayoutMkLst>
          <pc:spChg chg="mod">
            <ac:chgData name="Hans Gelissen (DHL SSC Maastricht)" userId="1afa8510-4eed-4b73-a29e-678838cd8acd" providerId="ADAL" clId="{8A350684-7764-4507-9138-96ED9B87A59E}" dt="2023-03-14T09:42:13.497" v="253" actId="2711"/>
            <ac:spMkLst>
              <pc:docMk/>
              <pc:sldMasterMk cId="2722686442" sldId="2147484013"/>
              <pc:sldLayoutMk cId="2927420278" sldId="2147484014"/>
              <ac:spMk id="5" creationId="{8D4C9A0D-85D6-4749-99E3-B8A1C8FE8CEF}"/>
            </ac:spMkLst>
          </pc:spChg>
        </pc:sldLayoutChg>
      </pc:sldMasterChg>
      <pc:sldMasterChg chg="delSp new mod addSldLayout delSldLayout modSldLayout sldLayoutOrd">
        <pc:chgData name="Hans Gelissen (DHL SSC Maastricht)" userId="1afa8510-4eed-4b73-a29e-678838cd8acd" providerId="ADAL" clId="{8A350684-7764-4507-9138-96ED9B87A59E}" dt="2023-03-08T14:19:56.303" v="222"/>
        <pc:sldMasterMkLst>
          <pc:docMk/>
          <pc:sldMasterMk cId="2150040083" sldId="2147484015"/>
        </pc:sldMasterMkLst>
        <pc:spChg chg="del">
          <ac:chgData name="Hans Gelissen (DHL SSC Maastricht)" userId="1afa8510-4eed-4b73-a29e-678838cd8acd" providerId="ADAL" clId="{8A350684-7764-4507-9138-96ED9B87A59E}" dt="2023-03-08T13:45:26.880" v="85" actId="478"/>
          <ac:spMkLst>
            <pc:docMk/>
            <pc:sldMasterMk cId="2150040083" sldId="2147484015"/>
            <ac:spMk id="2" creationId="{AD037A6B-5166-45D6-941D-A1A1C3C3AF3E}"/>
          </ac:spMkLst>
        </pc:spChg>
        <pc:spChg chg="del">
          <ac:chgData name="Hans Gelissen (DHL SSC Maastricht)" userId="1afa8510-4eed-4b73-a29e-678838cd8acd" providerId="ADAL" clId="{8A350684-7764-4507-9138-96ED9B87A59E}" dt="2023-03-08T13:45:26.880" v="85" actId="478"/>
          <ac:spMkLst>
            <pc:docMk/>
            <pc:sldMasterMk cId="2150040083" sldId="2147484015"/>
            <ac:spMk id="3" creationId="{594922C0-4C7F-453C-ABCF-B7684D5097FB}"/>
          </ac:spMkLst>
        </pc:spChg>
        <pc:spChg chg="del">
          <ac:chgData name="Hans Gelissen (DHL SSC Maastricht)" userId="1afa8510-4eed-4b73-a29e-678838cd8acd" providerId="ADAL" clId="{8A350684-7764-4507-9138-96ED9B87A59E}" dt="2023-03-08T13:45:26.880" v="85" actId="478"/>
          <ac:spMkLst>
            <pc:docMk/>
            <pc:sldMasterMk cId="2150040083" sldId="2147484015"/>
            <ac:spMk id="4" creationId="{A0A7D087-A5C2-4B3D-B194-6EC0E3C71E52}"/>
          </ac:spMkLst>
        </pc:spChg>
        <pc:spChg chg="del">
          <ac:chgData name="Hans Gelissen (DHL SSC Maastricht)" userId="1afa8510-4eed-4b73-a29e-678838cd8acd" providerId="ADAL" clId="{8A350684-7764-4507-9138-96ED9B87A59E}" dt="2023-03-08T13:45:26.880" v="85" actId="478"/>
          <ac:spMkLst>
            <pc:docMk/>
            <pc:sldMasterMk cId="2150040083" sldId="2147484015"/>
            <ac:spMk id="5" creationId="{A895F003-4844-4077-B6B2-730EE2EB43DC}"/>
          </ac:spMkLst>
        </pc:spChg>
        <pc:spChg chg="del">
          <ac:chgData name="Hans Gelissen (DHL SSC Maastricht)" userId="1afa8510-4eed-4b73-a29e-678838cd8acd" providerId="ADAL" clId="{8A350684-7764-4507-9138-96ED9B87A59E}" dt="2023-03-08T13:45:26.880" v="85" actId="478"/>
          <ac:spMkLst>
            <pc:docMk/>
            <pc:sldMasterMk cId="2150040083" sldId="2147484015"/>
            <ac:spMk id="6" creationId="{EA6A102F-6EFA-438D-BD9E-7810885409E1}"/>
          </ac:spMkLst>
        </pc:spChg>
        <pc:sldLayoutChg chg="modSp mod ord">
          <pc:chgData name="Hans Gelissen (DHL SSC Maastricht)" userId="1afa8510-4eed-4b73-a29e-678838cd8acd" providerId="ADAL" clId="{8A350684-7764-4507-9138-96ED9B87A59E}" dt="2023-03-08T14:08:26.232" v="124" actId="20578"/>
          <pc:sldLayoutMkLst>
            <pc:docMk/>
            <pc:sldMasterMk cId="1868986140" sldId="2147483797"/>
            <pc:sldLayoutMk cId="685959609" sldId="2147483816"/>
          </pc:sldLayoutMkLst>
          <pc:spChg chg="mod">
            <ac:chgData name="Hans Gelissen (DHL SSC Maastricht)" userId="1afa8510-4eed-4b73-a29e-678838cd8acd" providerId="ADAL" clId="{8A350684-7764-4507-9138-96ED9B87A59E}" dt="2023-03-08T14:08:26.232" v="124" actId="20578"/>
            <ac:spMkLst>
              <pc:docMk/>
              <pc:sldMasterMk cId="1868986140" sldId="2147483797"/>
              <pc:sldLayoutMk cId="685959609" sldId="2147483816"/>
              <ac:spMk id="16" creationId="{C1D2AD36-65F1-4F18-A422-601C53B20FD1}"/>
            </ac:spMkLst>
          </pc:spChg>
        </pc:sldLayoutChg>
        <pc:sldLayoutChg chg="new del replId">
          <pc:chgData name="Hans Gelissen (DHL SSC Maastricht)" userId="1afa8510-4eed-4b73-a29e-678838cd8acd" providerId="ADAL" clId="{8A350684-7764-4507-9138-96ED9B87A59E}" dt="2023-03-08T13:45:23.050" v="74" actId="2696"/>
          <pc:sldLayoutMkLst>
            <pc:docMk/>
            <pc:sldMasterMk cId="2150040083" sldId="2147484015"/>
            <pc:sldLayoutMk cId="1959668863" sldId="2147484016"/>
          </pc:sldLayoutMkLst>
        </pc:sldLayoutChg>
        <pc:sldLayoutChg chg="addSp delSp modSp mod">
          <pc:chgData name="Hans Gelissen (DHL SSC Maastricht)" userId="1afa8510-4eed-4b73-a29e-678838cd8acd" providerId="ADAL" clId="{8A350684-7764-4507-9138-96ED9B87A59E}" dt="2023-03-08T14:19:56.303" v="222"/>
          <pc:sldLayoutMkLst>
            <pc:docMk/>
            <pc:sldMasterMk cId="2150040083" sldId="2147484015"/>
            <pc:sldLayoutMk cId="2210235025" sldId="2147484016"/>
          </pc:sldLayoutMkLst>
          <pc:spChg chg="mod">
            <ac:chgData name="Hans Gelissen (DHL SSC Maastricht)" userId="1afa8510-4eed-4b73-a29e-678838cd8acd" providerId="ADAL" clId="{8A350684-7764-4507-9138-96ED9B87A59E}" dt="2023-03-08T13:46:24.177" v="93" actId="20577"/>
            <ac:spMkLst>
              <pc:docMk/>
              <pc:sldMasterMk cId="2150040083" sldId="2147484015"/>
              <pc:sldLayoutMk cId="2210235025" sldId="2147484016"/>
              <ac:spMk id="16" creationId="{C1D2AD36-65F1-4F18-A422-601C53B20FD1}"/>
            </ac:spMkLst>
          </pc:spChg>
          <pc:spChg chg="mod ord">
            <ac:chgData name="Hans Gelissen (DHL SSC Maastricht)" userId="1afa8510-4eed-4b73-a29e-678838cd8acd" providerId="ADAL" clId="{8A350684-7764-4507-9138-96ED9B87A59E}" dt="2023-03-08T14:17:51.483" v="217" actId="166"/>
            <ac:spMkLst>
              <pc:docMk/>
              <pc:sldMasterMk cId="2150040083" sldId="2147484015"/>
              <pc:sldLayoutMk cId="2210235025" sldId="2147484016"/>
              <ac:spMk id="17" creationId="{13A87970-CEE8-456E-B325-EBFE9EF164AF}"/>
            </ac:spMkLst>
          </pc:spChg>
          <pc:spChg chg="mod ord">
            <ac:chgData name="Hans Gelissen (DHL SSC Maastricht)" userId="1afa8510-4eed-4b73-a29e-678838cd8acd" providerId="ADAL" clId="{8A350684-7764-4507-9138-96ED9B87A59E}" dt="2023-03-08T14:17:51.483" v="217" actId="166"/>
            <ac:spMkLst>
              <pc:docMk/>
              <pc:sldMasterMk cId="2150040083" sldId="2147484015"/>
              <pc:sldLayoutMk cId="2210235025" sldId="2147484016"/>
              <ac:spMk id="18" creationId="{893EF8D6-A115-4047-8577-7028A10BA119}"/>
            </ac:spMkLst>
          </pc:spChg>
          <pc:spChg chg="mod ord">
            <ac:chgData name="Hans Gelissen (DHL SSC Maastricht)" userId="1afa8510-4eed-4b73-a29e-678838cd8acd" providerId="ADAL" clId="{8A350684-7764-4507-9138-96ED9B87A59E}" dt="2023-03-08T14:17:51.483" v="217" actId="166"/>
            <ac:spMkLst>
              <pc:docMk/>
              <pc:sldMasterMk cId="2150040083" sldId="2147484015"/>
              <pc:sldLayoutMk cId="2210235025" sldId="2147484016"/>
              <ac:spMk id="20" creationId="{D7BC15F0-306F-41FC-BCBD-E3FB566B1DEF}"/>
            </ac:spMkLst>
          </pc:spChg>
          <pc:spChg chg="del">
            <ac:chgData name="Hans Gelissen (DHL SSC Maastricht)" userId="1afa8510-4eed-4b73-a29e-678838cd8acd" providerId="ADAL" clId="{8A350684-7764-4507-9138-96ED9B87A59E}" dt="2023-03-08T13:46:13.542" v="88" actId="478"/>
            <ac:spMkLst>
              <pc:docMk/>
              <pc:sldMasterMk cId="2150040083" sldId="2147484015"/>
              <pc:sldLayoutMk cId="2210235025" sldId="2147484016"/>
              <ac:spMk id="22" creationId="{93FB3905-AD27-4D1E-996D-309C9BD251C4}"/>
            </ac:spMkLst>
          </pc:spChg>
          <pc:spChg chg="add mod">
            <ac:chgData name="Hans Gelissen (DHL SSC Maastricht)" userId="1afa8510-4eed-4b73-a29e-678838cd8acd" providerId="ADAL" clId="{8A350684-7764-4507-9138-96ED9B87A59E}" dt="2023-03-08T14:14:28.982" v="164" actId="571"/>
            <ac:spMkLst>
              <pc:docMk/>
              <pc:sldMasterMk cId="2150040083" sldId="2147484015"/>
              <pc:sldLayoutMk cId="2210235025" sldId="2147484016"/>
              <ac:spMk id="23" creationId="{55EC288E-235C-4E8A-88B2-E60565410255}"/>
            </ac:spMkLst>
          </pc:spChg>
          <pc:spChg chg="del">
            <ac:chgData name="Hans Gelissen (DHL SSC Maastricht)" userId="1afa8510-4eed-4b73-a29e-678838cd8acd" providerId="ADAL" clId="{8A350684-7764-4507-9138-96ED9B87A59E}" dt="2023-03-08T13:46:09.507" v="87" actId="478"/>
            <ac:spMkLst>
              <pc:docMk/>
              <pc:sldMasterMk cId="2150040083" sldId="2147484015"/>
              <pc:sldLayoutMk cId="2210235025" sldId="2147484016"/>
              <ac:spMk id="24" creationId="{42D19691-22AE-42B3-97A9-E16551576E41}"/>
            </ac:spMkLst>
          </pc:spChg>
          <pc:spChg chg="del">
            <ac:chgData name="Hans Gelissen (DHL SSC Maastricht)" userId="1afa8510-4eed-4b73-a29e-678838cd8acd" providerId="ADAL" clId="{8A350684-7764-4507-9138-96ED9B87A59E}" dt="2023-03-08T13:46:09.507" v="87" actId="478"/>
            <ac:spMkLst>
              <pc:docMk/>
              <pc:sldMasterMk cId="2150040083" sldId="2147484015"/>
              <pc:sldLayoutMk cId="2210235025" sldId="2147484016"/>
              <ac:spMk id="25" creationId="{195FED30-D717-436B-94EF-4EEC137BA630}"/>
            </ac:spMkLst>
          </pc:spChg>
          <pc:spChg chg="del">
            <ac:chgData name="Hans Gelissen (DHL SSC Maastricht)" userId="1afa8510-4eed-4b73-a29e-678838cd8acd" providerId="ADAL" clId="{8A350684-7764-4507-9138-96ED9B87A59E}" dt="2023-03-08T13:46:09.507" v="87" actId="478"/>
            <ac:spMkLst>
              <pc:docMk/>
              <pc:sldMasterMk cId="2150040083" sldId="2147484015"/>
              <pc:sldLayoutMk cId="2210235025" sldId="2147484016"/>
              <ac:spMk id="26" creationId="{051FEFDC-9DA7-4FC1-B7D9-8BB727FF2F80}"/>
            </ac:spMkLst>
          </pc:spChg>
          <pc:spChg chg="mod">
            <ac:chgData name="Hans Gelissen (DHL SSC Maastricht)" userId="1afa8510-4eed-4b73-a29e-678838cd8acd" providerId="ADAL" clId="{8A350684-7764-4507-9138-96ED9B87A59E}" dt="2023-03-08T13:47:49.331" v="116" actId="1076"/>
            <ac:spMkLst>
              <pc:docMk/>
              <pc:sldMasterMk cId="2150040083" sldId="2147484015"/>
              <pc:sldLayoutMk cId="2210235025" sldId="2147484016"/>
              <ac:spMk id="27" creationId="{F87CA176-3BCE-4B88-AE48-244CC10CC53C}"/>
            </ac:spMkLst>
          </pc:spChg>
          <pc:picChg chg="add del mod">
            <ac:chgData name="Hans Gelissen (DHL SSC Maastricht)" userId="1afa8510-4eed-4b73-a29e-678838cd8acd" providerId="ADAL" clId="{8A350684-7764-4507-9138-96ED9B87A59E}" dt="2023-03-08T14:13:48.004" v="156" actId="478"/>
            <ac:picMkLst>
              <pc:docMk/>
              <pc:sldMasterMk cId="2150040083" sldId="2147484015"/>
              <pc:sldLayoutMk cId="2210235025" sldId="2147484016"/>
              <ac:picMk id="3" creationId="{5BA3E8F8-F9EF-45C7-8D8D-E4E7C9F28F38}"/>
            </ac:picMkLst>
          </pc:picChg>
          <pc:picChg chg="mod ord">
            <ac:chgData name="Hans Gelissen (DHL SSC Maastricht)" userId="1afa8510-4eed-4b73-a29e-678838cd8acd" providerId="ADAL" clId="{8A350684-7764-4507-9138-96ED9B87A59E}" dt="2023-03-08T14:18:07.104" v="218" actId="167"/>
            <ac:picMkLst>
              <pc:docMk/>
              <pc:sldMasterMk cId="2150040083" sldId="2147484015"/>
              <pc:sldLayoutMk cId="2210235025" sldId="2147484016"/>
              <ac:picMk id="15" creationId="{0E8ABA0F-D3BB-49B7-B3CD-E87E12E9F402}"/>
            </ac:picMkLst>
          </pc:picChg>
          <pc:picChg chg="add mod ord">
            <ac:chgData name="Hans Gelissen (DHL SSC Maastricht)" userId="1afa8510-4eed-4b73-a29e-678838cd8acd" providerId="ADAL" clId="{8A350684-7764-4507-9138-96ED9B87A59E}" dt="2023-03-08T14:17:51.483" v="217" actId="166"/>
            <ac:picMkLst>
              <pc:docMk/>
              <pc:sldMasterMk cId="2150040083" sldId="2147484015"/>
              <pc:sldLayoutMk cId="2210235025" sldId="2147484016"/>
              <ac:picMk id="21" creationId="{3D2213D4-F05B-41A1-9792-8839EC5019C1}"/>
            </ac:picMkLst>
          </pc:picChg>
          <pc:picChg chg="del">
            <ac:chgData name="Hans Gelissen (DHL SSC Maastricht)" userId="1afa8510-4eed-4b73-a29e-678838cd8acd" providerId="ADAL" clId="{8A350684-7764-4507-9138-96ED9B87A59E}" dt="2023-03-08T13:46:01.244" v="86" actId="478"/>
            <ac:picMkLst>
              <pc:docMk/>
              <pc:sldMasterMk cId="2150040083" sldId="2147484015"/>
              <pc:sldLayoutMk cId="2210235025" sldId="2147484016"/>
              <ac:picMk id="28" creationId="{8A180B2A-BF2D-4FEB-9346-9B7C410B5A5C}"/>
            </ac:picMkLst>
          </pc:picChg>
          <pc:picChg chg="add mod">
            <ac:chgData name="Hans Gelissen (DHL SSC Maastricht)" userId="1afa8510-4eed-4b73-a29e-678838cd8acd" providerId="ADAL" clId="{8A350684-7764-4507-9138-96ED9B87A59E}" dt="2023-03-08T14:19:56.303" v="222"/>
            <ac:picMkLst>
              <pc:docMk/>
              <pc:sldMasterMk cId="2150040083" sldId="2147484015"/>
              <pc:sldLayoutMk cId="2210235025" sldId="2147484016"/>
              <ac:picMk id="1026" creationId="{DD31DB22-34D2-415B-AAF3-98308CE2E561}"/>
            </ac:picMkLst>
          </pc:picChg>
        </pc:sldLayoutChg>
        <pc:sldLayoutChg chg="new del replId">
          <pc:chgData name="Hans Gelissen (DHL SSC Maastricht)" userId="1afa8510-4eed-4b73-a29e-678838cd8acd" providerId="ADAL" clId="{8A350684-7764-4507-9138-96ED9B87A59E}" dt="2023-03-08T13:45:23.066" v="75" actId="2696"/>
          <pc:sldLayoutMkLst>
            <pc:docMk/>
            <pc:sldMasterMk cId="2150040083" sldId="2147484015"/>
            <pc:sldLayoutMk cId="711986706" sldId="2147484017"/>
          </pc:sldLayoutMkLst>
        </pc:sldLayoutChg>
        <pc:sldLayoutChg chg="new del replId">
          <pc:chgData name="Hans Gelissen (DHL SSC Maastricht)" userId="1afa8510-4eed-4b73-a29e-678838cd8acd" providerId="ADAL" clId="{8A350684-7764-4507-9138-96ED9B87A59E}" dt="2023-03-08T13:45:23.076" v="76" actId="2696"/>
          <pc:sldLayoutMkLst>
            <pc:docMk/>
            <pc:sldMasterMk cId="2150040083" sldId="2147484015"/>
            <pc:sldLayoutMk cId="4020324160" sldId="2147484018"/>
          </pc:sldLayoutMkLst>
        </pc:sldLayoutChg>
        <pc:sldLayoutChg chg="new del replId">
          <pc:chgData name="Hans Gelissen (DHL SSC Maastricht)" userId="1afa8510-4eed-4b73-a29e-678838cd8acd" providerId="ADAL" clId="{8A350684-7764-4507-9138-96ED9B87A59E}" dt="2023-03-08T13:45:23.091" v="77" actId="2696"/>
          <pc:sldLayoutMkLst>
            <pc:docMk/>
            <pc:sldMasterMk cId="2150040083" sldId="2147484015"/>
            <pc:sldLayoutMk cId="4029548526" sldId="2147484019"/>
          </pc:sldLayoutMkLst>
        </pc:sldLayoutChg>
        <pc:sldLayoutChg chg="new del replId">
          <pc:chgData name="Hans Gelissen (DHL SSC Maastricht)" userId="1afa8510-4eed-4b73-a29e-678838cd8acd" providerId="ADAL" clId="{8A350684-7764-4507-9138-96ED9B87A59E}" dt="2023-03-08T13:45:23.110" v="78" actId="2696"/>
          <pc:sldLayoutMkLst>
            <pc:docMk/>
            <pc:sldMasterMk cId="2150040083" sldId="2147484015"/>
            <pc:sldLayoutMk cId="3881247662" sldId="2147484020"/>
          </pc:sldLayoutMkLst>
        </pc:sldLayoutChg>
        <pc:sldLayoutChg chg="new del replId">
          <pc:chgData name="Hans Gelissen (DHL SSC Maastricht)" userId="1afa8510-4eed-4b73-a29e-678838cd8acd" providerId="ADAL" clId="{8A350684-7764-4507-9138-96ED9B87A59E}" dt="2023-03-08T13:45:23.125" v="79" actId="2696"/>
          <pc:sldLayoutMkLst>
            <pc:docMk/>
            <pc:sldMasterMk cId="2150040083" sldId="2147484015"/>
            <pc:sldLayoutMk cId="1131240510" sldId="2147484021"/>
          </pc:sldLayoutMkLst>
        </pc:sldLayoutChg>
        <pc:sldLayoutChg chg="new del replId">
          <pc:chgData name="Hans Gelissen (DHL SSC Maastricht)" userId="1afa8510-4eed-4b73-a29e-678838cd8acd" providerId="ADAL" clId="{8A350684-7764-4507-9138-96ED9B87A59E}" dt="2023-03-08T13:45:23.138" v="80" actId="2696"/>
          <pc:sldLayoutMkLst>
            <pc:docMk/>
            <pc:sldMasterMk cId="2150040083" sldId="2147484015"/>
            <pc:sldLayoutMk cId="741776194" sldId="2147484022"/>
          </pc:sldLayoutMkLst>
        </pc:sldLayoutChg>
        <pc:sldLayoutChg chg="new del replId">
          <pc:chgData name="Hans Gelissen (DHL SSC Maastricht)" userId="1afa8510-4eed-4b73-a29e-678838cd8acd" providerId="ADAL" clId="{8A350684-7764-4507-9138-96ED9B87A59E}" dt="2023-03-08T13:45:23.155" v="81" actId="2696"/>
          <pc:sldLayoutMkLst>
            <pc:docMk/>
            <pc:sldMasterMk cId="2150040083" sldId="2147484015"/>
            <pc:sldLayoutMk cId="1749183020" sldId="2147484023"/>
          </pc:sldLayoutMkLst>
        </pc:sldLayoutChg>
        <pc:sldLayoutChg chg="new del replId">
          <pc:chgData name="Hans Gelissen (DHL SSC Maastricht)" userId="1afa8510-4eed-4b73-a29e-678838cd8acd" providerId="ADAL" clId="{8A350684-7764-4507-9138-96ED9B87A59E}" dt="2023-03-08T13:45:23.170" v="82" actId="2696"/>
          <pc:sldLayoutMkLst>
            <pc:docMk/>
            <pc:sldMasterMk cId="2150040083" sldId="2147484015"/>
            <pc:sldLayoutMk cId="273977519" sldId="2147484024"/>
          </pc:sldLayoutMkLst>
        </pc:sldLayoutChg>
        <pc:sldLayoutChg chg="new del replId">
          <pc:chgData name="Hans Gelissen (DHL SSC Maastricht)" userId="1afa8510-4eed-4b73-a29e-678838cd8acd" providerId="ADAL" clId="{8A350684-7764-4507-9138-96ED9B87A59E}" dt="2023-03-08T13:45:23.185" v="83" actId="2696"/>
          <pc:sldLayoutMkLst>
            <pc:docMk/>
            <pc:sldMasterMk cId="2150040083" sldId="2147484015"/>
            <pc:sldLayoutMk cId="2517704002" sldId="2147484025"/>
          </pc:sldLayoutMkLst>
        </pc:sldLayoutChg>
        <pc:sldLayoutChg chg="new del replId">
          <pc:chgData name="Hans Gelissen (DHL SSC Maastricht)" userId="1afa8510-4eed-4b73-a29e-678838cd8acd" providerId="ADAL" clId="{8A350684-7764-4507-9138-96ED9B87A59E}" dt="2023-03-08T13:45:23.203" v="84" actId="2696"/>
          <pc:sldLayoutMkLst>
            <pc:docMk/>
            <pc:sldMasterMk cId="2150040083" sldId="2147484015"/>
            <pc:sldLayoutMk cId="2437542447" sldId="2147484026"/>
          </pc:sldLayoutMkLst>
        </pc:sldLayoutChg>
      </pc:sldMasterChg>
      <pc:sldMasterChg chg="del delSldLayout">
        <pc:chgData name="Hans Gelissen (DHL SSC Maastricht)" userId="1afa8510-4eed-4b73-a29e-678838cd8acd" providerId="ADAL" clId="{8A350684-7764-4507-9138-96ED9B87A59E}" dt="2023-03-14T12:33:24.430" v="269" actId="2696"/>
        <pc:sldMasterMkLst>
          <pc:docMk/>
          <pc:sldMasterMk cId="3874907637" sldId="2147484020"/>
        </pc:sldMasterMkLst>
        <pc:sldLayoutChg chg="del">
          <pc:chgData name="Hans Gelissen (DHL SSC Maastricht)" userId="1afa8510-4eed-4b73-a29e-678838cd8acd" providerId="ADAL" clId="{8A350684-7764-4507-9138-96ED9B87A59E}" dt="2023-03-14T12:33:20.899" v="268" actId="2696"/>
          <pc:sldLayoutMkLst>
            <pc:docMk/>
            <pc:sldMasterMk cId="3874907637" sldId="2147484020"/>
            <pc:sldLayoutMk cId="549697226" sldId="2147484021"/>
          </pc:sldLayoutMkLst>
        </pc:sldLayoutChg>
        <pc:sldLayoutChg chg="del">
          <pc:chgData name="Hans Gelissen (DHL SSC Maastricht)" userId="1afa8510-4eed-4b73-a29e-678838cd8acd" providerId="ADAL" clId="{8A350684-7764-4507-9138-96ED9B87A59E}" dt="2023-03-14T12:33:20.892" v="267" actId="2696"/>
          <pc:sldLayoutMkLst>
            <pc:docMk/>
            <pc:sldMasterMk cId="3874907637" sldId="2147484020"/>
            <pc:sldLayoutMk cId="1620854308" sldId="2147484022"/>
          </pc:sldLayoutMkLst>
        </pc:sldLayoutChg>
        <pc:sldLayoutChg chg="del">
          <pc:chgData name="Hans Gelissen (DHL SSC Maastricht)" userId="1afa8510-4eed-4b73-a29e-678838cd8acd" providerId="ADAL" clId="{8A350684-7764-4507-9138-96ED9B87A59E}" dt="2023-03-14T12:33:20.882" v="266" actId="2696"/>
          <pc:sldLayoutMkLst>
            <pc:docMk/>
            <pc:sldMasterMk cId="3874907637" sldId="2147484020"/>
            <pc:sldLayoutMk cId="4256778435" sldId="2147484023"/>
          </pc:sldLayoutMkLst>
        </pc:sldLayoutChg>
      </pc:sldMasterChg>
      <pc:sldMasterChg chg="del delSldLayout">
        <pc:chgData name="Hans Gelissen (DHL SSC Maastricht)" userId="1afa8510-4eed-4b73-a29e-678838cd8acd" providerId="ADAL" clId="{8A350684-7764-4507-9138-96ED9B87A59E}" dt="2023-03-14T12:33:58.632" v="273" actId="2696"/>
        <pc:sldMasterMkLst>
          <pc:docMk/>
          <pc:sldMasterMk cId="1324238648" sldId="2147484025"/>
        </pc:sldMasterMkLst>
        <pc:sldLayoutChg chg="del">
          <pc:chgData name="Hans Gelissen (DHL SSC Maastricht)" userId="1afa8510-4eed-4b73-a29e-678838cd8acd" providerId="ADAL" clId="{8A350684-7764-4507-9138-96ED9B87A59E}" dt="2023-03-14T12:33:54.532" v="272" actId="2696"/>
          <pc:sldLayoutMkLst>
            <pc:docMk/>
            <pc:sldMasterMk cId="1324238648" sldId="2147484025"/>
            <pc:sldLayoutMk cId="3573749651" sldId="2147484026"/>
          </pc:sldLayoutMkLst>
        </pc:sldLayoutChg>
        <pc:sldLayoutChg chg="del">
          <pc:chgData name="Hans Gelissen (DHL SSC Maastricht)" userId="1afa8510-4eed-4b73-a29e-678838cd8acd" providerId="ADAL" clId="{8A350684-7764-4507-9138-96ED9B87A59E}" dt="2023-03-14T12:33:54.524" v="271" actId="2696"/>
          <pc:sldLayoutMkLst>
            <pc:docMk/>
            <pc:sldMasterMk cId="1324238648" sldId="2147484025"/>
            <pc:sldLayoutMk cId="2717904506" sldId="2147484027"/>
          </pc:sldLayoutMkLst>
        </pc:sldLayoutChg>
      </pc:sldMasterChg>
    </pc:docChg>
  </pc:docChgLst>
  <pc:docChgLst>
    <pc:chgData name="Hans Gelissen (DHL SSC Maastricht)" userId="1afa8510-4eed-4b73-a29e-678838cd8acd" providerId="ADAL" clId="{F9AAA9E2-8AFF-4D24-835E-DB8C2EA05B01}"/>
    <pc:docChg chg="modSld">
      <pc:chgData name="Hans Gelissen (DHL SSC Maastricht)" userId="1afa8510-4eed-4b73-a29e-678838cd8acd" providerId="ADAL" clId="{F9AAA9E2-8AFF-4D24-835E-DB8C2EA05B01}" dt="2023-06-23T11:20:48.051" v="140" actId="20577"/>
      <pc:docMkLst>
        <pc:docMk/>
      </pc:docMkLst>
      <pc:sldChg chg="modSp mod">
        <pc:chgData name="Hans Gelissen (DHL SSC Maastricht)" userId="1afa8510-4eed-4b73-a29e-678838cd8acd" providerId="ADAL" clId="{F9AAA9E2-8AFF-4D24-835E-DB8C2EA05B01}" dt="2023-06-23T11:03:23.990" v="0" actId="6549"/>
        <pc:sldMkLst>
          <pc:docMk/>
          <pc:sldMk cId="774294746" sldId="332"/>
        </pc:sldMkLst>
        <pc:spChg chg="mod">
          <ac:chgData name="Hans Gelissen (DHL SSC Maastricht)" userId="1afa8510-4eed-4b73-a29e-678838cd8acd" providerId="ADAL" clId="{F9AAA9E2-8AFF-4D24-835E-DB8C2EA05B01}" dt="2023-06-23T11:03:23.990" v="0" actId="6549"/>
          <ac:spMkLst>
            <pc:docMk/>
            <pc:sldMk cId="774294746" sldId="332"/>
            <ac:spMk id="5" creationId="{53DE6C37-BA55-7E8B-DF64-68D13CE3FBC6}"/>
          </ac:spMkLst>
        </pc:spChg>
      </pc:sldChg>
      <pc:sldChg chg="modSp mod">
        <pc:chgData name="Hans Gelissen (DHL SSC Maastricht)" userId="1afa8510-4eed-4b73-a29e-678838cd8acd" providerId="ADAL" clId="{F9AAA9E2-8AFF-4D24-835E-DB8C2EA05B01}" dt="2023-06-23T11:20:48.051" v="140" actId="20577"/>
        <pc:sldMkLst>
          <pc:docMk/>
          <pc:sldMk cId="3654698751" sldId="396"/>
        </pc:sldMkLst>
        <pc:spChg chg="mod">
          <ac:chgData name="Hans Gelissen (DHL SSC Maastricht)" userId="1afa8510-4eed-4b73-a29e-678838cd8acd" providerId="ADAL" clId="{F9AAA9E2-8AFF-4D24-835E-DB8C2EA05B01}" dt="2023-06-23T11:20:48.051" v="140" actId="20577"/>
          <ac:spMkLst>
            <pc:docMk/>
            <pc:sldMk cId="3654698751" sldId="396"/>
            <ac:spMk id="15" creationId="{DD9513B3-3B2B-69B9-E545-5230F7AA0441}"/>
          </ac:spMkLst>
        </pc:spChg>
      </pc:sldChg>
      <pc:sldChg chg="modSp">
        <pc:chgData name="Hans Gelissen (DHL SSC Maastricht)" userId="1afa8510-4eed-4b73-a29e-678838cd8acd" providerId="ADAL" clId="{F9AAA9E2-8AFF-4D24-835E-DB8C2EA05B01}" dt="2023-06-23T11:06:10.724" v="78" actId="6549"/>
        <pc:sldMkLst>
          <pc:docMk/>
          <pc:sldMk cId="510000669" sldId="404"/>
        </pc:sldMkLst>
        <pc:spChg chg="mod">
          <ac:chgData name="Hans Gelissen (DHL SSC Maastricht)" userId="1afa8510-4eed-4b73-a29e-678838cd8acd" providerId="ADAL" clId="{F9AAA9E2-8AFF-4D24-835E-DB8C2EA05B01}" dt="2023-06-23T11:06:10.724" v="78" actId="6549"/>
          <ac:spMkLst>
            <pc:docMk/>
            <pc:sldMk cId="510000669" sldId="404"/>
            <ac:spMk id="21" creationId="{EED7762F-336A-250C-99AA-BFFD4ABA9164}"/>
          </ac:spMkLst>
        </pc:spChg>
        <pc:spChg chg="mod">
          <ac:chgData name="Hans Gelissen (DHL SSC Maastricht)" userId="1afa8510-4eed-4b73-a29e-678838cd8acd" providerId="ADAL" clId="{F9AAA9E2-8AFF-4D24-835E-DB8C2EA05B01}" dt="2023-06-23T11:05:00.064" v="21" actId="20577"/>
          <ac:spMkLst>
            <pc:docMk/>
            <pc:sldMk cId="510000669" sldId="404"/>
            <ac:spMk id="22" creationId="{2F72CDE5-BA58-4834-AE28-9F7340F3D9B6}"/>
          </ac:spMkLst>
        </pc:spChg>
      </pc:sldChg>
    </pc:docChg>
  </pc:docChgLst>
  <pc:docChgLst>
    <pc:chgData name="Bente De Rijke (DHL SSC Maastricht)" userId="475646eb-b23c-43c0-b2ae-71e1fde9b74e" providerId="ADAL" clId="{890514F7-C72F-4211-9DE5-A06BCBBB874E}"/>
    <pc:docChg chg="">
      <pc:chgData name="Bente De Rijke (DHL SSC Maastricht)" userId="475646eb-b23c-43c0-b2ae-71e1fde9b74e" providerId="ADAL" clId="{890514F7-C72F-4211-9DE5-A06BCBBB874E}" dt="2023-03-29T06:44:55.395" v="14"/>
      <pc:docMkLst>
        <pc:docMk/>
      </pc:docMkLst>
      <pc:sldChg chg="addCm">
        <pc:chgData name="Bente De Rijke (DHL SSC Maastricht)" userId="475646eb-b23c-43c0-b2ae-71e1fde9b74e" providerId="ADAL" clId="{890514F7-C72F-4211-9DE5-A06BCBBB874E}" dt="2023-03-29T06:26:04.368" v="1"/>
        <pc:sldMkLst>
          <pc:docMk/>
          <pc:sldMk cId="2770353991" sldId="288"/>
        </pc:sldMkLst>
      </pc:sldChg>
      <pc:sldChg chg="addCm">
        <pc:chgData name="Bente De Rijke (DHL SSC Maastricht)" userId="475646eb-b23c-43c0-b2ae-71e1fde9b74e" providerId="ADAL" clId="{890514F7-C72F-4211-9DE5-A06BCBBB874E}" dt="2023-03-29T06:27:59.665" v="3"/>
        <pc:sldMkLst>
          <pc:docMk/>
          <pc:sldMk cId="2805156081" sldId="293"/>
        </pc:sldMkLst>
      </pc:sldChg>
      <pc:sldChg chg="addCm modCm">
        <pc:chgData name="Bente De Rijke (DHL SSC Maastricht)" userId="475646eb-b23c-43c0-b2ae-71e1fde9b74e" providerId="ADAL" clId="{890514F7-C72F-4211-9DE5-A06BCBBB874E}" dt="2023-03-29T06:34:23.126" v="9"/>
        <pc:sldMkLst>
          <pc:docMk/>
          <pc:sldMk cId="1135528617" sldId="296"/>
        </pc:sldMkLst>
      </pc:sldChg>
      <pc:sldChg chg="addCm">
        <pc:chgData name="Bente De Rijke (DHL SSC Maastricht)" userId="475646eb-b23c-43c0-b2ae-71e1fde9b74e" providerId="ADAL" clId="{890514F7-C72F-4211-9DE5-A06BCBBB874E}" dt="2023-03-29T06:25:17.419" v="0"/>
        <pc:sldMkLst>
          <pc:docMk/>
          <pc:sldMk cId="881367480" sldId="297"/>
        </pc:sldMkLst>
      </pc:sldChg>
      <pc:sldChg chg="addCm modCm">
        <pc:chgData name="Bente De Rijke (DHL SSC Maastricht)" userId="475646eb-b23c-43c0-b2ae-71e1fde9b74e" providerId="ADAL" clId="{890514F7-C72F-4211-9DE5-A06BCBBB874E}" dt="2023-03-29T06:41:18.527" v="11"/>
        <pc:sldMkLst>
          <pc:docMk/>
          <pc:sldMk cId="2960814601" sldId="302"/>
        </pc:sldMkLst>
      </pc:sldChg>
      <pc:sldChg chg="addCm">
        <pc:chgData name="Bente De Rijke (DHL SSC Maastricht)" userId="475646eb-b23c-43c0-b2ae-71e1fde9b74e" providerId="ADAL" clId="{890514F7-C72F-4211-9DE5-A06BCBBB874E}" dt="2023-03-29T06:42:06.004" v="12"/>
        <pc:sldMkLst>
          <pc:docMk/>
          <pc:sldMk cId="787262473" sldId="308"/>
        </pc:sldMkLst>
      </pc:sldChg>
      <pc:sldChg chg="addCm">
        <pc:chgData name="Bente De Rijke (DHL SSC Maastricht)" userId="475646eb-b23c-43c0-b2ae-71e1fde9b74e" providerId="ADAL" clId="{890514F7-C72F-4211-9DE5-A06BCBBB874E}" dt="2023-03-29T06:42:35.858" v="13"/>
        <pc:sldMkLst>
          <pc:docMk/>
          <pc:sldMk cId="3703085558" sldId="315"/>
        </pc:sldMkLst>
      </pc:sldChg>
      <pc:sldChg chg="addCm">
        <pc:chgData name="Bente De Rijke (DHL SSC Maastricht)" userId="475646eb-b23c-43c0-b2ae-71e1fde9b74e" providerId="ADAL" clId="{890514F7-C72F-4211-9DE5-A06BCBBB874E}" dt="2023-03-29T06:44:55.395" v="14"/>
        <pc:sldMkLst>
          <pc:docMk/>
          <pc:sldMk cId="4246254376" sldId="325"/>
        </pc:sldMkLst>
      </pc:sldChg>
    </pc:docChg>
  </pc:docChgLst>
  <pc:docChgLst>
    <pc:chgData name="Jessica McKenna (DHL Supply Chain)" userId="S::jessica.mckenna@dhl.com::e51a7daa-cd54-45bd-b357-3a0c46f8280e" providerId="AD" clId="Web-{B2F085A3-388B-AD8F-210B-F966C6D0FA71}"/>
    <pc:docChg chg="sldOrd">
      <pc:chgData name="Jessica McKenna (DHL Supply Chain)" userId="S::jessica.mckenna@dhl.com::e51a7daa-cd54-45bd-b357-3a0c46f8280e" providerId="AD" clId="Web-{B2F085A3-388B-AD8F-210B-F966C6D0FA71}" dt="2023-08-30T11:56:25.489" v="0"/>
      <pc:docMkLst>
        <pc:docMk/>
      </pc:docMkLst>
      <pc:sldChg chg="ord">
        <pc:chgData name="Jessica McKenna (DHL Supply Chain)" userId="S::jessica.mckenna@dhl.com::e51a7daa-cd54-45bd-b357-3a0c46f8280e" providerId="AD" clId="Web-{B2F085A3-388B-AD8F-210B-F966C6D0FA71}" dt="2023-08-30T11:56:25.489" v="0"/>
        <pc:sldMkLst>
          <pc:docMk/>
          <pc:sldMk cId="754143519" sldId="398"/>
        </pc:sldMkLst>
      </pc:sldChg>
    </pc:docChg>
  </pc:docChgLst>
  <pc:docChgLst>
    <pc:chgData name="Hans Gelissen (DHL SSC Maastricht)" userId="1afa8510-4eed-4b73-a29e-678838cd8acd" providerId="ADAL" clId="{B3B9A9FE-3004-43DC-97A3-BA416ED15667}"/>
    <pc:docChg chg="undo redo custSel addSld delSld modSld sldOrd modMainMaster">
      <pc:chgData name="Hans Gelissen (DHL SSC Maastricht)" userId="1afa8510-4eed-4b73-a29e-678838cd8acd" providerId="ADAL" clId="{B3B9A9FE-3004-43DC-97A3-BA416ED15667}" dt="2023-03-29T07:40:25.223" v="7204" actId="1076"/>
      <pc:docMkLst>
        <pc:docMk/>
      </pc:docMkLst>
      <pc:sldChg chg="addSp delSp modSp mod modClrScheme chgLayout">
        <pc:chgData name="Hans Gelissen (DHL SSC Maastricht)" userId="1afa8510-4eed-4b73-a29e-678838cd8acd" providerId="ADAL" clId="{B3B9A9FE-3004-43DC-97A3-BA416ED15667}" dt="2023-03-27T13:26:09.689" v="3729" actId="700"/>
        <pc:sldMkLst>
          <pc:docMk/>
          <pc:sldMk cId="2338473233" sldId="258"/>
        </pc:sldMkLst>
        <pc:spChg chg="add del mod ord">
          <ac:chgData name="Hans Gelissen (DHL SSC Maastricht)" userId="1afa8510-4eed-4b73-a29e-678838cd8acd" providerId="ADAL" clId="{B3B9A9FE-3004-43DC-97A3-BA416ED15667}" dt="2023-03-27T09:42:08.863" v="23" actId="700"/>
          <ac:spMkLst>
            <pc:docMk/>
            <pc:sldMk cId="2338473233" sldId="258"/>
            <ac:spMk id="2" creationId="{3AB254AD-31D5-4ADD-A56B-B382B584C690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3:26:09.689" v="3729" actId="700"/>
          <ac:spMkLst>
            <pc:docMk/>
            <pc:sldMk cId="2338473233" sldId="258"/>
            <ac:spMk id="3" creationId="{6D6E7CE4-2A7C-47FD-AE9E-86763B9D3163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3:26:09.689" v="3729" actId="700"/>
          <ac:spMkLst>
            <pc:docMk/>
            <pc:sldMk cId="2338473233" sldId="258"/>
            <ac:spMk id="4" creationId="{7911E2F2-6F00-4F4C-8CDB-9650D08D9C38}"/>
          </ac:spMkLst>
        </pc:spChg>
        <pc:spChg chg="mod ord">
          <ac:chgData name="Hans Gelissen (DHL SSC Maastricht)" userId="1afa8510-4eed-4b73-a29e-678838cd8acd" providerId="ADAL" clId="{B3B9A9FE-3004-43DC-97A3-BA416ED15667}" dt="2023-03-27T13:26:09.689" v="3729" actId="700"/>
          <ac:spMkLst>
            <pc:docMk/>
            <pc:sldMk cId="2338473233" sldId="258"/>
            <ac:spMk id="13" creationId="{08A47195-4824-4907-8AE9-D7AD4BE08E28}"/>
          </ac:spMkLst>
        </pc:spChg>
        <pc:spChg chg="del mod ord">
          <ac:chgData name="Hans Gelissen (DHL SSC Maastricht)" userId="1afa8510-4eed-4b73-a29e-678838cd8acd" providerId="ADAL" clId="{B3B9A9FE-3004-43DC-97A3-BA416ED15667}" dt="2023-03-27T09:42:00.178" v="21" actId="700"/>
          <ac:spMkLst>
            <pc:docMk/>
            <pc:sldMk cId="2338473233" sldId="258"/>
            <ac:spMk id="14" creationId="{887328E7-1ABA-4A97-BD13-05DA9C2D8B9D}"/>
          </ac:spMkLst>
        </pc:spChg>
      </pc:sldChg>
      <pc:sldChg chg="del">
        <pc:chgData name="Hans Gelissen (DHL SSC Maastricht)" userId="1afa8510-4eed-4b73-a29e-678838cd8acd" providerId="ADAL" clId="{B3B9A9FE-3004-43DC-97A3-BA416ED15667}" dt="2023-03-28T12:14:27.266" v="6726" actId="47"/>
        <pc:sldMkLst>
          <pc:docMk/>
          <pc:sldMk cId="3223761135" sldId="282"/>
        </pc:sldMkLst>
      </pc:sldChg>
      <pc:sldChg chg="del">
        <pc:chgData name="Hans Gelissen (DHL SSC Maastricht)" userId="1afa8510-4eed-4b73-a29e-678838cd8acd" providerId="ADAL" clId="{B3B9A9FE-3004-43DC-97A3-BA416ED15667}" dt="2023-03-28T12:14:30.962" v="6730" actId="47"/>
        <pc:sldMkLst>
          <pc:docMk/>
          <pc:sldMk cId="2737807208" sldId="283"/>
        </pc:sldMkLst>
      </pc:sldChg>
      <pc:sldChg chg="addSp delSp modSp mod modClrScheme chgLayout">
        <pc:chgData name="Hans Gelissen (DHL SSC Maastricht)" userId="1afa8510-4eed-4b73-a29e-678838cd8acd" providerId="ADAL" clId="{B3B9A9FE-3004-43DC-97A3-BA416ED15667}" dt="2023-03-27T12:18:32.464" v="1997" actId="20577"/>
        <pc:sldMkLst>
          <pc:docMk/>
          <pc:sldMk cId="2219543139" sldId="284"/>
        </pc:sldMkLst>
        <pc:spChg chg="del">
          <ac:chgData name="Hans Gelissen (DHL SSC Maastricht)" userId="1afa8510-4eed-4b73-a29e-678838cd8acd" providerId="ADAL" clId="{B3B9A9FE-3004-43DC-97A3-BA416ED15667}" dt="2023-03-27T09:46:35.291" v="25" actId="700"/>
          <ac:spMkLst>
            <pc:docMk/>
            <pc:sldMk cId="2219543139" sldId="284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7T12:18:18.157" v="1972" actId="20577"/>
          <ac:spMkLst>
            <pc:docMk/>
            <pc:sldMk cId="2219543139" sldId="284"/>
            <ac:spMk id="3" creationId="{E9505191-D401-4B1F-A0FD-9DA8DF3EA35C}"/>
          </ac:spMkLst>
        </pc:spChg>
        <pc:spChg chg="add mod ord">
          <ac:chgData name="Hans Gelissen (DHL SSC Maastricht)" userId="1afa8510-4eed-4b73-a29e-678838cd8acd" providerId="ADAL" clId="{B3B9A9FE-3004-43DC-97A3-BA416ED15667}" dt="2023-03-27T12:18:24.442" v="1980" actId="20577"/>
          <ac:spMkLst>
            <pc:docMk/>
            <pc:sldMk cId="2219543139" sldId="284"/>
            <ac:spMk id="4" creationId="{CF6CC01A-D8F6-4AE1-A79C-B9423066DA29}"/>
          </ac:spMkLst>
        </pc:spChg>
        <pc:spChg chg="add mod ord">
          <ac:chgData name="Hans Gelissen (DHL SSC Maastricht)" userId="1afa8510-4eed-4b73-a29e-678838cd8acd" providerId="ADAL" clId="{B3B9A9FE-3004-43DC-97A3-BA416ED15667}" dt="2023-03-27T12:18:27.510" v="1984" actId="20577"/>
          <ac:spMkLst>
            <pc:docMk/>
            <pc:sldMk cId="2219543139" sldId="284"/>
            <ac:spMk id="5" creationId="{530A048D-D80F-4F76-9FB5-FE1C09E5CE0D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0:01:07.422" v="164" actId="700"/>
          <ac:spMkLst>
            <pc:docMk/>
            <pc:sldMk cId="2219543139" sldId="284"/>
            <ac:spMk id="6" creationId="{7B0F51BD-547C-4D53-B54D-321A49AB0210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0:01:14.056" v="165" actId="931"/>
          <ac:spMkLst>
            <pc:docMk/>
            <pc:sldMk cId="2219543139" sldId="284"/>
            <ac:spMk id="7" creationId="{5960D86A-F2A8-41C9-A7A5-AD22BF6FD187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0:01:43.265" v="167" actId="700"/>
          <ac:spMkLst>
            <pc:docMk/>
            <pc:sldMk cId="2219543139" sldId="284"/>
            <ac:spMk id="8" creationId="{8FDD3D5F-692B-42AE-B265-11225B583FA9}"/>
          </ac:spMkLst>
        </pc:spChg>
        <pc:spChg chg="add del mod">
          <ac:chgData name="Hans Gelissen (DHL SSC Maastricht)" userId="1afa8510-4eed-4b73-a29e-678838cd8acd" providerId="ADAL" clId="{B3B9A9FE-3004-43DC-97A3-BA416ED15667}" dt="2023-03-27T10:01:43.265" v="167" actId="700"/>
          <ac:spMkLst>
            <pc:docMk/>
            <pc:sldMk cId="2219543139" sldId="284"/>
            <ac:spMk id="12" creationId="{226764A9-CF6E-4597-AC73-1749F0C6D754}"/>
          </ac:spMkLst>
        </pc:spChg>
        <pc:spChg chg="add mod ord">
          <ac:chgData name="Hans Gelissen (DHL SSC Maastricht)" userId="1afa8510-4eed-4b73-a29e-678838cd8acd" providerId="ADAL" clId="{B3B9A9FE-3004-43DC-97A3-BA416ED15667}" dt="2023-03-27T12:18:32.464" v="1997" actId="20577"/>
          <ac:spMkLst>
            <pc:docMk/>
            <pc:sldMk cId="2219543139" sldId="284"/>
            <ac:spMk id="13" creationId="{FA76B5CC-DC49-478B-863A-771D8690CCD5}"/>
          </ac:spMkLst>
        </pc:spChg>
        <pc:picChg chg="add del mod">
          <ac:chgData name="Hans Gelissen (DHL SSC Maastricht)" userId="1afa8510-4eed-4b73-a29e-678838cd8acd" providerId="ADAL" clId="{B3B9A9FE-3004-43DC-97A3-BA416ED15667}" dt="2023-03-27T10:01:21.474" v="166" actId="478"/>
          <ac:picMkLst>
            <pc:docMk/>
            <pc:sldMk cId="2219543139" sldId="284"/>
            <ac:picMk id="10" creationId="{B2D4F0CC-7D8B-41BA-8231-C5C66DA78A88}"/>
          </ac:picMkLst>
        </pc:picChg>
      </pc:sldChg>
      <pc:sldChg chg="del">
        <pc:chgData name="Hans Gelissen (DHL SSC Maastricht)" userId="1afa8510-4eed-4b73-a29e-678838cd8acd" providerId="ADAL" clId="{B3B9A9FE-3004-43DC-97A3-BA416ED15667}" dt="2023-03-28T12:14:30.176" v="6728" actId="47"/>
        <pc:sldMkLst>
          <pc:docMk/>
          <pc:sldMk cId="2907131151" sldId="285"/>
        </pc:sldMkLst>
      </pc:sldChg>
      <pc:sldChg chg="del">
        <pc:chgData name="Hans Gelissen (DHL SSC Maastricht)" userId="1afa8510-4eed-4b73-a29e-678838cd8acd" providerId="ADAL" clId="{B3B9A9FE-3004-43DC-97A3-BA416ED15667}" dt="2023-03-28T12:14:30.520" v="6729" actId="47"/>
        <pc:sldMkLst>
          <pc:docMk/>
          <pc:sldMk cId="1318613216" sldId="286"/>
        </pc:sldMkLst>
      </pc:sldChg>
      <pc:sldChg chg="del">
        <pc:chgData name="Hans Gelissen (DHL SSC Maastricht)" userId="1afa8510-4eed-4b73-a29e-678838cd8acd" providerId="ADAL" clId="{B3B9A9FE-3004-43DC-97A3-BA416ED15667}" dt="2023-03-28T12:14:29.519" v="6727" actId="47"/>
        <pc:sldMkLst>
          <pc:docMk/>
          <pc:sldMk cId="787741321" sldId="287"/>
        </pc:sldMkLst>
      </pc:sldChg>
      <pc:sldChg chg="addSp delSp modSp add mod ord modClrScheme modCm chgLayout">
        <pc:chgData name="Hans Gelissen (DHL SSC Maastricht)" userId="1afa8510-4eed-4b73-a29e-678838cd8acd" providerId="ADAL" clId="{B3B9A9FE-3004-43DC-97A3-BA416ED15667}" dt="2023-03-29T07:15:59.392" v="7031"/>
        <pc:sldMkLst>
          <pc:docMk/>
          <pc:sldMk cId="2770353991" sldId="288"/>
        </pc:sldMkLst>
        <pc:spChg chg="del mod ord">
          <ac:chgData name="Hans Gelissen (DHL SSC Maastricht)" userId="1afa8510-4eed-4b73-a29e-678838cd8acd" providerId="ADAL" clId="{B3B9A9FE-3004-43DC-97A3-BA416ED15667}" dt="2023-03-27T09:47:58.732" v="59" actId="700"/>
          <ac:spMkLst>
            <pc:docMk/>
            <pc:sldMk cId="2770353991" sldId="288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7T10:00:07.086" v="152" actId="700"/>
          <ac:spMkLst>
            <pc:docMk/>
            <pc:sldMk cId="2770353991" sldId="288"/>
            <ac:spMk id="3" creationId="{041C8CD2-FA6F-476D-A0C0-119ADFF1FB4E}"/>
          </ac:spMkLst>
        </pc:spChg>
        <pc:spChg chg="mod">
          <ac:chgData name="Hans Gelissen (DHL SSC Maastricht)" userId="1afa8510-4eed-4b73-a29e-678838cd8acd" providerId="ADAL" clId="{B3B9A9FE-3004-43DC-97A3-BA416ED15667}" dt="2023-03-27T09:49:11.184" v="74" actId="1076"/>
          <ac:spMkLst>
            <pc:docMk/>
            <pc:sldMk cId="2770353991" sldId="288"/>
            <ac:spMk id="7" creationId="{E048A9FE-7DA6-4362-8961-FADBA90EF6D2}"/>
          </ac:spMkLst>
        </pc:spChg>
        <pc:spChg chg="mod">
          <ac:chgData name="Hans Gelissen (DHL SSC Maastricht)" userId="1afa8510-4eed-4b73-a29e-678838cd8acd" providerId="ADAL" clId="{B3B9A9FE-3004-43DC-97A3-BA416ED15667}" dt="2023-03-27T09:49:11.184" v="74" actId="1076"/>
          <ac:spMkLst>
            <pc:docMk/>
            <pc:sldMk cId="2770353991" sldId="288"/>
            <ac:spMk id="10" creationId="{5E7A8291-5416-43D5-B698-750E1D70A8D2}"/>
          </ac:spMkLst>
        </pc:spChg>
        <pc:spChg chg="mod">
          <ac:chgData name="Hans Gelissen (DHL SSC Maastricht)" userId="1afa8510-4eed-4b73-a29e-678838cd8acd" providerId="ADAL" clId="{B3B9A9FE-3004-43DC-97A3-BA416ED15667}" dt="2023-03-27T09:49:11.184" v="74" actId="1076"/>
          <ac:spMkLst>
            <pc:docMk/>
            <pc:sldMk cId="2770353991" sldId="288"/>
            <ac:spMk id="11" creationId="{3C4E862B-5215-4DD1-9973-7413638AA95A}"/>
          </ac:spMkLst>
        </pc:spChg>
        <pc:spChg chg="mod">
          <ac:chgData name="Hans Gelissen (DHL SSC Maastricht)" userId="1afa8510-4eed-4b73-a29e-678838cd8acd" providerId="ADAL" clId="{B3B9A9FE-3004-43DC-97A3-BA416ED15667}" dt="2023-03-27T09:49:11.184" v="74" actId="1076"/>
          <ac:spMkLst>
            <pc:docMk/>
            <pc:sldMk cId="2770353991" sldId="288"/>
            <ac:spMk id="12" creationId="{89F02069-7BC9-4FFB-835D-2AA4170469FA}"/>
          </ac:spMkLst>
        </pc:spChg>
        <pc:spChg chg="mod">
          <ac:chgData name="Hans Gelissen (DHL SSC Maastricht)" userId="1afa8510-4eed-4b73-a29e-678838cd8acd" providerId="ADAL" clId="{B3B9A9FE-3004-43DC-97A3-BA416ED15667}" dt="2023-03-27T09:49:11.184" v="74" actId="1076"/>
          <ac:spMkLst>
            <pc:docMk/>
            <pc:sldMk cId="2770353991" sldId="288"/>
            <ac:spMk id="13" creationId="{6AE14783-14B3-4D90-ACEE-5F7461E03B14}"/>
          </ac:spMkLst>
        </pc:spChg>
        <pc:spChg chg="mod">
          <ac:chgData name="Hans Gelissen (DHL SSC Maastricht)" userId="1afa8510-4eed-4b73-a29e-678838cd8acd" providerId="ADAL" clId="{B3B9A9FE-3004-43DC-97A3-BA416ED15667}" dt="2023-03-29T07:15:40.025" v="7028" actId="165"/>
          <ac:spMkLst>
            <pc:docMk/>
            <pc:sldMk cId="2770353991" sldId="288"/>
            <ac:spMk id="15" creationId="{1E34D171-7493-4946-8718-244ACEF81249}"/>
          </ac:spMkLst>
        </pc:spChg>
        <pc:spChg chg="mod">
          <ac:chgData name="Hans Gelissen (DHL SSC Maastricht)" userId="1afa8510-4eed-4b73-a29e-678838cd8acd" providerId="ADAL" clId="{B3B9A9FE-3004-43DC-97A3-BA416ED15667}" dt="2023-03-29T07:15:40.025" v="7028" actId="165"/>
          <ac:spMkLst>
            <pc:docMk/>
            <pc:sldMk cId="2770353991" sldId="288"/>
            <ac:spMk id="17" creationId="{C33CE444-B541-40C3-BBD3-0100FB626825}"/>
          </ac:spMkLst>
        </pc:spChg>
        <pc:spChg chg="mod">
          <ac:chgData name="Hans Gelissen (DHL SSC Maastricht)" userId="1afa8510-4eed-4b73-a29e-678838cd8acd" providerId="ADAL" clId="{B3B9A9FE-3004-43DC-97A3-BA416ED15667}" dt="2023-03-29T07:15:40.025" v="7028" actId="165"/>
          <ac:spMkLst>
            <pc:docMk/>
            <pc:sldMk cId="2770353991" sldId="288"/>
            <ac:spMk id="18" creationId="{8C5D45F9-0C85-4980-B286-B154C8D01395}"/>
          </ac:spMkLst>
        </pc:spChg>
        <pc:spChg chg="mod">
          <ac:chgData name="Hans Gelissen (DHL SSC Maastricht)" userId="1afa8510-4eed-4b73-a29e-678838cd8acd" providerId="ADAL" clId="{B3B9A9FE-3004-43DC-97A3-BA416ED15667}" dt="2023-03-29T07:15:40.025" v="7028" actId="165"/>
          <ac:spMkLst>
            <pc:docMk/>
            <pc:sldMk cId="2770353991" sldId="288"/>
            <ac:spMk id="19" creationId="{871D73BC-87E5-4AD6-8B13-94438DCF2CBB}"/>
          </ac:spMkLst>
        </pc:spChg>
        <pc:spChg chg="mod">
          <ac:chgData name="Hans Gelissen (DHL SSC Maastricht)" userId="1afa8510-4eed-4b73-a29e-678838cd8acd" providerId="ADAL" clId="{B3B9A9FE-3004-43DC-97A3-BA416ED15667}" dt="2023-03-29T07:15:40.025" v="7028" actId="165"/>
          <ac:spMkLst>
            <pc:docMk/>
            <pc:sldMk cId="2770353991" sldId="288"/>
            <ac:spMk id="20" creationId="{2CE2AE64-C546-425B-B0E7-22188370B6A0}"/>
          </ac:spMkLst>
        </pc:spChg>
        <pc:spChg chg="mod">
          <ac:chgData name="Hans Gelissen (DHL SSC Maastricht)" userId="1afa8510-4eed-4b73-a29e-678838cd8acd" providerId="ADAL" clId="{B3B9A9FE-3004-43DC-97A3-BA416ED15667}" dt="2023-03-27T09:49:11.184" v="74" actId="1076"/>
          <ac:spMkLst>
            <pc:docMk/>
            <pc:sldMk cId="2770353991" sldId="288"/>
            <ac:spMk id="22" creationId="{A6CE2AD1-8D99-48EC-B1A6-5A458955C1CC}"/>
          </ac:spMkLst>
        </pc:spChg>
        <pc:spChg chg="mod topLvl">
          <ac:chgData name="Hans Gelissen (DHL SSC Maastricht)" userId="1afa8510-4eed-4b73-a29e-678838cd8acd" providerId="ADAL" clId="{B3B9A9FE-3004-43DC-97A3-BA416ED15667}" dt="2023-03-29T07:15:47.297" v="7029" actId="164"/>
          <ac:spMkLst>
            <pc:docMk/>
            <pc:sldMk cId="2770353991" sldId="288"/>
            <ac:spMk id="25" creationId="{0515969F-96C9-4D62-8FC3-57504325E30D}"/>
          </ac:spMkLst>
        </pc:spChg>
        <pc:spChg chg="mod">
          <ac:chgData name="Hans Gelissen (DHL SSC Maastricht)" userId="1afa8510-4eed-4b73-a29e-678838cd8acd" providerId="ADAL" clId="{B3B9A9FE-3004-43DC-97A3-BA416ED15667}" dt="2023-03-29T07:15:40.025" v="7028" actId="165"/>
          <ac:spMkLst>
            <pc:docMk/>
            <pc:sldMk cId="2770353991" sldId="288"/>
            <ac:spMk id="28" creationId="{6830A36F-1663-4B48-B1D9-B8C3D1EB8D9E}"/>
          </ac:spMkLst>
        </pc:spChg>
        <pc:spChg chg="mod">
          <ac:chgData name="Hans Gelissen (DHL SSC Maastricht)" userId="1afa8510-4eed-4b73-a29e-678838cd8acd" providerId="ADAL" clId="{B3B9A9FE-3004-43DC-97A3-BA416ED15667}" dt="2023-03-29T07:15:40.025" v="7028" actId="165"/>
          <ac:spMkLst>
            <pc:docMk/>
            <pc:sldMk cId="2770353991" sldId="288"/>
            <ac:spMk id="31" creationId="{3F8D0AFC-3CD0-4BE4-9B04-0962E85641F7}"/>
          </ac:spMkLst>
        </pc:spChg>
        <pc:spChg chg="add mod">
          <ac:chgData name="Hans Gelissen (DHL SSC Maastricht)" userId="1afa8510-4eed-4b73-a29e-678838cd8acd" providerId="ADAL" clId="{B3B9A9FE-3004-43DC-97A3-BA416ED15667}" dt="2023-03-29T07:15:40.025" v="7028" actId="165"/>
          <ac:spMkLst>
            <pc:docMk/>
            <pc:sldMk cId="2770353991" sldId="288"/>
            <ac:spMk id="33" creationId="{F02309FE-D811-4CF7-8ABF-9CE6D5601360}"/>
          </ac:spMkLst>
        </pc:spChg>
        <pc:spChg chg="mod topLvl">
          <ac:chgData name="Hans Gelissen (DHL SSC Maastricht)" userId="1afa8510-4eed-4b73-a29e-678838cd8acd" providerId="ADAL" clId="{B3B9A9FE-3004-43DC-97A3-BA416ED15667}" dt="2023-03-29T07:15:40.025" v="7028" actId="165"/>
          <ac:spMkLst>
            <pc:docMk/>
            <pc:sldMk cId="2770353991" sldId="288"/>
            <ac:spMk id="36" creationId="{D59288E8-0B1F-457C-AD78-7A316A770DFD}"/>
          </ac:spMkLst>
        </pc:spChg>
        <pc:spChg chg="del mod">
          <ac:chgData name="Hans Gelissen (DHL SSC Maastricht)" userId="1afa8510-4eed-4b73-a29e-678838cd8acd" providerId="ADAL" clId="{B3B9A9FE-3004-43DC-97A3-BA416ED15667}" dt="2023-03-27T09:53:38.918" v="125" actId="478"/>
          <ac:spMkLst>
            <pc:docMk/>
            <pc:sldMk cId="2770353991" sldId="288"/>
            <ac:spMk id="38" creationId="{999AC8F7-B2D4-4D94-A6A3-32D9789F7784}"/>
          </ac:spMkLst>
        </pc:spChg>
        <pc:spChg chg="del mod">
          <ac:chgData name="Hans Gelissen (DHL SSC Maastricht)" userId="1afa8510-4eed-4b73-a29e-678838cd8acd" providerId="ADAL" clId="{B3B9A9FE-3004-43DC-97A3-BA416ED15667}" dt="2023-03-27T09:53:37.313" v="124" actId="478"/>
          <ac:spMkLst>
            <pc:docMk/>
            <pc:sldMk cId="2770353991" sldId="288"/>
            <ac:spMk id="39" creationId="{B9FB9134-BC35-43A9-8C40-FFE415CACED1}"/>
          </ac:spMkLst>
        </pc:spChg>
        <pc:spChg chg="del mod">
          <ac:chgData name="Hans Gelissen (DHL SSC Maastricht)" userId="1afa8510-4eed-4b73-a29e-678838cd8acd" providerId="ADAL" clId="{B3B9A9FE-3004-43DC-97A3-BA416ED15667}" dt="2023-03-27T09:53:35.791" v="123" actId="478"/>
          <ac:spMkLst>
            <pc:docMk/>
            <pc:sldMk cId="2770353991" sldId="288"/>
            <ac:spMk id="40" creationId="{B23DCD14-3A62-4A7D-B298-040ECA135D7E}"/>
          </ac:spMkLst>
        </pc:spChg>
        <pc:spChg chg="del mod topLvl">
          <ac:chgData name="Hans Gelissen (DHL SSC Maastricht)" userId="1afa8510-4eed-4b73-a29e-678838cd8acd" providerId="ADAL" clId="{B3B9A9FE-3004-43DC-97A3-BA416ED15667}" dt="2023-03-27T09:53:40.840" v="126" actId="478"/>
          <ac:spMkLst>
            <pc:docMk/>
            <pc:sldMk cId="2770353991" sldId="288"/>
            <ac:spMk id="41" creationId="{7C7D76C1-4B4A-4BB0-9874-4A01E1AC5D50}"/>
          </ac:spMkLst>
        </pc:spChg>
        <pc:spChg chg="add mod">
          <ac:chgData name="Hans Gelissen (DHL SSC Maastricht)" userId="1afa8510-4eed-4b73-a29e-678838cd8acd" providerId="ADAL" clId="{B3B9A9FE-3004-43DC-97A3-BA416ED15667}" dt="2023-03-29T07:15:40.025" v="7028" actId="165"/>
          <ac:spMkLst>
            <pc:docMk/>
            <pc:sldMk cId="2770353991" sldId="288"/>
            <ac:spMk id="42" creationId="{B56DB980-6D86-4336-ADCB-5BCA9695E44C}"/>
          </ac:spMkLst>
        </pc:spChg>
        <pc:grpChg chg="add mod">
          <ac:chgData name="Hans Gelissen (DHL SSC Maastricht)" userId="1afa8510-4eed-4b73-a29e-678838cd8acd" providerId="ADAL" clId="{B3B9A9FE-3004-43DC-97A3-BA416ED15667}" dt="2023-03-29T07:15:56.008" v="7030" actId="164"/>
          <ac:grpSpMkLst>
            <pc:docMk/>
            <pc:sldMk cId="2770353991" sldId="288"/>
            <ac:grpSpMk id="2" creationId="{564381F4-DBEC-4B15-91D7-37598D451777}"/>
          </ac:grpSpMkLst>
        </pc:grpChg>
        <pc:grpChg chg="add mod">
          <ac:chgData name="Hans Gelissen (DHL SSC Maastricht)" userId="1afa8510-4eed-4b73-a29e-678838cd8acd" providerId="ADAL" clId="{B3B9A9FE-3004-43DC-97A3-BA416ED15667}" dt="2023-03-29T07:15:56.008" v="7030" actId="164"/>
          <ac:grpSpMkLst>
            <pc:docMk/>
            <pc:sldMk cId="2770353991" sldId="288"/>
            <ac:grpSpMk id="4" creationId="{6E92E2D1-B950-4E7C-AB98-B63DD7E4A4F9}"/>
          </ac:grpSpMkLst>
        </pc:grpChg>
        <pc:grpChg chg="add del mod">
          <ac:chgData name="Hans Gelissen (DHL SSC Maastricht)" userId="1afa8510-4eed-4b73-a29e-678838cd8acd" providerId="ADAL" clId="{B3B9A9FE-3004-43DC-97A3-BA416ED15667}" dt="2023-03-27T09:53:29.829" v="120" actId="478"/>
          <ac:grpSpMkLst>
            <pc:docMk/>
            <pc:sldMk cId="2770353991" sldId="288"/>
            <ac:grpSpMk id="6" creationId="{B48CA0E0-8E2D-4771-979A-4FFB8A3712F5}"/>
          </ac:grpSpMkLst>
        </pc:grpChg>
        <pc:grpChg chg="mod">
          <ac:chgData name="Hans Gelissen (DHL SSC Maastricht)" userId="1afa8510-4eed-4b73-a29e-678838cd8acd" providerId="ADAL" clId="{B3B9A9FE-3004-43DC-97A3-BA416ED15667}" dt="2023-03-27T09:49:11.184" v="74" actId="1076"/>
          <ac:grpSpMkLst>
            <pc:docMk/>
            <pc:sldMk cId="2770353991" sldId="288"/>
            <ac:grpSpMk id="8" creationId="{796EF3B0-F7B1-47C8-A4EB-4DF0EA2E71A5}"/>
          </ac:grpSpMkLst>
        </pc:grpChg>
        <pc:grpChg chg="add mod topLvl">
          <ac:chgData name="Hans Gelissen (DHL SSC Maastricht)" userId="1afa8510-4eed-4b73-a29e-678838cd8acd" providerId="ADAL" clId="{B3B9A9FE-3004-43DC-97A3-BA416ED15667}" dt="2023-03-29T07:15:56.008" v="7030" actId="164"/>
          <ac:grpSpMkLst>
            <pc:docMk/>
            <pc:sldMk cId="2770353991" sldId="288"/>
            <ac:grpSpMk id="14" creationId="{F40AD80F-C076-4973-B807-CC8F2D65FAF5}"/>
          </ac:grpSpMkLst>
        </pc:grpChg>
        <pc:grpChg chg="mod">
          <ac:chgData name="Hans Gelissen (DHL SSC Maastricht)" userId="1afa8510-4eed-4b73-a29e-678838cd8acd" providerId="ADAL" clId="{B3B9A9FE-3004-43DC-97A3-BA416ED15667}" dt="2023-03-29T07:15:40.025" v="7028" actId="165"/>
          <ac:grpSpMkLst>
            <pc:docMk/>
            <pc:sldMk cId="2770353991" sldId="288"/>
            <ac:grpSpMk id="16" creationId="{CB6976D2-9B3F-4522-BAD8-396E62AE9622}"/>
          </ac:grpSpMkLst>
        </pc:grpChg>
        <pc:grpChg chg="add del mod">
          <ac:chgData name="Hans Gelissen (DHL SSC Maastricht)" userId="1afa8510-4eed-4b73-a29e-678838cd8acd" providerId="ADAL" clId="{B3B9A9FE-3004-43DC-97A3-BA416ED15667}" dt="2023-03-27T09:49:24.081" v="75" actId="478"/>
          <ac:grpSpMkLst>
            <pc:docMk/>
            <pc:sldMk cId="2770353991" sldId="288"/>
            <ac:grpSpMk id="21" creationId="{28088E06-F607-41FD-ABE8-60F5F59A15A0}"/>
          </ac:grpSpMkLst>
        </pc:grpChg>
        <pc:grpChg chg="add del mod">
          <ac:chgData name="Hans Gelissen (DHL SSC Maastricht)" userId="1afa8510-4eed-4b73-a29e-678838cd8acd" providerId="ADAL" clId="{B3B9A9FE-3004-43DC-97A3-BA416ED15667}" dt="2023-03-29T07:15:02.652" v="7016" actId="478"/>
          <ac:grpSpMkLst>
            <pc:docMk/>
            <pc:sldMk cId="2770353991" sldId="288"/>
            <ac:grpSpMk id="24" creationId="{3E2F1D2B-9681-4A30-8C2D-258E74BC4274}"/>
          </ac:grpSpMkLst>
        </pc:grpChg>
        <pc:grpChg chg="add mod topLvl">
          <ac:chgData name="Hans Gelissen (DHL SSC Maastricht)" userId="1afa8510-4eed-4b73-a29e-678838cd8acd" providerId="ADAL" clId="{B3B9A9FE-3004-43DC-97A3-BA416ED15667}" dt="2023-03-29T07:15:56.008" v="7030" actId="164"/>
          <ac:grpSpMkLst>
            <pc:docMk/>
            <pc:sldMk cId="2770353991" sldId="288"/>
            <ac:grpSpMk id="27" creationId="{6905B6D7-8B88-4ED6-9440-7A11839ED3AE}"/>
          </ac:grpSpMkLst>
        </pc:grpChg>
        <pc:grpChg chg="add del mod">
          <ac:chgData name="Hans Gelissen (DHL SSC Maastricht)" userId="1afa8510-4eed-4b73-a29e-678838cd8acd" providerId="ADAL" clId="{B3B9A9FE-3004-43DC-97A3-BA416ED15667}" dt="2023-03-27T09:50:33.046" v="82" actId="478"/>
          <ac:grpSpMkLst>
            <pc:docMk/>
            <pc:sldMk cId="2770353991" sldId="288"/>
            <ac:grpSpMk id="30" creationId="{9FE0EEDC-D904-43D7-AC50-3D681D61CBDB}"/>
          </ac:grpSpMkLst>
        </pc:grpChg>
        <pc:grpChg chg="add mod topLvl">
          <ac:chgData name="Hans Gelissen (DHL SSC Maastricht)" userId="1afa8510-4eed-4b73-a29e-678838cd8acd" providerId="ADAL" clId="{B3B9A9FE-3004-43DC-97A3-BA416ED15667}" dt="2023-03-29T07:15:56.008" v="7030" actId="164"/>
          <ac:grpSpMkLst>
            <pc:docMk/>
            <pc:sldMk cId="2770353991" sldId="288"/>
            <ac:grpSpMk id="34" creationId="{A3876A19-DFC0-4A4A-8743-9850641D92D8}"/>
          </ac:grpSpMkLst>
        </pc:grpChg>
        <pc:grpChg chg="add del mod">
          <ac:chgData name="Hans Gelissen (DHL SSC Maastricht)" userId="1afa8510-4eed-4b73-a29e-678838cd8acd" providerId="ADAL" clId="{B3B9A9FE-3004-43DC-97A3-BA416ED15667}" dt="2023-03-27T09:53:40.840" v="126" actId="478"/>
          <ac:grpSpMkLst>
            <pc:docMk/>
            <pc:sldMk cId="2770353991" sldId="288"/>
            <ac:grpSpMk id="35" creationId="{C6C32F8F-8796-475C-894C-9340C0C01E1D}"/>
          </ac:grpSpMkLst>
        </pc:grpChg>
        <pc:grpChg chg="del mod">
          <ac:chgData name="Hans Gelissen (DHL SSC Maastricht)" userId="1afa8510-4eed-4b73-a29e-678838cd8acd" providerId="ADAL" clId="{B3B9A9FE-3004-43DC-97A3-BA416ED15667}" dt="2023-03-27T09:53:37.313" v="124" actId="478"/>
          <ac:grpSpMkLst>
            <pc:docMk/>
            <pc:sldMk cId="2770353991" sldId="288"/>
            <ac:grpSpMk id="37" creationId="{6FD62EDC-D958-4CD9-87B2-4B8B2A4F19B6}"/>
          </ac:grpSpMkLst>
        </pc:grpChg>
        <pc:grpChg chg="add mod topLvl">
          <ac:chgData name="Hans Gelissen (DHL SSC Maastricht)" userId="1afa8510-4eed-4b73-a29e-678838cd8acd" providerId="ADAL" clId="{B3B9A9FE-3004-43DC-97A3-BA416ED15667}" dt="2023-03-29T07:15:56.008" v="7030" actId="164"/>
          <ac:grpSpMkLst>
            <pc:docMk/>
            <pc:sldMk cId="2770353991" sldId="288"/>
            <ac:grpSpMk id="43" creationId="{A9C5672D-ED68-4BFC-ABB7-F49966619428}"/>
          </ac:grpSpMkLst>
        </pc:grpChg>
        <pc:grpChg chg="add mod topLvl">
          <ac:chgData name="Hans Gelissen (DHL SSC Maastricht)" userId="1afa8510-4eed-4b73-a29e-678838cd8acd" providerId="ADAL" clId="{B3B9A9FE-3004-43DC-97A3-BA416ED15667}" dt="2023-03-29T07:15:56.008" v="7030" actId="164"/>
          <ac:grpSpMkLst>
            <pc:docMk/>
            <pc:sldMk cId="2770353991" sldId="288"/>
            <ac:grpSpMk id="44" creationId="{BCD76AB5-AF84-4C33-BC28-EE60927E2C03}"/>
          </ac:grpSpMkLst>
        </pc:grpChg>
        <pc:grpChg chg="add del mod">
          <ac:chgData name="Hans Gelissen (DHL SSC Maastricht)" userId="1afa8510-4eed-4b73-a29e-678838cd8acd" providerId="ADAL" clId="{B3B9A9FE-3004-43DC-97A3-BA416ED15667}" dt="2023-03-29T07:15:40.025" v="7028" actId="165"/>
          <ac:grpSpMkLst>
            <pc:docMk/>
            <pc:sldMk cId="2770353991" sldId="288"/>
            <ac:grpSpMk id="45" creationId="{2EE6DD1A-7EBC-4C47-B5E2-838E252FB532}"/>
          </ac:grpSpMkLst>
        </pc:grpChg>
        <pc:picChg chg="add del mod">
          <ac:chgData name="Hans Gelissen (DHL SSC Maastricht)" userId="1afa8510-4eed-4b73-a29e-678838cd8acd" providerId="ADAL" clId="{B3B9A9FE-3004-43DC-97A3-BA416ED15667}" dt="2023-03-27T09:53:45.572" v="127" actId="478"/>
          <ac:picMkLst>
            <pc:docMk/>
            <pc:sldMk cId="2770353991" sldId="288"/>
            <ac:picMk id="4" creationId="{BFB0CE74-CFD5-4D14-A5A5-A8382C8B88D8}"/>
          </ac:picMkLst>
        </pc:picChg>
        <pc:picChg chg="add del mod">
          <ac:chgData name="Hans Gelissen (DHL SSC Maastricht)" userId="1afa8510-4eed-4b73-a29e-678838cd8acd" providerId="ADAL" clId="{B3B9A9FE-3004-43DC-97A3-BA416ED15667}" dt="2023-03-27T09:50:25.899" v="79" actId="478"/>
          <ac:picMkLst>
            <pc:docMk/>
            <pc:sldMk cId="2770353991" sldId="288"/>
            <ac:picMk id="5" creationId="{1D5A0DFE-AC6B-4562-AFAD-C885E8B44710}"/>
          </ac:picMkLst>
        </pc:picChg>
        <pc:picChg chg="mod">
          <ac:chgData name="Hans Gelissen (DHL SSC Maastricht)" userId="1afa8510-4eed-4b73-a29e-678838cd8acd" providerId="ADAL" clId="{B3B9A9FE-3004-43DC-97A3-BA416ED15667}" dt="2023-03-27T09:49:11.184" v="74" actId="1076"/>
          <ac:picMkLst>
            <pc:docMk/>
            <pc:sldMk cId="2770353991" sldId="288"/>
            <ac:picMk id="23" creationId="{35C03D51-818D-43A8-B15B-6334E111C8B2}"/>
          </ac:picMkLst>
        </pc:picChg>
        <pc:picChg chg="del mod">
          <ac:chgData name="Hans Gelissen (DHL SSC Maastricht)" userId="1afa8510-4eed-4b73-a29e-678838cd8acd" providerId="ADAL" clId="{B3B9A9FE-3004-43DC-97A3-BA416ED15667}" dt="2023-03-29T07:15:02.652" v="7016" actId="478"/>
          <ac:picMkLst>
            <pc:docMk/>
            <pc:sldMk cId="2770353991" sldId="288"/>
            <ac:picMk id="26" creationId="{BC396F02-7B54-4532-95F0-EDE425C35C0B}"/>
          </ac:picMkLst>
        </pc:picChg>
        <pc:picChg chg="mod">
          <ac:chgData name="Hans Gelissen (DHL SSC Maastricht)" userId="1afa8510-4eed-4b73-a29e-678838cd8acd" providerId="ADAL" clId="{B3B9A9FE-3004-43DC-97A3-BA416ED15667}" dt="2023-03-29T07:15:40.025" v="7028" actId="165"/>
          <ac:picMkLst>
            <pc:docMk/>
            <pc:sldMk cId="2770353991" sldId="288"/>
            <ac:picMk id="29" creationId="{1D877FC8-AF0C-4F0C-8F9F-A5B10B737F9B}"/>
          </ac:picMkLst>
        </pc:picChg>
        <pc:picChg chg="del mod">
          <ac:chgData name="Hans Gelissen (DHL SSC Maastricht)" userId="1afa8510-4eed-4b73-a29e-678838cd8acd" providerId="ADAL" clId="{B3B9A9FE-3004-43DC-97A3-BA416ED15667}" dt="2023-03-27T09:50:33.046" v="82" actId="478"/>
          <ac:picMkLst>
            <pc:docMk/>
            <pc:sldMk cId="2770353991" sldId="288"/>
            <ac:picMk id="32" creationId="{B0562160-97B8-428F-A90C-4E369C896574}"/>
          </ac:picMkLst>
        </pc:picChg>
        <pc:picChg chg="add mod">
          <ac:chgData name="Hans Gelissen (DHL SSC Maastricht)" userId="1afa8510-4eed-4b73-a29e-678838cd8acd" providerId="ADAL" clId="{B3B9A9FE-3004-43DC-97A3-BA416ED15667}" dt="2023-03-29T07:15:47.297" v="7029" actId="164"/>
          <ac:picMkLst>
            <pc:docMk/>
            <pc:sldMk cId="2770353991" sldId="288"/>
            <ac:picMk id="1026" creationId="{1BFC7854-A838-4D70-9795-9D45D93D1133}"/>
          </ac:picMkLst>
        </pc:picChg>
        <pc:picChg chg="add del mod">
          <ac:chgData name="Hans Gelissen (DHL SSC Maastricht)" userId="1afa8510-4eed-4b73-a29e-678838cd8acd" providerId="ADAL" clId="{B3B9A9FE-3004-43DC-97A3-BA416ED15667}" dt="2023-03-27T09:54:37.032" v="135" actId="478"/>
          <ac:picMkLst>
            <pc:docMk/>
            <pc:sldMk cId="2770353991" sldId="288"/>
            <ac:picMk id="1026" creationId="{244B73C4-7263-44B7-B313-40AEEBB1E3C9}"/>
          </ac:picMkLst>
        </pc:picChg>
        <pc:picChg chg="add mod">
          <ac:chgData name="Hans Gelissen (DHL SSC Maastricht)" userId="1afa8510-4eed-4b73-a29e-678838cd8acd" providerId="ADAL" clId="{B3B9A9FE-3004-43DC-97A3-BA416ED15667}" dt="2023-03-29T07:15:40.025" v="7028" actId="165"/>
          <ac:picMkLst>
            <pc:docMk/>
            <pc:sldMk cId="2770353991" sldId="288"/>
            <ac:picMk id="1028" creationId="{6A787EBE-B5F9-447F-A918-E568C6239224}"/>
          </ac:picMkLst>
        </pc:picChg>
        <pc:picChg chg="add mod">
          <ac:chgData name="Hans Gelissen (DHL SSC Maastricht)" userId="1afa8510-4eed-4b73-a29e-678838cd8acd" providerId="ADAL" clId="{B3B9A9FE-3004-43DC-97A3-BA416ED15667}" dt="2023-03-29T07:15:40.025" v="7028" actId="165"/>
          <ac:picMkLst>
            <pc:docMk/>
            <pc:sldMk cId="2770353991" sldId="288"/>
            <ac:picMk id="1030" creationId="{6EDBF8EB-587B-4AA6-9BAE-12084705404F}"/>
          </ac:picMkLst>
        </pc:picChg>
        <pc:cxnChg chg="mod">
          <ac:chgData name="Hans Gelissen (DHL SSC Maastricht)" userId="1afa8510-4eed-4b73-a29e-678838cd8acd" providerId="ADAL" clId="{B3B9A9FE-3004-43DC-97A3-BA416ED15667}" dt="2023-03-27T09:49:11.184" v="74" actId="1076"/>
          <ac:cxnSpMkLst>
            <pc:docMk/>
            <pc:sldMk cId="2770353991" sldId="288"/>
            <ac:cxnSpMk id="9" creationId="{6CB0B62B-E77B-45C4-A207-F72AE06B56B5}"/>
          </ac:cxnSpMkLst>
        </pc:cxnChg>
      </pc:sldChg>
      <pc:sldChg chg="addSp delSp modSp add del mod modClrScheme chgLayout">
        <pc:chgData name="Hans Gelissen (DHL SSC Maastricht)" userId="1afa8510-4eed-4b73-a29e-678838cd8acd" providerId="ADAL" clId="{B3B9A9FE-3004-43DC-97A3-BA416ED15667}" dt="2023-03-27T12:33:34.087" v="2550" actId="47"/>
        <pc:sldMkLst>
          <pc:docMk/>
          <pc:sldMk cId="2681949202" sldId="289"/>
        </pc:sldMkLst>
        <pc:spChg chg="mod ord">
          <ac:chgData name="Hans Gelissen (DHL SSC Maastricht)" userId="1afa8510-4eed-4b73-a29e-678838cd8acd" providerId="ADAL" clId="{B3B9A9FE-3004-43DC-97A3-BA416ED15667}" dt="2023-03-27T11:41:41.320" v="1023" actId="700"/>
          <ac:spMkLst>
            <pc:docMk/>
            <pc:sldMk cId="2681949202" sldId="289"/>
            <ac:spMk id="2" creationId="{861444EB-F7AC-4C40-8F0E-916778EE475D}"/>
          </ac:spMkLst>
        </pc:spChg>
        <pc:spChg chg="add del mod">
          <ac:chgData name="Hans Gelissen (DHL SSC Maastricht)" userId="1afa8510-4eed-4b73-a29e-678838cd8acd" providerId="ADAL" clId="{B3B9A9FE-3004-43DC-97A3-BA416ED15667}" dt="2023-03-27T10:03:11.007" v="205" actId="478"/>
          <ac:spMkLst>
            <pc:docMk/>
            <pc:sldMk cId="2681949202" sldId="289"/>
            <ac:spMk id="3" creationId="{A4704EC6-C4B2-4A60-95D6-D10CF827D5B2}"/>
          </ac:spMkLst>
        </pc:spChg>
        <pc:spChg chg="add mod">
          <ac:chgData name="Hans Gelissen (DHL SSC Maastricht)" userId="1afa8510-4eed-4b73-a29e-678838cd8acd" providerId="ADAL" clId="{B3B9A9FE-3004-43DC-97A3-BA416ED15667}" dt="2023-03-27T12:18:42.473" v="1998" actId="12"/>
          <ac:spMkLst>
            <pc:docMk/>
            <pc:sldMk cId="2681949202" sldId="289"/>
            <ac:spMk id="4" creationId="{A7182D34-7171-412D-A186-2485BD17AB25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41:41.320" v="1023" actId="700"/>
          <ac:spMkLst>
            <pc:docMk/>
            <pc:sldMk cId="2681949202" sldId="289"/>
            <ac:spMk id="5" creationId="{7EC9B65D-210E-41CF-9BFA-9BFB61BEDE3A}"/>
          </ac:spMkLst>
        </pc:spChg>
        <pc:spChg chg="add mod">
          <ac:chgData name="Hans Gelissen (DHL SSC Maastricht)" userId="1afa8510-4eed-4b73-a29e-678838cd8acd" providerId="ADAL" clId="{B3B9A9FE-3004-43DC-97A3-BA416ED15667}" dt="2023-03-27T10:11:56.266" v="488" actId="14100"/>
          <ac:spMkLst>
            <pc:docMk/>
            <pc:sldMk cId="2681949202" sldId="289"/>
            <ac:spMk id="6" creationId="{A49E5AED-00B8-454A-80DB-6CC1A297AAE3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41:41.320" v="1023" actId="700"/>
          <ac:spMkLst>
            <pc:docMk/>
            <pc:sldMk cId="2681949202" sldId="289"/>
            <ac:spMk id="7" creationId="{3AA5F427-5485-4ABC-B135-93E14800125B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41:41.320" v="1023" actId="700"/>
          <ac:spMkLst>
            <pc:docMk/>
            <pc:sldMk cId="2681949202" sldId="289"/>
            <ac:spMk id="8" creationId="{1E883606-1973-4063-8656-8976D4862BCF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41:41.320" v="1023" actId="700"/>
          <ac:spMkLst>
            <pc:docMk/>
            <pc:sldMk cId="2681949202" sldId="289"/>
            <ac:spMk id="9" creationId="{346FEA56-51A3-4892-9895-5F462DD9D6BC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41:41.320" v="1023" actId="700"/>
          <ac:spMkLst>
            <pc:docMk/>
            <pc:sldMk cId="2681949202" sldId="289"/>
            <ac:spMk id="10" creationId="{15C42F5E-C04E-43DE-993D-5F24A80F87C9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41:41.320" v="1023" actId="700"/>
          <ac:spMkLst>
            <pc:docMk/>
            <pc:sldMk cId="2681949202" sldId="289"/>
            <ac:spMk id="11" creationId="{C7D2F663-7A51-4E81-8F01-D7FB829D71E1}"/>
          </ac:spMkLst>
        </pc:spChg>
        <pc:picChg chg="add mod">
          <ac:chgData name="Hans Gelissen (DHL SSC Maastricht)" userId="1afa8510-4eed-4b73-a29e-678838cd8acd" providerId="ADAL" clId="{B3B9A9FE-3004-43DC-97A3-BA416ED15667}" dt="2023-03-27T10:11:59.905" v="489" actId="1076"/>
          <ac:picMkLst>
            <pc:docMk/>
            <pc:sldMk cId="2681949202" sldId="289"/>
            <ac:picMk id="2050" creationId="{6270FCF0-693A-4375-8AB1-2AB88EB66564}"/>
          </ac:picMkLst>
        </pc:pic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9T07:40:25.223" v="7204" actId="1076"/>
        <pc:sldMkLst>
          <pc:docMk/>
          <pc:sldMk cId="3019530908" sldId="290"/>
        </pc:sldMkLst>
        <pc:spChg chg="mod ord">
          <ac:chgData name="Hans Gelissen (DHL SSC Maastricht)" userId="1afa8510-4eed-4b73-a29e-678838cd8acd" providerId="ADAL" clId="{B3B9A9FE-3004-43DC-97A3-BA416ED15667}" dt="2023-03-27T12:17:33.429" v="1959" actId="700"/>
          <ac:spMkLst>
            <pc:docMk/>
            <pc:sldMk cId="3019530908" sldId="290"/>
            <ac:spMk id="2" creationId="{861444EB-F7AC-4C40-8F0E-916778EE475D}"/>
          </ac:spMkLst>
        </pc:spChg>
        <pc:spChg chg="add del mod">
          <ac:chgData name="Hans Gelissen (DHL SSC Maastricht)" userId="1afa8510-4eed-4b73-a29e-678838cd8acd" providerId="ADAL" clId="{B3B9A9FE-3004-43DC-97A3-BA416ED15667}" dt="2023-03-27T11:50:35.693" v="1479" actId="478"/>
          <ac:spMkLst>
            <pc:docMk/>
            <pc:sldMk cId="3019530908" sldId="290"/>
            <ac:spMk id="3" creationId="{B859E4E2-5A3E-40FF-AD64-CE8F6A61569C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2:05:03.861" v="1657" actId="478"/>
          <ac:spMkLst>
            <pc:docMk/>
            <pc:sldMk cId="3019530908" sldId="290"/>
            <ac:spMk id="26" creationId="{EA872502-A01C-4A8C-B7F6-83C2C17366BA}"/>
          </ac:spMkLst>
        </pc:spChg>
        <pc:spChg chg="add mod">
          <ac:chgData name="Hans Gelissen (DHL SSC Maastricht)" userId="1afa8510-4eed-4b73-a29e-678838cd8acd" providerId="ADAL" clId="{B3B9A9FE-3004-43DC-97A3-BA416ED15667}" dt="2023-03-29T07:39:46.876" v="7192" actId="1076"/>
          <ac:spMkLst>
            <pc:docMk/>
            <pc:sldMk cId="3019530908" sldId="290"/>
            <ac:spMk id="105" creationId="{14D66AFD-8637-4E54-BAB6-5F5E8487FDD0}"/>
          </ac:spMkLst>
        </pc:spChg>
        <pc:spChg chg="add mod">
          <ac:chgData name="Hans Gelissen (DHL SSC Maastricht)" userId="1afa8510-4eed-4b73-a29e-678838cd8acd" providerId="ADAL" clId="{B3B9A9FE-3004-43DC-97A3-BA416ED15667}" dt="2023-03-27T12:11:57.043" v="1790" actId="571"/>
          <ac:spMkLst>
            <pc:docMk/>
            <pc:sldMk cId="3019530908" sldId="290"/>
            <ac:spMk id="106" creationId="{FC6D991C-AA7C-4645-9CB3-F29D39718E4A}"/>
          </ac:spMkLst>
        </pc:spChg>
        <pc:spChg chg="add mod">
          <ac:chgData name="Hans Gelissen (DHL SSC Maastricht)" userId="1afa8510-4eed-4b73-a29e-678838cd8acd" providerId="ADAL" clId="{B3B9A9FE-3004-43DC-97A3-BA416ED15667}" dt="2023-03-29T07:39:57.487" v="7196" actId="1076"/>
          <ac:spMkLst>
            <pc:docMk/>
            <pc:sldMk cId="3019530908" sldId="290"/>
            <ac:spMk id="110" creationId="{90DEDB20-2E2E-4283-8731-1AB0E407854B}"/>
          </ac:spMkLst>
        </pc:spChg>
        <pc:spChg chg="add mod">
          <ac:chgData name="Hans Gelissen (DHL SSC Maastricht)" userId="1afa8510-4eed-4b73-a29e-678838cd8acd" providerId="ADAL" clId="{B3B9A9FE-3004-43DC-97A3-BA416ED15667}" dt="2023-03-29T07:39:49.837" v="7193" actId="14100"/>
          <ac:spMkLst>
            <pc:docMk/>
            <pc:sldMk cId="3019530908" sldId="290"/>
            <ac:spMk id="111" creationId="{2C02DF34-16EF-40B2-81A7-5D3D2BAD0A32}"/>
          </ac:spMkLst>
        </pc:spChg>
        <pc:spChg chg="add mod">
          <ac:chgData name="Hans Gelissen (DHL SSC Maastricht)" userId="1afa8510-4eed-4b73-a29e-678838cd8acd" providerId="ADAL" clId="{B3B9A9FE-3004-43DC-97A3-BA416ED15667}" dt="2023-03-29T07:40:15.177" v="7202" actId="1076"/>
          <ac:spMkLst>
            <pc:docMk/>
            <pc:sldMk cId="3019530908" sldId="290"/>
            <ac:spMk id="112" creationId="{684CBDF8-908C-45F1-8487-67FAE14D5AAA}"/>
          </ac:spMkLst>
        </pc:spChg>
        <pc:spChg chg="add mod">
          <ac:chgData name="Hans Gelissen (DHL SSC Maastricht)" userId="1afa8510-4eed-4b73-a29e-678838cd8acd" providerId="ADAL" clId="{B3B9A9FE-3004-43DC-97A3-BA416ED15667}" dt="2023-03-29T07:40:25.223" v="7204" actId="1076"/>
          <ac:spMkLst>
            <pc:docMk/>
            <pc:sldMk cId="3019530908" sldId="290"/>
            <ac:spMk id="113" creationId="{498886EA-4825-42D5-8718-404A040DB0B3}"/>
          </ac:spMkLst>
        </pc:spChg>
        <pc:spChg chg="add mod">
          <ac:chgData name="Hans Gelissen (DHL SSC Maastricht)" userId="1afa8510-4eed-4b73-a29e-678838cd8acd" providerId="ADAL" clId="{B3B9A9FE-3004-43DC-97A3-BA416ED15667}" dt="2023-03-27T12:16:18.578" v="1955" actId="1038"/>
          <ac:spMkLst>
            <pc:docMk/>
            <pc:sldMk cId="3019530908" sldId="290"/>
            <ac:spMk id="116" creationId="{C9E8C06F-1E3C-4270-A930-CCDC36C899D8}"/>
          </ac:spMkLst>
        </pc:spChg>
        <pc:spChg chg="add mod">
          <ac:chgData name="Hans Gelissen (DHL SSC Maastricht)" userId="1afa8510-4eed-4b73-a29e-678838cd8acd" providerId="ADAL" clId="{B3B9A9FE-3004-43DC-97A3-BA416ED15667}" dt="2023-03-27T12:16:18.578" v="1955" actId="1038"/>
          <ac:spMkLst>
            <pc:docMk/>
            <pc:sldMk cId="3019530908" sldId="290"/>
            <ac:spMk id="117" creationId="{4E392771-D880-4093-B076-7B2E39536688}"/>
          </ac:spMkLst>
        </pc:spChg>
        <pc:spChg chg="add mod">
          <ac:chgData name="Hans Gelissen (DHL SSC Maastricht)" userId="1afa8510-4eed-4b73-a29e-678838cd8acd" providerId="ADAL" clId="{B3B9A9FE-3004-43DC-97A3-BA416ED15667}" dt="2023-03-27T12:16:18.578" v="1955" actId="1038"/>
          <ac:spMkLst>
            <pc:docMk/>
            <pc:sldMk cId="3019530908" sldId="290"/>
            <ac:spMk id="118" creationId="{48BBAE17-69F5-428D-A5FC-4CDFBEC9FC9F}"/>
          </ac:spMkLst>
        </pc:spChg>
        <pc:spChg chg="add mod">
          <ac:chgData name="Hans Gelissen (DHL SSC Maastricht)" userId="1afa8510-4eed-4b73-a29e-678838cd8acd" providerId="ADAL" clId="{B3B9A9FE-3004-43DC-97A3-BA416ED15667}" dt="2023-03-27T12:16:18.578" v="1955" actId="1038"/>
          <ac:spMkLst>
            <pc:docMk/>
            <pc:sldMk cId="3019530908" sldId="290"/>
            <ac:spMk id="119" creationId="{57AB3970-57B4-417A-8ECA-3738B859E55F}"/>
          </ac:spMkLst>
        </pc:spChg>
        <pc:spChg chg="add mod">
          <ac:chgData name="Hans Gelissen (DHL SSC Maastricht)" userId="1afa8510-4eed-4b73-a29e-678838cd8acd" providerId="ADAL" clId="{B3B9A9FE-3004-43DC-97A3-BA416ED15667}" dt="2023-03-27T12:16:13.020" v="1949" actId="1038"/>
          <ac:spMkLst>
            <pc:docMk/>
            <pc:sldMk cId="3019530908" sldId="290"/>
            <ac:spMk id="120" creationId="{A86A504C-F07A-458E-B29F-4382426F7F60}"/>
          </ac:spMkLst>
        </pc:spChg>
        <pc:grpChg chg="add del mod">
          <ac:chgData name="Hans Gelissen (DHL SSC Maastricht)" userId="1afa8510-4eed-4b73-a29e-678838cd8acd" providerId="ADAL" clId="{B3B9A9FE-3004-43DC-97A3-BA416ED15667}" dt="2023-03-27T12:07:46.172" v="1690" actId="165"/>
          <ac:grpSpMkLst>
            <pc:docMk/>
            <pc:sldMk cId="3019530908" sldId="290"/>
            <ac:grpSpMk id="57" creationId="{18E14DD3-E390-49FE-916B-619E1AC19A99}"/>
          </ac:grpSpMkLst>
        </pc:grpChg>
        <pc:picChg chg="add mod">
          <ac:chgData name="Hans Gelissen (DHL SSC Maastricht)" userId="1afa8510-4eed-4b73-a29e-678838cd8acd" providerId="ADAL" clId="{B3B9A9FE-3004-43DC-97A3-BA416ED15667}" dt="2023-03-27T12:12:21.526" v="1795" actId="1035"/>
          <ac:picMkLst>
            <pc:docMk/>
            <pc:sldMk cId="3019530908" sldId="290"/>
            <ac:picMk id="4098" creationId="{D7207A31-1057-4C9D-B8C8-BE465C0F5009}"/>
          </ac:picMkLst>
        </pc:picChg>
        <pc:cxnChg chg="add del mod">
          <ac:chgData name="Hans Gelissen (DHL SSC Maastricht)" userId="1afa8510-4eed-4b73-a29e-678838cd8acd" providerId="ADAL" clId="{B3B9A9FE-3004-43DC-97A3-BA416ED15667}" dt="2023-03-27T12:05:01.962" v="1656" actId="21"/>
          <ac:cxnSpMkLst>
            <pc:docMk/>
            <pc:sldMk cId="3019530908" sldId="290"/>
            <ac:cxnSpMk id="5" creationId="{6B65627E-F979-4F06-AA4B-B59530720078}"/>
          </ac:cxnSpMkLst>
        </pc:cxnChg>
        <pc:cxnChg chg="add del mod">
          <ac:chgData name="Hans Gelissen (DHL SSC Maastricht)" userId="1afa8510-4eed-4b73-a29e-678838cd8acd" providerId="ADAL" clId="{B3B9A9FE-3004-43DC-97A3-BA416ED15667}" dt="2023-03-27T12:05:01.962" v="1656" actId="21"/>
          <ac:cxnSpMkLst>
            <pc:docMk/>
            <pc:sldMk cId="3019530908" sldId="290"/>
            <ac:cxnSpMk id="8" creationId="{04890356-9537-452D-8A9F-C720E45203E6}"/>
          </ac:cxnSpMkLst>
        </pc:cxnChg>
        <pc:cxnChg chg="add del mod">
          <ac:chgData name="Hans Gelissen (DHL SSC Maastricht)" userId="1afa8510-4eed-4b73-a29e-678838cd8acd" providerId="ADAL" clId="{B3B9A9FE-3004-43DC-97A3-BA416ED15667}" dt="2023-03-27T12:05:01.962" v="1656" actId="21"/>
          <ac:cxnSpMkLst>
            <pc:docMk/>
            <pc:sldMk cId="3019530908" sldId="290"/>
            <ac:cxnSpMk id="10" creationId="{966F07B5-0951-43A1-8A1F-86997436EC6D}"/>
          </ac:cxnSpMkLst>
        </pc:cxnChg>
        <pc:cxnChg chg="add del mod">
          <ac:chgData name="Hans Gelissen (DHL SSC Maastricht)" userId="1afa8510-4eed-4b73-a29e-678838cd8acd" providerId="ADAL" clId="{B3B9A9FE-3004-43DC-97A3-BA416ED15667}" dt="2023-03-27T12:02:00.732" v="1589" actId="478"/>
          <ac:cxnSpMkLst>
            <pc:docMk/>
            <pc:sldMk cId="3019530908" sldId="290"/>
            <ac:cxnSpMk id="12" creationId="{B68CEB00-2103-4957-94AE-B54AE267D498}"/>
          </ac:cxnSpMkLst>
        </pc:cxnChg>
        <pc:cxnChg chg="add del mod">
          <ac:chgData name="Hans Gelissen (DHL SSC Maastricht)" userId="1afa8510-4eed-4b73-a29e-678838cd8acd" providerId="ADAL" clId="{B3B9A9FE-3004-43DC-97A3-BA416ED15667}" dt="2023-03-27T12:02:11.030" v="1591" actId="478"/>
          <ac:cxnSpMkLst>
            <pc:docMk/>
            <pc:sldMk cId="3019530908" sldId="290"/>
            <ac:cxnSpMk id="13" creationId="{6FD421B2-D36F-4215-B568-0CA5548774F5}"/>
          </ac:cxnSpMkLst>
        </pc:cxnChg>
        <pc:cxnChg chg="add del mod">
          <ac:chgData name="Hans Gelissen (DHL SSC Maastricht)" userId="1afa8510-4eed-4b73-a29e-678838cd8acd" providerId="ADAL" clId="{B3B9A9FE-3004-43DC-97A3-BA416ED15667}" dt="2023-03-27T12:05:01.962" v="1656" actId="21"/>
          <ac:cxnSpMkLst>
            <pc:docMk/>
            <pc:sldMk cId="3019530908" sldId="290"/>
            <ac:cxnSpMk id="36" creationId="{F6853736-32B2-4748-B692-7AC473D9B6A7}"/>
          </ac:cxnSpMkLst>
        </pc:cxnChg>
        <pc:cxnChg chg="add del mod">
          <ac:chgData name="Hans Gelissen (DHL SSC Maastricht)" userId="1afa8510-4eed-4b73-a29e-678838cd8acd" providerId="ADAL" clId="{B3B9A9FE-3004-43DC-97A3-BA416ED15667}" dt="2023-03-27T12:05:01.962" v="1656" actId="21"/>
          <ac:cxnSpMkLst>
            <pc:docMk/>
            <pc:sldMk cId="3019530908" sldId="290"/>
            <ac:cxnSpMk id="38" creationId="{D988E8C4-17EB-456B-A921-2243035AFDA6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41" creationId="{86B6BB82-B962-41A8-896E-1930E8212FAE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42" creationId="{B7C4ACFA-5713-4E7D-A33E-775FF51E7ACD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43" creationId="{9646D5A3-0775-477C-8186-60D31F0444B7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44" creationId="{190FB953-CF5B-4EB8-9B1C-66CC2E2BA42F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45" creationId="{84D70FEE-7898-433F-BA73-16C46CE2B618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46" creationId="{F18483BF-6A5D-44F1-9C13-3000C352FB4D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49" creationId="{22F60552-BC20-4472-8F44-59FC508607D4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51" creationId="{EBA3EBD8-E734-4929-80DF-224DBFE00CC7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53" creationId="{7B9488A4-701A-49F8-BF11-A8A4A5C89F64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55" creationId="{49ADDE66-E732-437A-A16B-C78841FF9A52}"/>
          </ac:cxnSpMkLst>
        </pc:cxnChg>
        <pc:cxnChg chg="add mod topLvl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58" creationId="{304B519C-F54E-45AA-AD7E-CC5B86E91A4E}"/>
          </ac:cxnSpMkLst>
        </pc:cxnChg>
        <pc:cxnChg chg="add mod topLvl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59" creationId="{C55C2963-B928-4A77-A4D3-0B8B45D3CB2F}"/>
          </ac:cxnSpMkLst>
        </pc:cxnChg>
        <pc:cxnChg chg="add mod topLvl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60" creationId="{80494EBD-C751-4722-A97C-40556A051A17}"/>
          </ac:cxnSpMkLst>
        </pc:cxnChg>
        <pc:cxnChg chg="add mod topLvl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61" creationId="{B0FB1F67-DA08-4217-A831-376EA8D56D91}"/>
          </ac:cxnSpMkLst>
        </pc:cxnChg>
        <pc:cxnChg chg="add mod topLvl">
          <ac:chgData name="Hans Gelissen (DHL SSC Maastricht)" userId="1afa8510-4eed-4b73-a29e-678838cd8acd" providerId="ADAL" clId="{B3B9A9FE-3004-43DC-97A3-BA416ED15667}" dt="2023-03-27T12:14:43.915" v="1915" actId="14100"/>
          <ac:cxnSpMkLst>
            <pc:docMk/>
            <pc:sldMk cId="3019530908" sldId="290"/>
            <ac:cxnSpMk id="62" creationId="{53BBCFD3-C246-46C5-B016-9CC0AC4B59D4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68" creationId="{3F34D1B5-EDF7-4533-8C4D-9FF8229D5CD5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70" creationId="{BE401E87-0AF2-4CB9-ACD2-D46F2693BBC9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75" creationId="{65062171-C362-496D-AD9D-053CB2D84FC8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77" creationId="{F2A33D6E-A9AD-49F1-9F5A-3736CB5716A8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79" creationId="{EDF28A53-2FE5-44D7-8FC2-E00542E0EA35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41.051" v="1798" actId="14100"/>
          <ac:cxnSpMkLst>
            <pc:docMk/>
            <pc:sldMk cId="3019530908" sldId="290"/>
            <ac:cxnSpMk id="81" creationId="{473D2030-798C-4A84-A2A6-389E77916B15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38.216" v="1797" actId="14100"/>
          <ac:cxnSpMkLst>
            <pc:docMk/>
            <pc:sldMk cId="3019530908" sldId="290"/>
            <ac:cxnSpMk id="83" creationId="{974E2ACE-0CA4-476F-99E7-3014246BFC38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85" creationId="{E0511D4B-AB6F-4B90-B328-46A135F5BEAE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87" creationId="{8140033D-6CC1-4D30-86EA-6D304CD72EDE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90" creationId="{3EF6189E-7565-4AF9-8FFE-316A76322089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92" creationId="{294E7E36-8AA3-4BC3-B69D-70D96ACE168B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4:53.916" v="1916" actId="14100"/>
          <ac:cxnSpMkLst>
            <pc:docMk/>
            <pc:sldMk cId="3019530908" sldId="290"/>
            <ac:cxnSpMk id="95" creationId="{E4C532BC-4451-4F18-BFA9-41ADD4B6EED0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97" creationId="{DED27768-80E7-4316-AF06-197A0785CE68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100" creationId="{94952E72-2C79-4BD6-81E0-2B903CB6FBF0}"/>
          </ac:cxnSpMkLst>
        </pc:cxnChg>
        <pc:cxnChg chg="add mod">
          <ac:chgData name="Hans Gelissen (DHL SSC Maastricht)" userId="1afa8510-4eed-4b73-a29e-678838cd8acd" providerId="ADAL" clId="{B3B9A9FE-3004-43DC-97A3-BA416ED15667}" dt="2023-03-27T12:12:02.563" v="1791" actId="1076"/>
          <ac:cxnSpMkLst>
            <pc:docMk/>
            <pc:sldMk cId="3019530908" sldId="290"/>
            <ac:cxnSpMk id="102" creationId="{DB25F9E8-951C-44E1-8C9F-C4B3200C057D}"/>
          </ac:cxnSpMkLst>
        </pc:cxnChg>
      </pc:sldChg>
      <pc:sldChg chg="addSp delSp modSp add mod ord modClrScheme chgLayout">
        <pc:chgData name="Hans Gelissen (DHL SSC Maastricht)" userId="1afa8510-4eed-4b73-a29e-678838cd8acd" providerId="ADAL" clId="{B3B9A9FE-3004-43DC-97A3-BA416ED15667}" dt="2023-03-28T11:20:37.616" v="6190" actId="700"/>
        <pc:sldMkLst>
          <pc:docMk/>
          <pc:sldMk cId="1798378602" sldId="291"/>
        </pc:sldMkLst>
        <pc:spChg chg="del mod ord">
          <ac:chgData name="Hans Gelissen (DHL SSC Maastricht)" userId="1afa8510-4eed-4b73-a29e-678838cd8acd" providerId="ADAL" clId="{B3B9A9FE-3004-43DC-97A3-BA416ED15667}" dt="2023-03-27T11:46:10.471" v="1223" actId="700"/>
          <ac:spMkLst>
            <pc:docMk/>
            <pc:sldMk cId="1798378602" sldId="291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8T11:20:37.616" v="6190" actId="700"/>
          <ac:spMkLst>
            <pc:docMk/>
            <pc:sldMk cId="1798378602" sldId="291"/>
            <ac:spMk id="3" creationId="{3518157F-A8E5-40FC-96B5-FA6D44674F7E}"/>
          </ac:spMkLst>
        </pc:sp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8T12:41:40.839" v="6960" actId="18131"/>
        <pc:sldMkLst>
          <pc:docMk/>
          <pc:sldMk cId="2652363728" sldId="292"/>
        </pc:sldMkLst>
        <pc:spChg chg="del mod ord">
          <ac:chgData name="Hans Gelissen (DHL SSC Maastricht)" userId="1afa8510-4eed-4b73-a29e-678838cd8acd" providerId="ADAL" clId="{B3B9A9FE-3004-43DC-97A3-BA416ED15667}" dt="2023-03-27T12:19:40.528" v="1999" actId="700"/>
          <ac:spMkLst>
            <pc:docMk/>
            <pc:sldMk cId="2652363728" sldId="292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7T12:20:17.102" v="2028" actId="20577"/>
          <ac:spMkLst>
            <pc:docMk/>
            <pc:sldMk cId="2652363728" sldId="292"/>
            <ac:spMk id="3" creationId="{5D6FC936-E942-4163-A5C5-DC4A16AC4E80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2:20:04.091" v="2000" actId="931"/>
          <ac:spMkLst>
            <pc:docMk/>
            <pc:sldMk cId="2652363728" sldId="292"/>
            <ac:spMk id="4" creationId="{0BD2AC1C-8155-4B4B-85CE-0BAF9054D0C0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2:37:47.735" v="2551" actId="931"/>
          <ac:spMkLst>
            <pc:docMk/>
            <pc:sldMk cId="2652363728" sldId="292"/>
            <ac:spMk id="5" creationId="{AFF1AA22-D669-40F7-831E-974ABEF3F37A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2:38:27.696" v="2561" actId="931"/>
          <ac:spMkLst>
            <pc:docMk/>
            <pc:sldMk cId="2652363728" sldId="292"/>
            <ac:spMk id="6" creationId="{828BB89B-614F-466D-A17D-E1910B6D194E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2:38:41.985" v="2566" actId="931"/>
          <ac:spMkLst>
            <pc:docMk/>
            <pc:sldMk cId="2652363728" sldId="292"/>
            <ac:spMk id="7" creationId="{CD609177-DC8E-4E30-B06A-981F9D73684C}"/>
          </ac:spMkLst>
        </pc:spChg>
        <pc:spChg chg="add mod ord">
          <ac:chgData name="Hans Gelissen (DHL SSC Maastricht)" userId="1afa8510-4eed-4b73-a29e-678838cd8acd" providerId="ADAL" clId="{B3B9A9FE-3004-43DC-97A3-BA416ED15667}" dt="2023-03-28T12:29:54.385" v="6867" actId="20577"/>
          <ac:spMkLst>
            <pc:docMk/>
            <pc:sldMk cId="2652363728" sldId="292"/>
            <ac:spMk id="8" creationId="{44474064-2DB4-41EA-94B5-D2B62486B2A9}"/>
          </ac:spMkLst>
        </pc:spChg>
        <pc:picChg chg="add mod">
          <ac:chgData name="Hans Gelissen (DHL SSC Maastricht)" userId="1afa8510-4eed-4b73-a29e-678838cd8acd" providerId="ADAL" clId="{B3B9A9FE-3004-43DC-97A3-BA416ED15667}" dt="2023-03-27T12:20:08.388" v="2001" actId="27614"/>
          <ac:picMkLst>
            <pc:docMk/>
            <pc:sldMk cId="2652363728" sldId="292"/>
            <ac:picMk id="10" creationId="{E715FA2D-156D-4836-B52D-F3A3D134AA62}"/>
          </ac:picMkLst>
        </pc:picChg>
        <pc:picChg chg="add mod modCrop">
          <ac:chgData name="Hans Gelissen (DHL SSC Maastricht)" userId="1afa8510-4eed-4b73-a29e-678838cd8acd" providerId="ADAL" clId="{B3B9A9FE-3004-43DC-97A3-BA416ED15667}" dt="2023-03-27T12:38:22.058" v="2560" actId="18131"/>
          <ac:picMkLst>
            <pc:docMk/>
            <pc:sldMk cId="2652363728" sldId="292"/>
            <ac:picMk id="12" creationId="{F4C57FF2-15C1-436A-8607-842C667F8774}"/>
          </ac:picMkLst>
        </pc:picChg>
        <pc:picChg chg="add mod modCrop">
          <ac:chgData name="Hans Gelissen (DHL SSC Maastricht)" userId="1afa8510-4eed-4b73-a29e-678838cd8acd" providerId="ADAL" clId="{B3B9A9FE-3004-43DC-97A3-BA416ED15667}" dt="2023-03-27T12:39:03.644" v="2571" actId="18131"/>
          <ac:picMkLst>
            <pc:docMk/>
            <pc:sldMk cId="2652363728" sldId="292"/>
            <ac:picMk id="14" creationId="{B503B7A6-EA2B-4B15-8F1C-4BA2812997FF}"/>
          </ac:picMkLst>
        </pc:picChg>
        <pc:picChg chg="add mod modCrop">
          <ac:chgData name="Hans Gelissen (DHL SSC Maastricht)" userId="1afa8510-4eed-4b73-a29e-678838cd8acd" providerId="ADAL" clId="{B3B9A9FE-3004-43DC-97A3-BA416ED15667}" dt="2023-03-28T12:41:40.839" v="6960" actId="18131"/>
          <ac:picMkLst>
            <pc:docMk/>
            <pc:sldMk cId="2652363728" sldId="292"/>
            <ac:picMk id="16" creationId="{04B16121-6533-4512-8F5E-6255CA25D905}"/>
          </ac:picMkLst>
        </pc:picChg>
      </pc:sldChg>
      <pc:sldChg chg="addSp delSp modSp add del mod modClrScheme chgLayout">
        <pc:chgData name="Hans Gelissen (DHL SSC Maastricht)" userId="1afa8510-4eed-4b73-a29e-678838cd8acd" providerId="ADAL" clId="{B3B9A9FE-3004-43DC-97A3-BA416ED15667}" dt="2023-03-27T11:41:31.717" v="1021" actId="47"/>
        <pc:sldMkLst>
          <pc:docMk/>
          <pc:sldMk cId="3870111477" sldId="292"/>
        </pc:sldMkLst>
        <pc:spChg chg="del mod ord">
          <ac:chgData name="Hans Gelissen (DHL SSC Maastricht)" userId="1afa8510-4eed-4b73-a29e-678838cd8acd" providerId="ADAL" clId="{B3B9A9FE-3004-43DC-97A3-BA416ED15667}" dt="2023-03-27T11:22:40.268" v="622" actId="478"/>
          <ac:spMkLst>
            <pc:docMk/>
            <pc:sldMk cId="3870111477" sldId="292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4:58.760" v="800" actId="700"/>
          <ac:spMkLst>
            <pc:docMk/>
            <pc:sldMk cId="3870111477" sldId="292"/>
            <ac:spMk id="3" creationId="{C71921DC-2596-4A9B-92C0-9CD6AB848F4E}"/>
          </ac:spMkLst>
        </pc:spChg>
        <pc:spChg chg="del">
          <ac:chgData name="Hans Gelissen (DHL SSC Maastricht)" userId="1afa8510-4eed-4b73-a29e-678838cd8acd" providerId="ADAL" clId="{B3B9A9FE-3004-43DC-97A3-BA416ED15667}" dt="2023-03-27T11:23:00.764" v="624" actId="478"/>
          <ac:spMkLst>
            <pc:docMk/>
            <pc:sldMk cId="3870111477" sldId="292"/>
            <ac:spMk id="4" creationId="{A7182D34-7171-412D-A186-2485BD17AB25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29:40.984" v="749" actId="700"/>
          <ac:spMkLst>
            <pc:docMk/>
            <pc:sldMk cId="3870111477" sldId="292"/>
            <ac:spMk id="5" creationId="{219E72F5-F383-432E-A4ED-F85540C604EB}"/>
          </ac:spMkLst>
        </pc:spChg>
        <pc:spChg chg="del mod">
          <ac:chgData name="Hans Gelissen (DHL SSC Maastricht)" userId="1afa8510-4eed-4b73-a29e-678838cd8acd" providerId="ADAL" clId="{B3B9A9FE-3004-43DC-97A3-BA416ED15667}" dt="2023-03-27T11:29:52.570" v="751" actId="478"/>
          <ac:spMkLst>
            <pc:docMk/>
            <pc:sldMk cId="3870111477" sldId="292"/>
            <ac:spMk id="6" creationId="{A49E5AED-00B8-454A-80DB-6CC1A297AAE3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29:40.984" v="749" actId="700"/>
          <ac:spMkLst>
            <pc:docMk/>
            <pc:sldMk cId="3870111477" sldId="292"/>
            <ac:spMk id="7" creationId="{64C7ED24-6A1F-494B-A74A-EE5A57642129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29:40.984" v="749" actId="700"/>
          <ac:spMkLst>
            <pc:docMk/>
            <pc:sldMk cId="3870111477" sldId="292"/>
            <ac:spMk id="8" creationId="{106E3B11-7DC8-449C-B18E-920430262882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29:40.984" v="749" actId="700"/>
          <ac:spMkLst>
            <pc:docMk/>
            <pc:sldMk cId="3870111477" sldId="292"/>
            <ac:spMk id="9" creationId="{FDAFD974-6A0B-4043-8333-2672C171BE82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4:58.760" v="800" actId="700"/>
          <ac:spMkLst>
            <pc:docMk/>
            <pc:sldMk cId="3870111477" sldId="292"/>
            <ac:spMk id="10" creationId="{B4C33CD1-9E3F-4C10-A1DF-BB5EE9ABD464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4:58.760" v="800" actId="700"/>
          <ac:spMkLst>
            <pc:docMk/>
            <pc:sldMk cId="3870111477" sldId="292"/>
            <ac:spMk id="11" creationId="{6A308CFC-DFBA-4DB5-BFC9-3E7AEFD94C7F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4:58.760" v="800" actId="700"/>
          <ac:spMkLst>
            <pc:docMk/>
            <pc:sldMk cId="3870111477" sldId="292"/>
            <ac:spMk id="12" creationId="{64C73AE7-74F5-43F4-AD19-DDD9A08C7A78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4:58.760" v="800" actId="700"/>
          <ac:spMkLst>
            <pc:docMk/>
            <pc:sldMk cId="3870111477" sldId="292"/>
            <ac:spMk id="13" creationId="{77EDA906-A292-4F70-9FB9-40AF0D3D2CCE}"/>
          </ac:spMkLst>
        </pc:spChg>
        <pc:spChg chg="add mod ord">
          <ac:chgData name="Hans Gelissen (DHL SSC Maastricht)" userId="1afa8510-4eed-4b73-a29e-678838cd8acd" providerId="ADAL" clId="{B3B9A9FE-3004-43DC-97A3-BA416ED15667}" dt="2023-03-27T11:41:14.922" v="1019" actId="1076"/>
          <ac:spMkLst>
            <pc:docMk/>
            <pc:sldMk cId="3870111477" sldId="292"/>
            <ac:spMk id="14" creationId="{5690B846-1F0C-4273-80B3-3A31C62FCC56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5:10.087" v="803" actId="700"/>
          <ac:spMkLst>
            <pc:docMk/>
            <pc:sldMk cId="3870111477" sldId="292"/>
            <ac:spMk id="15" creationId="{459AD26D-90EB-490A-A06F-2573FFCA410D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5:10.087" v="803" actId="700"/>
          <ac:spMkLst>
            <pc:docMk/>
            <pc:sldMk cId="3870111477" sldId="292"/>
            <ac:spMk id="16" creationId="{A0BA8F42-48FE-44FF-A72A-B72D0B020DBD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5:10.087" v="803" actId="700"/>
          <ac:spMkLst>
            <pc:docMk/>
            <pc:sldMk cId="3870111477" sldId="292"/>
            <ac:spMk id="17" creationId="{DB0A89C1-065C-478B-9DA2-FA7400F28668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5:10.087" v="803" actId="700"/>
          <ac:spMkLst>
            <pc:docMk/>
            <pc:sldMk cId="3870111477" sldId="292"/>
            <ac:spMk id="18" creationId="{64632C63-1EBE-40C4-A966-7EA9C5319003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6:05.730" v="811" actId="700"/>
          <ac:spMkLst>
            <pc:docMk/>
            <pc:sldMk cId="3870111477" sldId="292"/>
            <ac:spMk id="19" creationId="{B1EB0EB0-CB8C-431E-9DE5-67E149E2AC2F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6:05.730" v="811" actId="700"/>
          <ac:spMkLst>
            <pc:docMk/>
            <pc:sldMk cId="3870111477" sldId="292"/>
            <ac:spMk id="20" creationId="{E91CBB64-30DA-4232-8060-93D401B50D62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6:05.730" v="811" actId="700"/>
          <ac:spMkLst>
            <pc:docMk/>
            <pc:sldMk cId="3870111477" sldId="292"/>
            <ac:spMk id="21" creationId="{405C6BF1-13F4-4289-96BB-526818A988EB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6:05.730" v="811" actId="700"/>
          <ac:spMkLst>
            <pc:docMk/>
            <pc:sldMk cId="3870111477" sldId="292"/>
            <ac:spMk id="22" creationId="{B5B6DE7E-7A02-44DC-8C64-6F7720A3EB82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6:05.730" v="811" actId="700"/>
          <ac:spMkLst>
            <pc:docMk/>
            <pc:sldMk cId="3870111477" sldId="292"/>
            <ac:spMk id="23" creationId="{EDE2B5F1-EB74-45BA-9708-6406757DF962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6:08.937" v="812" actId="700"/>
          <ac:spMkLst>
            <pc:docMk/>
            <pc:sldMk cId="3870111477" sldId="292"/>
            <ac:spMk id="24" creationId="{42B58C04-EFF3-4C0F-95E3-0370E3C65597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6:08.937" v="812" actId="700"/>
          <ac:spMkLst>
            <pc:docMk/>
            <pc:sldMk cId="3870111477" sldId="292"/>
            <ac:spMk id="25" creationId="{82B76B86-96A4-460D-A652-0408D3FEA1EA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6:08.937" v="812" actId="700"/>
          <ac:spMkLst>
            <pc:docMk/>
            <pc:sldMk cId="3870111477" sldId="292"/>
            <ac:spMk id="26" creationId="{A80F98D3-0C46-4626-AB6E-0E17C9E7B63F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1:36:08.937" v="812" actId="700"/>
          <ac:spMkLst>
            <pc:docMk/>
            <pc:sldMk cId="3870111477" sldId="292"/>
            <ac:spMk id="27" creationId="{EC36A812-C9D4-4971-A84D-49F6BFE21F0B}"/>
          </ac:spMkLst>
        </pc:spChg>
        <pc:spChg chg="add mod ord">
          <ac:chgData name="Hans Gelissen (DHL SSC Maastricht)" userId="1afa8510-4eed-4b73-a29e-678838cd8acd" providerId="ADAL" clId="{B3B9A9FE-3004-43DC-97A3-BA416ED15667}" dt="2023-03-27T11:40:58.033" v="1018" actId="1076"/>
          <ac:spMkLst>
            <pc:docMk/>
            <pc:sldMk cId="3870111477" sldId="292"/>
            <ac:spMk id="28" creationId="{F670524E-76B0-4EA8-8342-236FEB9F3B5B}"/>
          </ac:spMkLst>
        </pc:spChg>
        <pc:spChg chg="add mod ord">
          <ac:chgData name="Hans Gelissen (DHL SSC Maastricht)" userId="1afa8510-4eed-4b73-a29e-678838cd8acd" providerId="ADAL" clId="{B3B9A9FE-3004-43DC-97A3-BA416ED15667}" dt="2023-03-27T11:40:26.600" v="983" actId="1076"/>
          <ac:spMkLst>
            <pc:docMk/>
            <pc:sldMk cId="3870111477" sldId="292"/>
            <ac:spMk id="29" creationId="{26CCA4FF-20DE-49E2-8818-E3BA374ADA2C}"/>
          </ac:spMkLst>
        </pc:spChg>
        <pc:spChg chg="add mod ord">
          <ac:chgData name="Hans Gelissen (DHL SSC Maastricht)" userId="1afa8510-4eed-4b73-a29e-678838cd8acd" providerId="ADAL" clId="{B3B9A9FE-3004-43DC-97A3-BA416ED15667}" dt="2023-03-27T11:41:22.649" v="1020" actId="1076"/>
          <ac:spMkLst>
            <pc:docMk/>
            <pc:sldMk cId="3870111477" sldId="292"/>
            <ac:spMk id="30" creationId="{BDCE259B-7ABE-4080-945F-AAED666C0564}"/>
          </ac:spMkLst>
        </pc:spChg>
        <pc:spChg chg="add mod ord">
          <ac:chgData name="Hans Gelissen (DHL SSC Maastricht)" userId="1afa8510-4eed-4b73-a29e-678838cd8acd" providerId="ADAL" clId="{B3B9A9FE-3004-43DC-97A3-BA416ED15667}" dt="2023-03-27T11:36:08.937" v="812" actId="700"/>
          <ac:spMkLst>
            <pc:docMk/>
            <pc:sldMk cId="3870111477" sldId="292"/>
            <ac:spMk id="31" creationId="{D9D8E4C1-E200-44B6-B5CE-66797AE48616}"/>
          </ac:spMkLst>
        </pc:spChg>
        <pc:spChg chg="add mod ord">
          <ac:chgData name="Hans Gelissen (DHL SSC Maastricht)" userId="1afa8510-4eed-4b73-a29e-678838cd8acd" providerId="ADAL" clId="{B3B9A9FE-3004-43DC-97A3-BA416ED15667}" dt="2023-03-27T11:40:40.951" v="1016" actId="20577"/>
          <ac:spMkLst>
            <pc:docMk/>
            <pc:sldMk cId="3870111477" sldId="292"/>
            <ac:spMk id="32" creationId="{846A7EBF-7D98-4A1B-9562-007E64E8F56A}"/>
          </ac:spMkLst>
        </pc:spChg>
        <pc:picChg chg="del mod">
          <ac:chgData name="Hans Gelissen (DHL SSC Maastricht)" userId="1afa8510-4eed-4b73-a29e-678838cd8acd" providerId="ADAL" clId="{B3B9A9FE-3004-43DC-97A3-BA416ED15667}" dt="2023-03-27T11:29:50.904" v="750" actId="478"/>
          <ac:picMkLst>
            <pc:docMk/>
            <pc:sldMk cId="3870111477" sldId="292"/>
            <ac:picMk id="2050" creationId="{6270FCF0-693A-4375-8AB1-2AB88EB66564}"/>
          </ac:picMkLst>
        </pc:picChg>
      </pc:sldChg>
      <pc:sldChg chg="new del">
        <pc:chgData name="Hans Gelissen (DHL SSC Maastricht)" userId="1afa8510-4eed-4b73-a29e-678838cd8acd" providerId="ADAL" clId="{B3B9A9FE-3004-43DC-97A3-BA416ED15667}" dt="2023-03-27T11:35:04.998" v="802" actId="680"/>
        <pc:sldMkLst>
          <pc:docMk/>
          <pc:sldMk cId="1507847175" sldId="293"/>
        </pc:sldMkLst>
      </pc:sldChg>
      <pc:sldChg chg="addSp delSp modSp add mod ord modClrScheme modCm chgLayout">
        <pc:chgData name="Hans Gelissen (DHL SSC Maastricht)" userId="1afa8510-4eed-4b73-a29e-678838cd8acd" providerId="ADAL" clId="{B3B9A9FE-3004-43DC-97A3-BA416ED15667}" dt="2023-03-29T07:32:28.969" v="7189" actId="1076"/>
        <pc:sldMkLst>
          <pc:docMk/>
          <pc:sldMk cId="2805156081" sldId="293"/>
        </pc:sldMkLst>
        <pc:spChg chg="del mod ord">
          <ac:chgData name="Hans Gelissen (DHL SSC Maastricht)" userId="1afa8510-4eed-4b73-a29e-678838cd8acd" providerId="ADAL" clId="{B3B9A9FE-3004-43DC-97A3-BA416ED15667}" dt="2023-03-27T11:46:44.960" v="1265" actId="700"/>
          <ac:spMkLst>
            <pc:docMk/>
            <pc:sldMk cId="2805156081" sldId="293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9T07:31:57.034" v="7184" actId="700"/>
          <ac:spMkLst>
            <pc:docMk/>
            <pc:sldMk cId="2805156081" sldId="293"/>
            <ac:spMk id="3" creationId="{BD68A1A4-27C7-4139-883F-4E748584F0EB}"/>
          </ac:spMkLst>
        </pc:spChg>
        <pc:spChg chg="add mod ord">
          <ac:chgData name="Hans Gelissen (DHL SSC Maastricht)" userId="1afa8510-4eed-4b73-a29e-678838cd8acd" providerId="ADAL" clId="{B3B9A9FE-3004-43DC-97A3-BA416ED15667}" dt="2023-03-29T07:31:57.034" v="7184" actId="700"/>
          <ac:spMkLst>
            <pc:docMk/>
            <pc:sldMk cId="2805156081" sldId="293"/>
            <ac:spMk id="4" creationId="{989C2268-C7E2-4615-87B7-D10B0CC7E03C}"/>
          </ac:spMkLst>
        </pc:spChg>
        <pc:spChg chg="add mod ord">
          <ac:chgData name="Hans Gelissen (DHL SSC Maastricht)" userId="1afa8510-4eed-4b73-a29e-678838cd8acd" providerId="ADAL" clId="{B3B9A9FE-3004-43DC-97A3-BA416ED15667}" dt="2023-03-29T07:31:57.034" v="7184" actId="700"/>
          <ac:spMkLst>
            <pc:docMk/>
            <pc:sldMk cId="2805156081" sldId="293"/>
            <ac:spMk id="5" creationId="{555F6BC6-128D-4DF1-A3BB-968563A4BFE2}"/>
          </ac:spMkLst>
        </pc:spChg>
        <pc:spChg chg="add mod ord">
          <ac:chgData name="Hans Gelissen (DHL SSC Maastricht)" userId="1afa8510-4eed-4b73-a29e-678838cd8acd" providerId="ADAL" clId="{B3B9A9FE-3004-43DC-97A3-BA416ED15667}" dt="2023-03-29T07:31:57.034" v="7184" actId="700"/>
          <ac:spMkLst>
            <pc:docMk/>
            <pc:sldMk cId="2805156081" sldId="293"/>
            <ac:spMk id="6" creationId="{9674225D-D6D6-474B-9177-B95FCC14C97B}"/>
          </ac:spMkLst>
        </pc:spChg>
        <pc:picChg chg="add mod">
          <ac:chgData name="Hans Gelissen (DHL SSC Maastricht)" userId="1afa8510-4eed-4b73-a29e-678838cd8acd" providerId="ADAL" clId="{B3B9A9FE-3004-43DC-97A3-BA416ED15667}" dt="2023-03-29T07:32:28.969" v="7189" actId="1076"/>
          <ac:picMkLst>
            <pc:docMk/>
            <pc:sldMk cId="2805156081" sldId="293"/>
            <ac:picMk id="3074" creationId="{B4861D06-E5FE-4D44-B461-FBFF4B1C0F24}"/>
          </ac:picMkLst>
        </pc:pic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7T12:43:38.566" v="2596" actId="20577"/>
        <pc:sldMkLst>
          <pc:docMk/>
          <pc:sldMk cId="1072775512" sldId="294"/>
        </pc:sldMkLst>
        <pc:spChg chg="del mod ord">
          <ac:chgData name="Hans Gelissen (DHL SSC Maastricht)" userId="1afa8510-4eed-4b73-a29e-678838cd8acd" providerId="ADAL" clId="{B3B9A9FE-3004-43DC-97A3-BA416ED15667}" dt="2023-03-27T12:43:31.140" v="2577" actId="700"/>
          <ac:spMkLst>
            <pc:docMk/>
            <pc:sldMk cId="1072775512" sldId="294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7T12:43:38.566" v="2596" actId="20577"/>
          <ac:spMkLst>
            <pc:docMk/>
            <pc:sldMk cId="1072775512" sldId="294"/>
            <ac:spMk id="3" creationId="{E194BAAD-BF3F-48A4-B3DF-AB4126E03F80}"/>
          </ac:spMkLst>
        </pc:spChg>
      </pc:sldChg>
      <pc:sldChg chg="add del">
        <pc:chgData name="Hans Gelissen (DHL SSC Maastricht)" userId="1afa8510-4eed-4b73-a29e-678838cd8acd" providerId="ADAL" clId="{B3B9A9FE-3004-43DC-97A3-BA416ED15667}" dt="2023-03-27T12:17:42.889" v="1961"/>
        <pc:sldMkLst>
          <pc:docMk/>
          <pc:sldMk cId="2062805699" sldId="294"/>
        </pc:sldMkLst>
      </pc:sldChg>
      <pc:sldChg chg="modSp add del mod modClrScheme chgLayout">
        <pc:chgData name="Hans Gelissen (DHL SSC Maastricht)" userId="1afa8510-4eed-4b73-a29e-678838cd8acd" providerId="ADAL" clId="{B3B9A9FE-3004-43DC-97A3-BA416ED15667}" dt="2023-03-27T12:18:00.947" v="1965"/>
        <pc:sldMkLst>
          <pc:docMk/>
          <pc:sldMk cId="3741853255" sldId="294"/>
        </pc:sldMkLst>
        <pc:spChg chg="mod ord">
          <ac:chgData name="Hans Gelissen (DHL SSC Maastricht)" userId="1afa8510-4eed-4b73-a29e-678838cd8acd" providerId="ADAL" clId="{B3B9A9FE-3004-43DC-97A3-BA416ED15667}" dt="2023-03-27T12:18:00.370" v="1964" actId="700"/>
          <ac:spMkLst>
            <pc:docMk/>
            <pc:sldMk cId="3741853255" sldId="294"/>
            <ac:spMk id="2" creationId="{861444EB-F7AC-4C40-8F0E-916778EE475D}"/>
          </ac:spMkLst>
        </pc:sp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8T12:42:26.214" v="6968" actId="14100"/>
        <pc:sldMkLst>
          <pc:docMk/>
          <pc:sldMk cId="3324986662" sldId="295"/>
        </pc:sldMkLst>
        <pc:spChg chg="del mod ord">
          <ac:chgData name="Hans Gelissen (DHL SSC Maastricht)" userId="1afa8510-4eed-4b73-a29e-678838cd8acd" providerId="ADAL" clId="{B3B9A9FE-3004-43DC-97A3-BA416ED15667}" dt="2023-03-27T12:45:14.850" v="2598" actId="700"/>
          <ac:spMkLst>
            <pc:docMk/>
            <pc:sldMk cId="3324986662" sldId="295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8T12:42:25.858" v="6967" actId="1076"/>
          <ac:spMkLst>
            <pc:docMk/>
            <pc:sldMk cId="3324986662" sldId="295"/>
            <ac:spMk id="3" creationId="{EBE44B19-5E42-4632-8FE3-E30BAF231CF8}"/>
          </ac:spMkLst>
        </pc:spChg>
        <pc:spChg chg="add mod ord">
          <ac:chgData name="Hans Gelissen (DHL SSC Maastricht)" userId="1afa8510-4eed-4b73-a29e-678838cd8acd" providerId="ADAL" clId="{B3B9A9FE-3004-43DC-97A3-BA416ED15667}" dt="2023-03-27T13:24:15.079" v="3699" actId="700"/>
          <ac:spMkLst>
            <pc:docMk/>
            <pc:sldMk cId="3324986662" sldId="295"/>
            <ac:spMk id="4" creationId="{8E2C7162-F817-4E94-BB11-5674D6E21039}"/>
          </ac:spMkLst>
        </pc:spChg>
        <pc:spChg chg="add mod">
          <ac:chgData name="Hans Gelissen (DHL SSC Maastricht)" userId="1afa8510-4eed-4b73-a29e-678838cd8acd" providerId="ADAL" clId="{B3B9A9FE-3004-43DC-97A3-BA416ED15667}" dt="2023-03-28T12:42:26.214" v="6968" actId="14100"/>
          <ac:spMkLst>
            <pc:docMk/>
            <pc:sldMk cId="3324986662" sldId="295"/>
            <ac:spMk id="5" creationId="{0707BFA8-1F51-4509-A438-430E729C89F9}"/>
          </ac:spMkLst>
        </pc:spChg>
      </pc:sldChg>
      <pc:sldChg chg="addSp delSp modSp add mod modClrScheme modAnim modCm chgLayout">
        <pc:chgData name="Hans Gelissen (DHL SSC Maastricht)" userId="1afa8510-4eed-4b73-a29e-678838cd8acd" providerId="ADAL" clId="{B3B9A9FE-3004-43DC-97A3-BA416ED15667}" dt="2023-03-29T07:26:20.508" v="7160"/>
        <pc:sldMkLst>
          <pc:docMk/>
          <pc:sldMk cId="1135528617" sldId="296"/>
        </pc:sldMkLst>
        <pc:spChg chg="del mod ord">
          <ac:chgData name="Hans Gelissen (DHL SSC Maastricht)" userId="1afa8510-4eed-4b73-a29e-678838cd8acd" providerId="ADAL" clId="{B3B9A9FE-3004-43DC-97A3-BA416ED15667}" dt="2023-03-27T12:46:49.938" v="2738" actId="700"/>
          <ac:spMkLst>
            <pc:docMk/>
            <pc:sldMk cId="1135528617" sldId="296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7T12:47:01.859" v="2770" actId="20577"/>
          <ac:spMkLst>
            <pc:docMk/>
            <pc:sldMk cId="1135528617" sldId="296"/>
            <ac:spMk id="3" creationId="{42193B33-FB74-4F6F-B81E-C7E1B9B2B981}"/>
          </ac:spMkLst>
        </pc:spChg>
        <pc:spChg chg="add mod">
          <ac:chgData name="Hans Gelissen (DHL SSC Maastricht)" userId="1afa8510-4eed-4b73-a29e-678838cd8acd" providerId="ADAL" clId="{B3B9A9FE-3004-43DC-97A3-BA416ED15667}" dt="2023-03-29T07:26:03.740" v="7159" actId="20577"/>
          <ac:spMkLst>
            <pc:docMk/>
            <pc:sldMk cId="1135528617" sldId="296"/>
            <ac:spMk id="4" creationId="{F10C7799-15C3-45A7-8D3A-0D155F99E824}"/>
          </ac:spMkLst>
        </pc:spChg>
      </pc:sldChg>
      <pc:sldChg chg="add del">
        <pc:chgData name="Hans Gelissen (DHL SSC Maastricht)" userId="1afa8510-4eed-4b73-a29e-678838cd8acd" providerId="ADAL" clId="{B3B9A9FE-3004-43DC-97A3-BA416ED15667}" dt="2023-03-27T12:23:20.464" v="2222"/>
        <pc:sldMkLst>
          <pc:docMk/>
          <pc:sldMk cId="644730585" sldId="297"/>
        </pc:sldMkLst>
      </pc:sldChg>
      <pc:sldChg chg="addSp delSp modSp new mod modClrScheme modCm chgLayout">
        <pc:chgData name="Hans Gelissen (DHL SSC Maastricht)" userId="1afa8510-4eed-4b73-a29e-678838cd8acd" providerId="ADAL" clId="{B3B9A9FE-3004-43DC-97A3-BA416ED15667}" dt="2023-03-29T07:11:58" v="7012" actId="14100"/>
        <pc:sldMkLst>
          <pc:docMk/>
          <pc:sldMk cId="881367480" sldId="297"/>
        </pc:sldMkLst>
        <pc:spChg chg="add mod ord">
          <ac:chgData name="Hans Gelissen (DHL SSC Maastricht)" userId="1afa8510-4eed-4b73-a29e-678838cd8acd" providerId="ADAL" clId="{B3B9A9FE-3004-43DC-97A3-BA416ED15667}" dt="2023-03-29T07:10:26.548" v="7008" actId="700"/>
          <ac:spMkLst>
            <pc:docMk/>
            <pc:sldMk cId="881367480" sldId="297"/>
            <ac:spMk id="2" creationId="{6BBA3A47-0FFF-4B6A-B7D5-2196E5E8A14A}"/>
          </ac:spMkLst>
        </pc:spChg>
        <pc:spChg chg="del">
          <ac:chgData name="Hans Gelissen (DHL SSC Maastricht)" userId="1afa8510-4eed-4b73-a29e-678838cd8acd" providerId="ADAL" clId="{B3B9A9FE-3004-43DC-97A3-BA416ED15667}" dt="2023-03-27T12:23:38.893" v="2224" actId="700"/>
          <ac:spMkLst>
            <pc:docMk/>
            <pc:sldMk cId="881367480" sldId="297"/>
            <ac:spMk id="2" creationId="{8CB6B387-C141-4E5D-BDA8-C8CF0AD1CBFF}"/>
          </ac:spMkLst>
        </pc:spChg>
        <pc:spChg chg="add mod ord">
          <ac:chgData name="Hans Gelissen (DHL SSC Maastricht)" userId="1afa8510-4eed-4b73-a29e-678838cd8acd" providerId="ADAL" clId="{B3B9A9FE-3004-43DC-97A3-BA416ED15667}" dt="2023-03-29T07:11:58" v="7012" actId="14100"/>
          <ac:spMkLst>
            <pc:docMk/>
            <pc:sldMk cId="881367480" sldId="297"/>
            <ac:spMk id="3" creationId="{8623EAA7-BB14-447D-9B4F-24CD22ED19D0}"/>
          </ac:spMkLst>
        </pc:spChg>
        <pc:spChg chg="add mod ord">
          <ac:chgData name="Hans Gelissen (DHL SSC Maastricht)" userId="1afa8510-4eed-4b73-a29e-678838cd8acd" providerId="ADAL" clId="{B3B9A9FE-3004-43DC-97A3-BA416ED15667}" dt="2023-03-29T07:10:26.548" v="7008" actId="700"/>
          <ac:spMkLst>
            <pc:docMk/>
            <pc:sldMk cId="881367480" sldId="297"/>
            <ac:spMk id="4" creationId="{C9F250CE-3AB6-4002-A51C-C849F93A0703}"/>
          </ac:spMkLst>
        </pc:spChg>
        <pc:spChg chg="add mod ord">
          <ac:chgData name="Hans Gelissen (DHL SSC Maastricht)" userId="1afa8510-4eed-4b73-a29e-678838cd8acd" providerId="ADAL" clId="{B3B9A9FE-3004-43DC-97A3-BA416ED15667}" dt="2023-03-29T07:10:26.548" v="7008" actId="700"/>
          <ac:spMkLst>
            <pc:docMk/>
            <pc:sldMk cId="881367480" sldId="297"/>
            <ac:spMk id="5" creationId="{7BB3BAEA-7E2A-4CC7-BE54-E5D3CE103486}"/>
          </ac:spMkLst>
        </pc:spChg>
        <pc:spChg chg="add mod ord">
          <ac:chgData name="Hans Gelissen (DHL SSC Maastricht)" userId="1afa8510-4eed-4b73-a29e-678838cd8acd" providerId="ADAL" clId="{B3B9A9FE-3004-43DC-97A3-BA416ED15667}" dt="2023-03-29T07:10:26.548" v="7008" actId="700"/>
          <ac:spMkLst>
            <pc:docMk/>
            <pc:sldMk cId="881367480" sldId="297"/>
            <ac:spMk id="6" creationId="{40A0FEB2-254F-4E23-92E2-B92B7140DBBE}"/>
          </ac:spMkLst>
        </pc:spChg>
        <pc:spChg chg="add del mod">
          <ac:chgData name="Hans Gelissen (DHL SSC Maastricht)" userId="1afa8510-4eed-4b73-a29e-678838cd8acd" providerId="ADAL" clId="{B3B9A9FE-3004-43DC-97A3-BA416ED15667}" dt="2023-03-27T12:28:39.823" v="2476" actId="700"/>
          <ac:spMkLst>
            <pc:docMk/>
            <pc:sldMk cId="881367480" sldId="297"/>
            <ac:spMk id="7" creationId="{2E266689-32C7-4362-9BC1-4A6EFEEE3B37}"/>
          </ac:spMkLst>
        </pc:spChg>
        <pc:spChg chg="add mod ord">
          <ac:chgData name="Hans Gelissen (DHL SSC Maastricht)" userId="1afa8510-4eed-4b73-a29e-678838cd8acd" providerId="ADAL" clId="{B3B9A9FE-3004-43DC-97A3-BA416ED15667}" dt="2023-03-29T07:10:26.548" v="7008" actId="700"/>
          <ac:spMkLst>
            <pc:docMk/>
            <pc:sldMk cId="881367480" sldId="297"/>
            <ac:spMk id="7" creationId="{69C59A59-270D-40B4-B2F2-F10F577A052C}"/>
          </ac:spMkLst>
        </pc:spChg>
        <pc:spChg chg="add mod ord">
          <ac:chgData name="Hans Gelissen (DHL SSC Maastricht)" userId="1afa8510-4eed-4b73-a29e-678838cd8acd" providerId="ADAL" clId="{B3B9A9FE-3004-43DC-97A3-BA416ED15667}" dt="2023-03-29T07:10:26.548" v="7008" actId="700"/>
          <ac:spMkLst>
            <pc:docMk/>
            <pc:sldMk cId="881367480" sldId="297"/>
            <ac:spMk id="8" creationId="{ECEAB483-8E21-42CC-870F-BE6C52E578DB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2:30:31.241" v="2524" actId="700"/>
          <ac:spMkLst>
            <pc:docMk/>
            <pc:sldMk cId="881367480" sldId="297"/>
            <ac:spMk id="9" creationId="{BD4EA461-F8D6-4E9F-AC8B-91FA271DE67F}"/>
          </ac:spMkLst>
        </pc:spChg>
        <pc:spChg chg="add mod ord">
          <ac:chgData name="Hans Gelissen (DHL SSC Maastricht)" userId="1afa8510-4eed-4b73-a29e-678838cd8acd" providerId="ADAL" clId="{B3B9A9FE-3004-43DC-97A3-BA416ED15667}" dt="2023-03-29T07:10:26.548" v="7008" actId="700"/>
          <ac:spMkLst>
            <pc:docMk/>
            <pc:sldMk cId="881367480" sldId="297"/>
            <ac:spMk id="10" creationId="{771EC199-378B-46BD-83F4-84B74CC41D19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2:31:57.893" v="2545" actId="700"/>
          <ac:spMkLst>
            <pc:docMk/>
            <pc:sldMk cId="881367480" sldId="297"/>
            <ac:spMk id="11" creationId="{DD06E39C-D8DA-4DEB-BC12-A6B8743AFB8A}"/>
          </ac:spMkLst>
        </pc:spChg>
        <pc:spChg chg="add mod ord">
          <ac:chgData name="Hans Gelissen (DHL SSC Maastricht)" userId="1afa8510-4eed-4b73-a29e-678838cd8acd" providerId="ADAL" clId="{B3B9A9FE-3004-43DC-97A3-BA416ED15667}" dt="2023-03-29T07:10:26.548" v="7008" actId="700"/>
          <ac:spMkLst>
            <pc:docMk/>
            <pc:sldMk cId="881367480" sldId="297"/>
            <ac:spMk id="12" creationId="{1CAA33BB-1BC0-435B-B1F4-9FFA9D0EC3C9}"/>
          </ac:spMkLst>
        </pc:spChg>
        <pc:spChg chg="add mod ord">
          <ac:chgData name="Hans Gelissen (DHL SSC Maastricht)" userId="1afa8510-4eed-4b73-a29e-678838cd8acd" providerId="ADAL" clId="{B3B9A9FE-3004-43DC-97A3-BA416ED15667}" dt="2023-03-29T07:10:26.548" v="7008" actId="700"/>
          <ac:spMkLst>
            <pc:docMk/>
            <pc:sldMk cId="881367480" sldId="297"/>
            <ac:spMk id="13" creationId="{D114B0DA-52AD-4DD1-8D54-C074196BBC07}"/>
          </ac:spMkLst>
        </pc:spChg>
        <pc:spChg chg="add mod ord">
          <ac:chgData name="Hans Gelissen (DHL SSC Maastricht)" userId="1afa8510-4eed-4b73-a29e-678838cd8acd" providerId="ADAL" clId="{B3B9A9FE-3004-43DC-97A3-BA416ED15667}" dt="2023-03-29T07:10:26.548" v="7008" actId="700"/>
          <ac:spMkLst>
            <pc:docMk/>
            <pc:sldMk cId="881367480" sldId="297"/>
            <ac:spMk id="14" creationId="{1AB4BA21-80BB-4B16-A020-7A5317519511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2:31:57.893" v="2545" actId="700"/>
          <ac:spMkLst>
            <pc:docMk/>
            <pc:sldMk cId="881367480" sldId="297"/>
            <ac:spMk id="15" creationId="{C9CEE890-8D74-4C7A-9658-EE245E9C0355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2:32:41.564" v="2549" actId="700"/>
          <ac:spMkLst>
            <pc:docMk/>
            <pc:sldMk cId="881367480" sldId="297"/>
            <ac:spMk id="16" creationId="{5319ED6F-B9FF-42D0-829C-921D13FC8693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2:32:41.564" v="2549" actId="700"/>
          <ac:spMkLst>
            <pc:docMk/>
            <pc:sldMk cId="881367480" sldId="297"/>
            <ac:spMk id="17" creationId="{93BA39A0-7D77-4BF6-BB36-4B5C9D8CC413}"/>
          </ac:spMkLst>
        </pc:spChg>
        <pc:spChg chg="add del mod ord">
          <ac:chgData name="Hans Gelissen (DHL SSC Maastricht)" userId="1afa8510-4eed-4b73-a29e-678838cd8acd" providerId="ADAL" clId="{B3B9A9FE-3004-43DC-97A3-BA416ED15667}" dt="2023-03-29T07:10:26.548" v="7008" actId="700"/>
          <ac:spMkLst>
            <pc:docMk/>
            <pc:sldMk cId="881367480" sldId="297"/>
            <ac:spMk id="18" creationId="{D3907E95-6289-4BC6-8BDD-A68753741645}"/>
          </ac:spMkLst>
        </pc:spChg>
        <pc:spChg chg="add del mod ord">
          <ac:chgData name="Hans Gelissen (DHL SSC Maastricht)" userId="1afa8510-4eed-4b73-a29e-678838cd8acd" providerId="ADAL" clId="{B3B9A9FE-3004-43DC-97A3-BA416ED15667}" dt="2023-03-29T07:10:26.548" v="7008" actId="700"/>
          <ac:spMkLst>
            <pc:docMk/>
            <pc:sldMk cId="881367480" sldId="297"/>
            <ac:spMk id="19" creationId="{87BEDD00-26E1-4BEE-9055-83B23200CD7D}"/>
          </ac:spMkLst>
        </pc:spChg>
      </pc:sldChg>
      <pc:sldChg chg="addSp delSp modSp add mod modClrScheme modAnim chgLayout">
        <pc:chgData name="Hans Gelissen (DHL SSC Maastricht)" userId="1afa8510-4eed-4b73-a29e-678838cd8acd" providerId="ADAL" clId="{B3B9A9FE-3004-43DC-97A3-BA416ED15667}" dt="2023-03-27T13:05:49.889" v="3393" actId="113"/>
        <pc:sldMkLst>
          <pc:docMk/>
          <pc:sldMk cId="1293387884" sldId="298"/>
        </pc:sldMkLst>
        <pc:spChg chg="mod ord">
          <ac:chgData name="Hans Gelissen (DHL SSC Maastricht)" userId="1afa8510-4eed-4b73-a29e-678838cd8acd" providerId="ADAL" clId="{B3B9A9FE-3004-43DC-97A3-BA416ED15667}" dt="2023-03-27T12:54:05.913" v="3169" actId="14100"/>
          <ac:spMkLst>
            <pc:docMk/>
            <pc:sldMk cId="1293387884" sldId="298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2:58:13.873" v="3227" actId="478"/>
          <ac:spMkLst>
            <pc:docMk/>
            <pc:sldMk cId="1293387884" sldId="298"/>
            <ac:spMk id="3" creationId="{2F7A75C3-3F47-40DD-A9D0-E5DBB80B455B}"/>
          </ac:spMkLst>
        </pc:spChg>
        <pc:spChg chg="add mod">
          <ac:chgData name="Hans Gelissen (DHL SSC Maastricht)" userId="1afa8510-4eed-4b73-a29e-678838cd8acd" providerId="ADAL" clId="{B3B9A9FE-3004-43DC-97A3-BA416ED15667}" dt="2023-03-27T12:59:40.560" v="3300" actId="164"/>
          <ac:spMkLst>
            <pc:docMk/>
            <pc:sldMk cId="1293387884" sldId="298"/>
            <ac:spMk id="4" creationId="{9F144124-F964-4444-A0D9-5FFF53036E6B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2:58:15.743" v="3228" actId="478"/>
          <ac:spMkLst>
            <pc:docMk/>
            <pc:sldMk cId="1293387884" sldId="298"/>
            <ac:spMk id="5" creationId="{3B14C15B-1E80-4DE3-9E51-8D2DC7DF0495}"/>
          </ac:spMkLst>
        </pc:spChg>
        <pc:spChg chg="add mod">
          <ac:chgData name="Hans Gelissen (DHL SSC Maastricht)" userId="1afa8510-4eed-4b73-a29e-678838cd8acd" providerId="ADAL" clId="{B3B9A9FE-3004-43DC-97A3-BA416ED15667}" dt="2023-03-27T12:59:43.673" v="3301" actId="164"/>
          <ac:spMkLst>
            <pc:docMk/>
            <pc:sldMk cId="1293387884" sldId="298"/>
            <ac:spMk id="6" creationId="{2A6B72A6-F7BA-4C21-97C0-839B317DD664}"/>
          </ac:spMkLst>
        </pc:spChg>
        <pc:spChg chg="add mod">
          <ac:chgData name="Hans Gelissen (DHL SSC Maastricht)" userId="1afa8510-4eed-4b73-a29e-678838cd8acd" providerId="ADAL" clId="{B3B9A9FE-3004-43DC-97A3-BA416ED15667}" dt="2023-03-27T13:05:46.888" v="3392" actId="113"/>
          <ac:spMkLst>
            <pc:docMk/>
            <pc:sldMk cId="1293387884" sldId="298"/>
            <ac:spMk id="7" creationId="{7907D7F3-ADC0-476D-9191-FC698776F353}"/>
          </ac:spMkLst>
        </pc:spChg>
        <pc:spChg chg="add mod">
          <ac:chgData name="Hans Gelissen (DHL SSC Maastricht)" userId="1afa8510-4eed-4b73-a29e-678838cd8acd" providerId="ADAL" clId="{B3B9A9FE-3004-43DC-97A3-BA416ED15667}" dt="2023-03-27T13:05:49.889" v="3393" actId="113"/>
          <ac:spMkLst>
            <pc:docMk/>
            <pc:sldMk cId="1293387884" sldId="298"/>
            <ac:spMk id="8" creationId="{64B0967B-D574-445A-89C7-B8DD951B1EDF}"/>
          </ac:spMkLst>
        </pc:spChg>
        <pc:spChg chg="add mod">
          <ac:chgData name="Hans Gelissen (DHL SSC Maastricht)" userId="1afa8510-4eed-4b73-a29e-678838cd8acd" providerId="ADAL" clId="{B3B9A9FE-3004-43DC-97A3-BA416ED15667}" dt="2023-03-27T13:00:14.793" v="3307" actId="20577"/>
          <ac:spMkLst>
            <pc:docMk/>
            <pc:sldMk cId="1293387884" sldId="298"/>
            <ac:spMk id="9" creationId="{27700FAC-7C58-4C16-80F1-1A45FDF0411D}"/>
          </ac:spMkLst>
        </pc:spChg>
        <pc:grpChg chg="add mod">
          <ac:chgData name="Hans Gelissen (DHL SSC Maastricht)" userId="1afa8510-4eed-4b73-a29e-678838cd8acd" providerId="ADAL" clId="{B3B9A9FE-3004-43DC-97A3-BA416ED15667}" dt="2023-03-27T12:59:40.560" v="3300" actId="164"/>
          <ac:grpSpMkLst>
            <pc:docMk/>
            <pc:sldMk cId="1293387884" sldId="298"/>
            <ac:grpSpMk id="10" creationId="{2D71C1D1-5469-476D-8378-66EC5E96F0F9}"/>
          </ac:grpSpMkLst>
        </pc:grpChg>
        <pc:grpChg chg="add mod">
          <ac:chgData name="Hans Gelissen (DHL SSC Maastricht)" userId="1afa8510-4eed-4b73-a29e-678838cd8acd" providerId="ADAL" clId="{B3B9A9FE-3004-43DC-97A3-BA416ED15667}" dt="2023-03-27T12:59:43.673" v="3301" actId="164"/>
          <ac:grpSpMkLst>
            <pc:docMk/>
            <pc:sldMk cId="1293387884" sldId="298"/>
            <ac:grpSpMk id="11" creationId="{D5F67812-3B67-449E-B0E1-7D089E21F789}"/>
          </ac:grpSpMkLst>
        </pc:grp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7T13:27:24.648" v="3740" actId="1076"/>
        <pc:sldMkLst>
          <pc:docMk/>
          <pc:sldMk cId="1438127617" sldId="299"/>
        </pc:sldMkLst>
        <pc:spChg chg="mod ord">
          <ac:chgData name="Hans Gelissen (DHL SSC Maastricht)" userId="1afa8510-4eed-4b73-a29e-678838cd8acd" providerId="ADAL" clId="{B3B9A9FE-3004-43DC-97A3-BA416ED15667}" dt="2023-03-27T13:26:49.298" v="3732" actId="700"/>
          <ac:spMkLst>
            <pc:docMk/>
            <pc:sldMk cId="1438127617" sldId="299"/>
            <ac:spMk id="2" creationId="{861444EB-F7AC-4C40-8F0E-916778EE475D}"/>
          </ac:spMkLst>
        </pc:spChg>
        <pc:spChg chg="add mod">
          <ac:chgData name="Hans Gelissen (DHL SSC Maastricht)" userId="1afa8510-4eed-4b73-a29e-678838cd8acd" providerId="ADAL" clId="{B3B9A9FE-3004-43DC-97A3-BA416ED15667}" dt="2023-03-27T13:26:54.156" v="3733" actId="1076"/>
          <ac:spMkLst>
            <pc:docMk/>
            <pc:sldMk cId="1438127617" sldId="299"/>
            <ac:spMk id="5" creationId="{F1564DF0-6137-49AE-9B9F-3597B91CF8B8}"/>
          </ac:spMkLst>
        </pc:spChg>
        <pc:spChg chg="add mod">
          <ac:chgData name="Hans Gelissen (DHL SSC Maastricht)" userId="1afa8510-4eed-4b73-a29e-678838cd8acd" providerId="ADAL" clId="{B3B9A9FE-3004-43DC-97A3-BA416ED15667}" dt="2023-03-27T13:27:24.648" v="3740" actId="1076"/>
          <ac:spMkLst>
            <pc:docMk/>
            <pc:sldMk cId="1438127617" sldId="299"/>
            <ac:spMk id="6" creationId="{635DCBFF-6059-4BE6-AC3B-7A7C357132C2}"/>
          </ac:spMkLst>
        </pc:spChg>
        <pc:spChg chg="add mod">
          <ac:chgData name="Hans Gelissen (DHL SSC Maastricht)" userId="1afa8510-4eed-4b73-a29e-678838cd8acd" providerId="ADAL" clId="{B3B9A9FE-3004-43DC-97A3-BA416ED15667}" dt="2023-03-27T13:27:02.362" v="3735" actId="1076"/>
          <ac:spMkLst>
            <pc:docMk/>
            <pc:sldMk cId="1438127617" sldId="299"/>
            <ac:spMk id="26" creationId="{A3FDBEF4-73B3-4508-ACA3-03616240A33F}"/>
          </ac:spMkLst>
        </pc:spChg>
        <pc:spChg chg="add mod">
          <ac:chgData name="Hans Gelissen (DHL SSC Maastricht)" userId="1afa8510-4eed-4b73-a29e-678838cd8acd" providerId="ADAL" clId="{B3B9A9FE-3004-43DC-97A3-BA416ED15667}" dt="2023-03-27T13:27:02.362" v="3735" actId="1076"/>
          <ac:spMkLst>
            <pc:docMk/>
            <pc:sldMk cId="1438127617" sldId="299"/>
            <ac:spMk id="27" creationId="{F3E817C6-4EB0-47C2-9B3A-CBBC482A0651}"/>
          </ac:spMkLst>
        </pc:spChg>
        <pc:spChg chg="add mod">
          <ac:chgData name="Hans Gelissen (DHL SSC Maastricht)" userId="1afa8510-4eed-4b73-a29e-678838cd8acd" providerId="ADAL" clId="{B3B9A9FE-3004-43DC-97A3-BA416ED15667}" dt="2023-03-27T13:27:02.362" v="3735" actId="1076"/>
          <ac:spMkLst>
            <pc:docMk/>
            <pc:sldMk cId="1438127617" sldId="299"/>
            <ac:spMk id="28" creationId="{8064D980-47B1-4908-91F7-E3248663BC9D}"/>
          </ac:spMkLst>
        </pc:spChg>
        <pc:spChg chg="add mod">
          <ac:chgData name="Hans Gelissen (DHL SSC Maastricht)" userId="1afa8510-4eed-4b73-a29e-678838cd8acd" providerId="ADAL" clId="{B3B9A9FE-3004-43DC-97A3-BA416ED15667}" dt="2023-03-27T13:27:02.362" v="3735" actId="1076"/>
          <ac:spMkLst>
            <pc:docMk/>
            <pc:sldMk cId="1438127617" sldId="299"/>
            <ac:spMk id="29" creationId="{3B79E468-07E7-4D4B-B14E-CE647A1DCD83}"/>
          </ac:spMkLst>
        </pc:spChg>
        <pc:spChg chg="add mod">
          <ac:chgData name="Hans Gelissen (DHL SSC Maastricht)" userId="1afa8510-4eed-4b73-a29e-678838cd8acd" providerId="ADAL" clId="{B3B9A9FE-3004-43DC-97A3-BA416ED15667}" dt="2023-03-27T13:27:02.362" v="3735" actId="1076"/>
          <ac:spMkLst>
            <pc:docMk/>
            <pc:sldMk cId="1438127617" sldId="299"/>
            <ac:spMk id="30" creationId="{BCDC70DF-21AA-40F4-872D-2BDD58E8CE56}"/>
          </ac:spMkLst>
        </pc:spChg>
        <pc:spChg chg="add mod">
          <ac:chgData name="Hans Gelissen (DHL SSC Maastricht)" userId="1afa8510-4eed-4b73-a29e-678838cd8acd" providerId="ADAL" clId="{B3B9A9FE-3004-43DC-97A3-BA416ED15667}" dt="2023-03-27T13:27:16.312" v="3738" actId="1076"/>
          <ac:spMkLst>
            <pc:docMk/>
            <pc:sldMk cId="1438127617" sldId="299"/>
            <ac:spMk id="31" creationId="{57A33A94-624E-4479-96F0-548E3B0C0B9F}"/>
          </ac:spMkLst>
        </pc:spChg>
        <pc:spChg chg="add mod">
          <ac:chgData name="Hans Gelissen (DHL SSC Maastricht)" userId="1afa8510-4eed-4b73-a29e-678838cd8acd" providerId="ADAL" clId="{B3B9A9FE-3004-43DC-97A3-BA416ED15667}" dt="2023-03-27T13:27:20.033" v="3739" actId="1076"/>
          <ac:spMkLst>
            <pc:docMk/>
            <pc:sldMk cId="1438127617" sldId="299"/>
            <ac:spMk id="32" creationId="{239F983D-9982-40B0-889A-007001F500BF}"/>
          </ac:spMkLst>
        </pc:spChg>
        <pc:spChg chg="add mod">
          <ac:chgData name="Hans Gelissen (DHL SSC Maastricht)" userId="1afa8510-4eed-4b73-a29e-678838cd8acd" providerId="ADAL" clId="{B3B9A9FE-3004-43DC-97A3-BA416ED15667}" dt="2023-03-27T13:27:16.312" v="3738" actId="1076"/>
          <ac:spMkLst>
            <pc:docMk/>
            <pc:sldMk cId="1438127617" sldId="299"/>
            <ac:spMk id="34" creationId="{1E9AE7D0-1EEF-4582-93E9-854FAD26D0A8}"/>
          </ac:spMkLst>
        </pc:spChg>
        <pc:spChg chg="add mod">
          <ac:chgData name="Hans Gelissen (DHL SSC Maastricht)" userId="1afa8510-4eed-4b73-a29e-678838cd8acd" providerId="ADAL" clId="{B3B9A9FE-3004-43DC-97A3-BA416ED15667}" dt="2023-03-27T13:27:16.312" v="3738" actId="1076"/>
          <ac:spMkLst>
            <pc:docMk/>
            <pc:sldMk cId="1438127617" sldId="299"/>
            <ac:spMk id="35" creationId="{CD265696-CA09-42D8-9B87-1BEC30344E0B}"/>
          </ac:spMkLst>
        </pc:spChg>
        <pc:spChg chg="add mod">
          <ac:chgData name="Hans Gelissen (DHL SSC Maastricht)" userId="1afa8510-4eed-4b73-a29e-678838cd8acd" providerId="ADAL" clId="{B3B9A9FE-3004-43DC-97A3-BA416ED15667}" dt="2023-03-27T13:27:16.312" v="3738" actId="1076"/>
          <ac:spMkLst>
            <pc:docMk/>
            <pc:sldMk cId="1438127617" sldId="299"/>
            <ac:spMk id="36" creationId="{D2E0ECB7-960F-48B8-A6F2-B70390137C75}"/>
          </ac:spMkLst>
        </pc:spChg>
        <pc:picChg chg="add del mod">
          <ac:chgData name="Hans Gelissen (DHL SSC Maastricht)" userId="1afa8510-4eed-4b73-a29e-678838cd8acd" providerId="ADAL" clId="{B3B9A9FE-3004-43DC-97A3-BA416ED15667}" dt="2023-03-27T13:09:17.672" v="3400" actId="478"/>
          <ac:picMkLst>
            <pc:docMk/>
            <pc:sldMk cId="1438127617" sldId="299"/>
            <ac:picMk id="3" creationId="{C2B8F583-8784-4F2E-AF41-23B407B33239}"/>
          </ac:picMkLst>
        </pc:picChg>
        <pc:picChg chg="add del mod">
          <ac:chgData name="Hans Gelissen (DHL SSC Maastricht)" userId="1afa8510-4eed-4b73-a29e-678838cd8acd" providerId="ADAL" clId="{B3B9A9FE-3004-43DC-97A3-BA416ED15667}" dt="2023-03-27T13:09:16.857" v="3399" actId="478"/>
          <ac:picMkLst>
            <pc:docMk/>
            <pc:sldMk cId="1438127617" sldId="299"/>
            <ac:picMk id="4" creationId="{EA1481CC-E080-414F-8570-D7CFE8DE480E}"/>
          </ac:picMkLst>
        </pc:picChg>
        <pc:picChg chg="add del mod">
          <ac:chgData name="Hans Gelissen (DHL SSC Maastricht)" userId="1afa8510-4eed-4b73-a29e-678838cd8acd" providerId="ADAL" clId="{B3B9A9FE-3004-43DC-97A3-BA416ED15667}" dt="2023-03-27T13:12:19.767" v="3461" actId="478"/>
          <ac:picMkLst>
            <pc:docMk/>
            <pc:sldMk cId="1438127617" sldId="299"/>
            <ac:picMk id="10" creationId="{0D117404-2FBF-4080-ADA6-63C33297E4A4}"/>
          </ac:picMkLst>
        </pc:picChg>
        <pc:picChg chg="add mod">
          <ac:chgData name="Hans Gelissen (DHL SSC Maastricht)" userId="1afa8510-4eed-4b73-a29e-678838cd8acd" providerId="ADAL" clId="{B3B9A9FE-3004-43DC-97A3-BA416ED15667}" dt="2023-03-27T13:27:02.362" v="3735" actId="1076"/>
          <ac:picMkLst>
            <pc:docMk/>
            <pc:sldMk cId="1438127617" sldId="299"/>
            <ac:picMk id="12" creationId="{66C0AA55-6886-404C-9DA3-3539B80FB157}"/>
          </ac:picMkLst>
        </pc:picChg>
        <pc:picChg chg="add mod">
          <ac:chgData name="Hans Gelissen (DHL SSC Maastricht)" userId="1afa8510-4eed-4b73-a29e-678838cd8acd" providerId="ADAL" clId="{B3B9A9FE-3004-43DC-97A3-BA416ED15667}" dt="2023-03-27T13:27:02.362" v="3735" actId="1076"/>
          <ac:picMkLst>
            <pc:docMk/>
            <pc:sldMk cId="1438127617" sldId="299"/>
            <ac:picMk id="13" creationId="{A95E4F65-CEF6-4BC4-A815-86A44B77B694}"/>
          </ac:picMkLst>
        </pc:picChg>
        <pc:picChg chg="add mod">
          <ac:chgData name="Hans Gelissen (DHL SSC Maastricht)" userId="1afa8510-4eed-4b73-a29e-678838cd8acd" providerId="ADAL" clId="{B3B9A9FE-3004-43DC-97A3-BA416ED15667}" dt="2023-03-27T13:27:02.362" v="3735" actId="1076"/>
          <ac:picMkLst>
            <pc:docMk/>
            <pc:sldMk cId="1438127617" sldId="299"/>
            <ac:picMk id="14" creationId="{5E23C6FD-2400-4651-8A32-53F8A844817F}"/>
          </ac:picMkLst>
        </pc:picChg>
        <pc:picChg chg="add mod">
          <ac:chgData name="Hans Gelissen (DHL SSC Maastricht)" userId="1afa8510-4eed-4b73-a29e-678838cd8acd" providerId="ADAL" clId="{B3B9A9FE-3004-43DC-97A3-BA416ED15667}" dt="2023-03-27T13:27:02.362" v="3735" actId="1076"/>
          <ac:picMkLst>
            <pc:docMk/>
            <pc:sldMk cId="1438127617" sldId="299"/>
            <ac:picMk id="15" creationId="{32C9E5D4-A00F-4E31-98DA-C810ED337CD2}"/>
          </ac:picMkLst>
        </pc:picChg>
        <pc:picChg chg="add mod">
          <ac:chgData name="Hans Gelissen (DHL SSC Maastricht)" userId="1afa8510-4eed-4b73-a29e-678838cd8acd" providerId="ADAL" clId="{B3B9A9FE-3004-43DC-97A3-BA416ED15667}" dt="2023-03-27T13:13:11.257" v="3484" actId="571"/>
          <ac:picMkLst>
            <pc:docMk/>
            <pc:sldMk cId="1438127617" sldId="299"/>
            <ac:picMk id="16" creationId="{CE9C6B1A-19EB-4C1A-B601-97FBB7F91B82}"/>
          </ac:picMkLst>
        </pc:picChg>
        <pc:picChg chg="add mod">
          <ac:chgData name="Hans Gelissen (DHL SSC Maastricht)" userId="1afa8510-4eed-4b73-a29e-678838cd8acd" providerId="ADAL" clId="{B3B9A9FE-3004-43DC-97A3-BA416ED15667}" dt="2023-03-27T13:13:11.257" v="3484" actId="571"/>
          <ac:picMkLst>
            <pc:docMk/>
            <pc:sldMk cId="1438127617" sldId="299"/>
            <ac:picMk id="17" creationId="{97C56CF7-5DAA-4C6D-866C-5D29DCDABDF7}"/>
          </ac:picMkLst>
        </pc:picChg>
        <pc:picChg chg="add mod">
          <ac:chgData name="Hans Gelissen (DHL SSC Maastricht)" userId="1afa8510-4eed-4b73-a29e-678838cd8acd" providerId="ADAL" clId="{B3B9A9FE-3004-43DC-97A3-BA416ED15667}" dt="2023-03-27T13:13:11.257" v="3484" actId="571"/>
          <ac:picMkLst>
            <pc:docMk/>
            <pc:sldMk cId="1438127617" sldId="299"/>
            <ac:picMk id="18" creationId="{25CD6AD3-5A85-439A-8CDF-AFFE85F00E61}"/>
          </ac:picMkLst>
        </pc:picChg>
        <pc:picChg chg="add mod">
          <ac:chgData name="Hans Gelissen (DHL SSC Maastricht)" userId="1afa8510-4eed-4b73-a29e-678838cd8acd" providerId="ADAL" clId="{B3B9A9FE-3004-43DC-97A3-BA416ED15667}" dt="2023-03-27T13:13:11.257" v="3484" actId="571"/>
          <ac:picMkLst>
            <pc:docMk/>
            <pc:sldMk cId="1438127617" sldId="299"/>
            <ac:picMk id="19" creationId="{AF021684-0FF3-4A4D-935C-9DAD4FF92DEB}"/>
          </ac:picMkLst>
        </pc:picChg>
        <pc:picChg chg="add mod">
          <ac:chgData name="Hans Gelissen (DHL SSC Maastricht)" userId="1afa8510-4eed-4b73-a29e-678838cd8acd" providerId="ADAL" clId="{B3B9A9FE-3004-43DC-97A3-BA416ED15667}" dt="2023-03-27T13:27:16.312" v="3738" actId="1076"/>
          <ac:picMkLst>
            <pc:docMk/>
            <pc:sldMk cId="1438127617" sldId="299"/>
            <ac:picMk id="22" creationId="{4682A373-129B-4738-81AC-7F989B053A19}"/>
          </ac:picMkLst>
        </pc:picChg>
        <pc:picChg chg="add mod">
          <ac:chgData name="Hans Gelissen (DHL SSC Maastricht)" userId="1afa8510-4eed-4b73-a29e-678838cd8acd" providerId="ADAL" clId="{B3B9A9FE-3004-43DC-97A3-BA416ED15667}" dt="2023-03-27T13:27:16.312" v="3738" actId="1076"/>
          <ac:picMkLst>
            <pc:docMk/>
            <pc:sldMk cId="1438127617" sldId="299"/>
            <ac:picMk id="23" creationId="{EB08020C-7C79-4545-A472-780028BF5456}"/>
          </ac:picMkLst>
        </pc:picChg>
        <pc:picChg chg="add mod">
          <ac:chgData name="Hans Gelissen (DHL SSC Maastricht)" userId="1afa8510-4eed-4b73-a29e-678838cd8acd" providerId="ADAL" clId="{B3B9A9FE-3004-43DC-97A3-BA416ED15667}" dt="2023-03-27T13:27:16.312" v="3738" actId="1076"/>
          <ac:picMkLst>
            <pc:docMk/>
            <pc:sldMk cId="1438127617" sldId="299"/>
            <ac:picMk id="24" creationId="{D8C214C6-827B-4D3B-A92D-21B9FE30E9B8}"/>
          </ac:picMkLst>
        </pc:picChg>
        <pc:picChg chg="add mod">
          <ac:chgData name="Hans Gelissen (DHL SSC Maastricht)" userId="1afa8510-4eed-4b73-a29e-678838cd8acd" providerId="ADAL" clId="{B3B9A9FE-3004-43DC-97A3-BA416ED15667}" dt="2023-03-27T13:27:16.312" v="3738" actId="1076"/>
          <ac:picMkLst>
            <pc:docMk/>
            <pc:sldMk cId="1438127617" sldId="299"/>
            <ac:picMk id="25" creationId="{3DFF213D-26F4-4B48-8289-04F0E2C53553}"/>
          </ac:picMkLst>
        </pc:picChg>
        <pc:picChg chg="add del mod">
          <ac:chgData name="Hans Gelissen (DHL SSC Maastricht)" userId="1afa8510-4eed-4b73-a29e-678838cd8acd" providerId="ADAL" clId="{B3B9A9FE-3004-43DC-97A3-BA416ED15667}" dt="2023-03-27T13:20:44.582" v="3645"/>
          <ac:picMkLst>
            <pc:docMk/>
            <pc:sldMk cId="1438127617" sldId="299"/>
            <ac:picMk id="33" creationId="{2183E2FA-9685-49D2-90D0-230A04D7457A}"/>
          </ac:picMkLst>
        </pc:picChg>
        <pc:picChg chg="add del mod">
          <ac:chgData name="Hans Gelissen (DHL SSC Maastricht)" userId="1afa8510-4eed-4b73-a29e-678838cd8acd" providerId="ADAL" clId="{B3B9A9FE-3004-43DC-97A3-BA416ED15667}" dt="2023-03-27T13:11:38.880" v="3450" actId="478"/>
          <ac:picMkLst>
            <pc:docMk/>
            <pc:sldMk cId="1438127617" sldId="299"/>
            <ac:picMk id="6146" creationId="{9042ABC2-6784-4984-A209-8599737456C4}"/>
          </ac:picMkLst>
        </pc:picChg>
        <pc:picChg chg="add del mod">
          <ac:chgData name="Hans Gelissen (DHL SSC Maastricht)" userId="1afa8510-4eed-4b73-a29e-678838cd8acd" providerId="ADAL" clId="{B3B9A9FE-3004-43DC-97A3-BA416ED15667}" dt="2023-03-27T13:11:39.346" v="3451" actId="478"/>
          <ac:picMkLst>
            <pc:docMk/>
            <pc:sldMk cId="1438127617" sldId="299"/>
            <ac:picMk id="6148" creationId="{75DD3F94-81C4-412A-8B78-93A5379206AB}"/>
          </ac:picMkLst>
        </pc:picChg>
        <pc:picChg chg="add del mod">
          <ac:chgData name="Hans Gelissen (DHL SSC Maastricht)" userId="1afa8510-4eed-4b73-a29e-678838cd8acd" providerId="ADAL" clId="{B3B9A9FE-3004-43DC-97A3-BA416ED15667}" dt="2023-03-27T13:12:40.702" v="3464" actId="478"/>
          <ac:picMkLst>
            <pc:docMk/>
            <pc:sldMk cId="1438127617" sldId="299"/>
            <ac:picMk id="6150" creationId="{2D726AF4-7373-4CE4-A55C-56EA3DE1DD66}"/>
          </ac:picMkLst>
        </pc:picChg>
        <pc:picChg chg="add mod">
          <ac:chgData name="Hans Gelissen (DHL SSC Maastricht)" userId="1afa8510-4eed-4b73-a29e-678838cd8acd" providerId="ADAL" clId="{B3B9A9FE-3004-43DC-97A3-BA416ED15667}" dt="2023-03-27T13:27:02.362" v="3735" actId="1076"/>
          <ac:picMkLst>
            <pc:docMk/>
            <pc:sldMk cId="1438127617" sldId="299"/>
            <ac:picMk id="6152" creationId="{F91A0875-4FC1-445F-ABBC-5E9B65B49EC2}"/>
          </ac:picMkLst>
        </pc:picChg>
        <pc:picChg chg="add del mod">
          <ac:chgData name="Hans Gelissen (DHL SSC Maastricht)" userId="1afa8510-4eed-4b73-a29e-678838cd8acd" providerId="ADAL" clId="{B3B9A9FE-3004-43DC-97A3-BA416ED15667}" dt="2023-03-27T13:15:19.289" v="3498" actId="478"/>
          <ac:picMkLst>
            <pc:docMk/>
            <pc:sldMk cId="1438127617" sldId="299"/>
            <ac:picMk id="6154" creationId="{2018B7A0-8D91-4287-8871-6C04D40433C3}"/>
          </ac:picMkLst>
        </pc:picChg>
        <pc:picChg chg="add mod">
          <ac:chgData name="Hans Gelissen (DHL SSC Maastricht)" userId="1afa8510-4eed-4b73-a29e-678838cd8acd" providerId="ADAL" clId="{B3B9A9FE-3004-43DC-97A3-BA416ED15667}" dt="2023-03-27T13:27:20.033" v="3739" actId="1076"/>
          <ac:picMkLst>
            <pc:docMk/>
            <pc:sldMk cId="1438127617" sldId="299"/>
            <ac:picMk id="6156" creationId="{56EA5DF7-7CFC-43D2-B392-699EA454CD4B}"/>
          </ac:picMkLst>
        </pc:pic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7T13:42:34.713" v="3993" actId="1076"/>
        <pc:sldMkLst>
          <pc:docMk/>
          <pc:sldMk cId="1321327356" sldId="300"/>
        </pc:sldMkLst>
        <pc:spChg chg="mod ord">
          <ac:chgData name="Hans Gelissen (DHL SSC Maastricht)" userId="1afa8510-4eed-4b73-a29e-678838cd8acd" providerId="ADAL" clId="{B3B9A9FE-3004-43DC-97A3-BA416ED15667}" dt="2023-03-27T13:35:02.763" v="3876" actId="700"/>
          <ac:spMkLst>
            <pc:docMk/>
            <pc:sldMk cId="1321327356" sldId="300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3:34:41.096" v="3874" actId="700"/>
          <ac:spMkLst>
            <pc:docMk/>
            <pc:sldMk cId="1321327356" sldId="300"/>
            <ac:spMk id="3" creationId="{978E9325-D38C-44B7-A9CF-9DF2DEE42105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3:38:39.771" v="3877" actId="931"/>
          <ac:spMkLst>
            <pc:docMk/>
            <pc:sldMk cId="1321327356" sldId="300"/>
            <ac:spMk id="5" creationId="{ED8B5C15-7378-4411-9E68-4833902FDBE1}"/>
          </ac:spMkLst>
        </pc:spChg>
        <pc:spChg chg="add mod">
          <ac:chgData name="Hans Gelissen (DHL SSC Maastricht)" userId="1afa8510-4eed-4b73-a29e-678838cd8acd" providerId="ADAL" clId="{B3B9A9FE-3004-43DC-97A3-BA416ED15667}" dt="2023-03-27T13:42:34.713" v="3993" actId="1076"/>
          <ac:spMkLst>
            <pc:docMk/>
            <pc:sldMk cId="1321327356" sldId="300"/>
            <ac:spMk id="9" creationId="{BBD7F44D-4DA1-4FFC-891F-89632898A7F0}"/>
          </ac:spMkLst>
        </pc:spChg>
        <pc:spChg chg="add mod">
          <ac:chgData name="Hans Gelissen (DHL SSC Maastricht)" userId="1afa8510-4eed-4b73-a29e-678838cd8acd" providerId="ADAL" clId="{B3B9A9FE-3004-43DC-97A3-BA416ED15667}" dt="2023-03-27T13:42:34.713" v="3993" actId="1076"/>
          <ac:spMkLst>
            <pc:docMk/>
            <pc:sldMk cId="1321327356" sldId="300"/>
            <ac:spMk id="10" creationId="{55A05272-E08B-4FCB-8F18-44D937FDF594}"/>
          </ac:spMkLst>
        </pc:spChg>
        <pc:spChg chg="add mod">
          <ac:chgData name="Hans Gelissen (DHL SSC Maastricht)" userId="1afa8510-4eed-4b73-a29e-678838cd8acd" providerId="ADAL" clId="{B3B9A9FE-3004-43DC-97A3-BA416ED15667}" dt="2023-03-27T13:42:34.713" v="3993" actId="1076"/>
          <ac:spMkLst>
            <pc:docMk/>
            <pc:sldMk cId="1321327356" sldId="300"/>
            <ac:spMk id="11" creationId="{F86FBEAA-02C6-4DE9-9145-18269B93FCA0}"/>
          </ac:spMkLst>
        </pc:spChg>
        <pc:spChg chg="add mod">
          <ac:chgData name="Hans Gelissen (DHL SSC Maastricht)" userId="1afa8510-4eed-4b73-a29e-678838cd8acd" providerId="ADAL" clId="{B3B9A9FE-3004-43DC-97A3-BA416ED15667}" dt="2023-03-27T13:42:34.713" v="3993" actId="1076"/>
          <ac:spMkLst>
            <pc:docMk/>
            <pc:sldMk cId="1321327356" sldId="300"/>
            <ac:spMk id="12" creationId="{3E01F430-06D3-4BD1-83FD-BA2705FA51C8}"/>
          </ac:spMkLst>
        </pc:spChg>
        <pc:spChg chg="add mod">
          <ac:chgData name="Hans Gelissen (DHL SSC Maastricht)" userId="1afa8510-4eed-4b73-a29e-678838cd8acd" providerId="ADAL" clId="{B3B9A9FE-3004-43DC-97A3-BA416ED15667}" dt="2023-03-27T13:42:34.713" v="3993" actId="1076"/>
          <ac:spMkLst>
            <pc:docMk/>
            <pc:sldMk cId="1321327356" sldId="300"/>
            <ac:spMk id="13" creationId="{DCC12F1E-1A5E-44A7-8558-5BC406E2469F}"/>
          </ac:spMkLst>
        </pc:spChg>
        <pc:spChg chg="add mod">
          <ac:chgData name="Hans Gelissen (DHL SSC Maastricht)" userId="1afa8510-4eed-4b73-a29e-678838cd8acd" providerId="ADAL" clId="{B3B9A9FE-3004-43DC-97A3-BA416ED15667}" dt="2023-03-27T13:42:34.713" v="3993" actId="1076"/>
          <ac:spMkLst>
            <pc:docMk/>
            <pc:sldMk cId="1321327356" sldId="300"/>
            <ac:spMk id="18" creationId="{ADB957D8-A6D1-4C9D-808D-FEE6A9AA870A}"/>
          </ac:spMkLst>
        </pc:spChg>
        <pc:picChg chg="add mod">
          <ac:chgData name="Hans Gelissen (DHL SSC Maastricht)" userId="1afa8510-4eed-4b73-a29e-678838cd8acd" providerId="ADAL" clId="{B3B9A9FE-3004-43DC-97A3-BA416ED15667}" dt="2023-03-27T13:42:34.713" v="3993" actId="1076"/>
          <ac:picMkLst>
            <pc:docMk/>
            <pc:sldMk cId="1321327356" sldId="300"/>
            <ac:picMk id="4" creationId="{17510F09-08AE-40B7-A2F8-744EE662B702}"/>
          </ac:picMkLst>
        </pc:picChg>
        <pc:picChg chg="add mod">
          <ac:chgData name="Hans Gelissen (DHL SSC Maastricht)" userId="1afa8510-4eed-4b73-a29e-678838cd8acd" providerId="ADAL" clId="{B3B9A9FE-3004-43DC-97A3-BA416ED15667}" dt="2023-03-27T13:42:34.713" v="3993" actId="1076"/>
          <ac:picMkLst>
            <pc:docMk/>
            <pc:sldMk cId="1321327356" sldId="300"/>
            <ac:picMk id="6" creationId="{7BEA665F-8485-423B-A0EF-249673E68467}"/>
          </ac:picMkLst>
        </pc:picChg>
        <pc:picChg chg="add mod">
          <ac:chgData name="Hans Gelissen (DHL SSC Maastricht)" userId="1afa8510-4eed-4b73-a29e-678838cd8acd" providerId="ADAL" clId="{B3B9A9FE-3004-43DC-97A3-BA416ED15667}" dt="2023-03-27T13:42:34.713" v="3993" actId="1076"/>
          <ac:picMkLst>
            <pc:docMk/>
            <pc:sldMk cId="1321327356" sldId="300"/>
            <ac:picMk id="7" creationId="{DB268481-15CD-43FC-A837-E3D080295F6F}"/>
          </ac:picMkLst>
        </pc:picChg>
        <pc:picChg chg="add mod">
          <ac:chgData name="Hans Gelissen (DHL SSC Maastricht)" userId="1afa8510-4eed-4b73-a29e-678838cd8acd" providerId="ADAL" clId="{B3B9A9FE-3004-43DC-97A3-BA416ED15667}" dt="2023-03-27T13:42:34.713" v="3993" actId="1076"/>
          <ac:picMkLst>
            <pc:docMk/>
            <pc:sldMk cId="1321327356" sldId="300"/>
            <ac:picMk id="8" creationId="{FE7C2B43-B618-4C19-AD0B-968E6C741786}"/>
          </ac:picMkLst>
        </pc:picChg>
        <pc:picChg chg="add mod modCrop">
          <ac:chgData name="Hans Gelissen (DHL SSC Maastricht)" userId="1afa8510-4eed-4b73-a29e-678838cd8acd" providerId="ADAL" clId="{B3B9A9FE-3004-43DC-97A3-BA416ED15667}" dt="2023-03-27T13:38:57.379" v="3881" actId="18131"/>
          <ac:picMkLst>
            <pc:docMk/>
            <pc:sldMk cId="1321327356" sldId="300"/>
            <ac:picMk id="15" creationId="{1A8C8E7B-A2F5-457B-B0BD-04B736AB563D}"/>
          </ac:picMkLst>
        </pc:picChg>
        <pc:picChg chg="add mod">
          <ac:chgData name="Hans Gelissen (DHL SSC Maastricht)" userId="1afa8510-4eed-4b73-a29e-678838cd8acd" providerId="ADAL" clId="{B3B9A9FE-3004-43DC-97A3-BA416ED15667}" dt="2023-03-27T13:42:34.713" v="3993" actId="1076"/>
          <ac:picMkLst>
            <pc:docMk/>
            <pc:sldMk cId="1321327356" sldId="300"/>
            <ac:picMk id="17" creationId="{BFF19D8D-6912-4974-9712-BC08BF4EEB58}"/>
          </ac:picMkLst>
        </pc:picChg>
        <pc:picChg chg="add mod">
          <ac:chgData name="Hans Gelissen (DHL SSC Maastricht)" userId="1afa8510-4eed-4b73-a29e-678838cd8acd" providerId="ADAL" clId="{B3B9A9FE-3004-43DC-97A3-BA416ED15667}" dt="2023-03-27T13:42:34.713" v="3993" actId="1076"/>
          <ac:picMkLst>
            <pc:docMk/>
            <pc:sldMk cId="1321327356" sldId="300"/>
            <ac:picMk id="7170" creationId="{9CD9CC4D-D715-4BEA-A838-C3D50A0FF8DF}"/>
          </ac:picMkLst>
        </pc:picChg>
      </pc:sldChg>
      <pc:sldChg chg="addSp delSp modSp add mod ord modClrScheme chgLayout">
        <pc:chgData name="Hans Gelissen (DHL SSC Maastricht)" userId="1afa8510-4eed-4b73-a29e-678838cd8acd" providerId="ADAL" clId="{B3B9A9FE-3004-43DC-97A3-BA416ED15667}" dt="2023-03-27T13:57:02.933" v="4166" actId="1076"/>
        <pc:sldMkLst>
          <pc:docMk/>
          <pc:sldMk cId="4154071419" sldId="301"/>
        </pc:sldMkLst>
        <pc:spChg chg="del mod ord">
          <ac:chgData name="Hans Gelissen (DHL SSC Maastricht)" userId="1afa8510-4eed-4b73-a29e-678838cd8acd" providerId="ADAL" clId="{B3B9A9FE-3004-43DC-97A3-BA416ED15667}" dt="2023-03-27T13:55:18.967" v="4030" actId="700"/>
          <ac:spMkLst>
            <pc:docMk/>
            <pc:sldMk cId="4154071419" sldId="301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7T13:55:42.514" v="4045" actId="20577"/>
          <ac:spMkLst>
            <pc:docMk/>
            <pc:sldMk cId="4154071419" sldId="301"/>
            <ac:spMk id="3" creationId="{57082221-10B8-40AE-962A-9B1233B13229}"/>
          </ac:spMkLst>
        </pc:spChg>
        <pc:spChg chg="add mod">
          <ac:chgData name="Hans Gelissen (DHL SSC Maastricht)" userId="1afa8510-4eed-4b73-a29e-678838cd8acd" providerId="ADAL" clId="{B3B9A9FE-3004-43DC-97A3-BA416ED15667}" dt="2023-03-27T13:57:02.933" v="4166" actId="1076"/>
          <ac:spMkLst>
            <pc:docMk/>
            <pc:sldMk cId="4154071419" sldId="301"/>
            <ac:spMk id="4" creationId="{1AF59F65-4169-4237-BA15-5DC404D88AB6}"/>
          </ac:spMkLst>
        </pc:spChg>
        <pc:spChg chg="add mod">
          <ac:chgData name="Hans Gelissen (DHL SSC Maastricht)" userId="1afa8510-4eed-4b73-a29e-678838cd8acd" providerId="ADAL" clId="{B3B9A9FE-3004-43DC-97A3-BA416ED15667}" dt="2023-03-27T13:57:02.933" v="4166" actId="1076"/>
          <ac:spMkLst>
            <pc:docMk/>
            <pc:sldMk cId="4154071419" sldId="301"/>
            <ac:spMk id="5" creationId="{BE11704E-78F4-436D-BA64-60B52243E96D}"/>
          </ac:spMkLst>
        </pc:spChg>
      </pc:sldChg>
      <pc:sldChg chg="addSp delSp modSp add mod modClrScheme modCm chgLayout">
        <pc:chgData name="Hans Gelissen (DHL SSC Maastricht)" userId="1afa8510-4eed-4b73-a29e-678838cd8acd" providerId="ADAL" clId="{B3B9A9FE-3004-43DC-97A3-BA416ED15667}" dt="2023-03-29T07:28:32.292" v="7180" actId="1076"/>
        <pc:sldMkLst>
          <pc:docMk/>
          <pc:sldMk cId="2960814601" sldId="302"/>
        </pc:sldMkLst>
        <pc:spChg chg="mod ord">
          <ac:chgData name="Hans Gelissen (DHL SSC Maastricht)" userId="1afa8510-4eed-4b73-a29e-678838cd8acd" providerId="ADAL" clId="{B3B9A9FE-3004-43DC-97A3-BA416ED15667}" dt="2023-03-27T14:14:29.395" v="4431" actId="700"/>
          <ac:spMkLst>
            <pc:docMk/>
            <pc:sldMk cId="2960814601" sldId="302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9T07:28:26.198" v="7178" actId="1076"/>
          <ac:spMkLst>
            <pc:docMk/>
            <pc:sldMk cId="2960814601" sldId="302"/>
            <ac:spMk id="3" creationId="{2845D939-7D68-4056-8EB6-EFEBBF033983}"/>
          </ac:spMkLst>
        </pc:spChg>
        <pc:spChg chg="add mod ord">
          <ac:chgData name="Hans Gelissen (DHL SSC Maastricht)" userId="1afa8510-4eed-4b73-a29e-678838cd8acd" providerId="ADAL" clId="{B3B9A9FE-3004-43DC-97A3-BA416ED15667}" dt="2023-03-27T15:17:56.796" v="5211" actId="1076"/>
          <ac:spMkLst>
            <pc:docMk/>
            <pc:sldMk cId="2960814601" sldId="302"/>
            <ac:spMk id="4" creationId="{47720654-F888-45E1-9242-29948F76B6A7}"/>
          </ac:spMkLst>
        </pc:spChg>
        <pc:spChg chg="add mod ord">
          <ac:chgData name="Hans Gelissen (DHL SSC Maastricht)" userId="1afa8510-4eed-4b73-a29e-678838cd8acd" providerId="ADAL" clId="{B3B9A9FE-3004-43DC-97A3-BA416ED15667}" dt="2023-03-27T15:17:06.627" v="5206" actId="1076"/>
          <ac:spMkLst>
            <pc:docMk/>
            <pc:sldMk cId="2960814601" sldId="302"/>
            <ac:spMk id="5" creationId="{F0FF4FBE-514E-4D95-97C3-EF9017D48640}"/>
          </ac:spMkLst>
        </pc:spChg>
        <pc:spChg chg="add mod ord">
          <ac:chgData name="Hans Gelissen (DHL SSC Maastricht)" userId="1afa8510-4eed-4b73-a29e-678838cd8acd" providerId="ADAL" clId="{B3B9A9FE-3004-43DC-97A3-BA416ED15667}" dt="2023-03-27T15:16:01.498" v="5191" actId="404"/>
          <ac:spMkLst>
            <pc:docMk/>
            <pc:sldMk cId="2960814601" sldId="302"/>
            <ac:spMk id="6" creationId="{B8675208-6A3C-4927-8A05-00F234424240}"/>
          </ac:spMkLst>
        </pc:spChg>
        <pc:spChg chg="add mod ord">
          <ac:chgData name="Hans Gelissen (DHL SSC Maastricht)" userId="1afa8510-4eed-4b73-a29e-678838cd8acd" providerId="ADAL" clId="{B3B9A9FE-3004-43DC-97A3-BA416ED15667}" dt="2023-03-29T07:28:06.277" v="7173" actId="1076"/>
          <ac:spMkLst>
            <pc:docMk/>
            <pc:sldMk cId="2960814601" sldId="302"/>
            <ac:spMk id="7" creationId="{9296C8DD-965B-4061-8AAE-C34AB1B85AF6}"/>
          </ac:spMkLst>
        </pc:spChg>
        <pc:spChg chg="add del mod">
          <ac:chgData name="Hans Gelissen (DHL SSC Maastricht)" userId="1afa8510-4eed-4b73-a29e-678838cd8acd" providerId="ADAL" clId="{B3B9A9FE-3004-43DC-97A3-BA416ED15667}" dt="2023-03-27T14:15:24.518" v="4455" actId="478"/>
          <ac:spMkLst>
            <pc:docMk/>
            <pc:sldMk cId="2960814601" sldId="302"/>
            <ac:spMk id="8" creationId="{B821DD8B-F451-4EBB-BD1B-6FAC21CF5F89}"/>
          </ac:spMkLst>
        </pc:spChg>
        <pc:spChg chg="add mod ord">
          <ac:chgData name="Hans Gelissen (DHL SSC Maastricht)" userId="1afa8510-4eed-4b73-a29e-678838cd8acd" providerId="ADAL" clId="{B3B9A9FE-3004-43DC-97A3-BA416ED15667}" dt="2023-03-29T07:28:08.650" v="7174" actId="1076"/>
          <ac:spMkLst>
            <pc:docMk/>
            <pc:sldMk cId="2960814601" sldId="302"/>
            <ac:spMk id="9" creationId="{6FE85D52-FFDA-43BA-BFE6-A41AC683ABE7}"/>
          </ac:spMkLst>
        </pc:spChg>
        <pc:spChg chg="add mod ord">
          <ac:chgData name="Hans Gelissen (DHL SSC Maastricht)" userId="1afa8510-4eed-4b73-a29e-678838cd8acd" providerId="ADAL" clId="{B3B9A9FE-3004-43DC-97A3-BA416ED15667}" dt="2023-03-29T07:28:04.407" v="7172" actId="1076"/>
          <ac:spMkLst>
            <pc:docMk/>
            <pc:sldMk cId="2960814601" sldId="302"/>
            <ac:spMk id="10" creationId="{7EE21BA4-1447-4B72-A5A7-C5A783615955}"/>
          </ac:spMkLst>
        </pc:spChg>
        <pc:spChg chg="add mod ord">
          <ac:chgData name="Hans Gelissen (DHL SSC Maastricht)" userId="1afa8510-4eed-4b73-a29e-678838cd8acd" providerId="ADAL" clId="{B3B9A9FE-3004-43DC-97A3-BA416ED15667}" dt="2023-03-27T15:17:06.627" v="5206" actId="1076"/>
          <ac:spMkLst>
            <pc:docMk/>
            <pc:sldMk cId="2960814601" sldId="302"/>
            <ac:spMk id="11" creationId="{B42AA35B-2BF3-44CD-8F02-B4231B570CDD}"/>
          </ac:spMkLst>
        </pc:spChg>
        <pc:spChg chg="add mod ord">
          <ac:chgData name="Hans Gelissen (DHL SSC Maastricht)" userId="1afa8510-4eed-4b73-a29e-678838cd8acd" providerId="ADAL" clId="{B3B9A9FE-3004-43DC-97A3-BA416ED15667}" dt="2023-03-27T15:16:34.450" v="5201" actId="1076"/>
          <ac:spMkLst>
            <pc:docMk/>
            <pc:sldMk cId="2960814601" sldId="302"/>
            <ac:spMk id="12" creationId="{45E0EFC1-46CE-4C41-B7B7-4089F1BA6884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4:32:25.881" v="4596" actId="931"/>
          <ac:spMkLst>
            <pc:docMk/>
            <pc:sldMk cId="2960814601" sldId="302"/>
            <ac:spMk id="13" creationId="{EBBEA0C8-1783-4453-89F5-5F1011465E4E}"/>
          </ac:spMkLst>
        </pc:spChg>
        <pc:spChg chg="add del">
          <ac:chgData name="Hans Gelissen (DHL SSC Maastricht)" userId="1afa8510-4eed-4b73-a29e-678838cd8acd" providerId="ADAL" clId="{B3B9A9FE-3004-43DC-97A3-BA416ED15667}" dt="2023-03-27T14:17:23.137" v="4467" actId="478"/>
          <ac:spMkLst>
            <pc:docMk/>
            <pc:sldMk cId="2960814601" sldId="302"/>
            <ac:spMk id="14" creationId="{8A28B409-22DA-4E53-86B0-CDAE474ED6E9}"/>
          </ac:spMkLst>
        </pc:spChg>
        <pc:spChg chg="add del">
          <ac:chgData name="Hans Gelissen (DHL SSC Maastricht)" userId="1afa8510-4eed-4b73-a29e-678838cd8acd" providerId="ADAL" clId="{B3B9A9FE-3004-43DC-97A3-BA416ED15667}" dt="2023-03-27T14:17:38.264" v="4469" actId="478"/>
          <ac:spMkLst>
            <pc:docMk/>
            <pc:sldMk cId="2960814601" sldId="302"/>
            <ac:spMk id="15" creationId="{14284844-4A8A-4B7E-B275-69A73BEAA62F}"/>
          </ac:spMkLst>
        </pc:spChg>
        <pc:spChg chg="add del">
          <ac:chgData name="Hans Gelissen (DHL SSC Maastricht)" userId="1afa8510-4eed-4b73-a29e-678838cd8acd" providerId="ADAL" clId="{B3B9A9FE-3004-43DC-97A3-BA416ED15667}" dt="2023-03-27T14:17:49.140" v="4471" actId="478"/>
          <ac:spMkLst>
            <pc:docMk/>
            <pc:sldMk cId="2960814601" sldId="302"/>
            <ac:spMk id="16" creationId="{D5A5E090-9F1F-458C-A13C-CCB0FCD9BEA7}"/>
          </ac:spMkLst>
        </pc:spChg>
        <pc:spChg chg="add del">
          <ac:chgData name="Hans Gelissen (DHL SSC Maastricht)" userId="1afa8510-4eed-4b73-a29e-678838cd8acd" providerId="ADAL" clId="{B3B9A9FE-3004-43DC-97A3-BA416ED15667}" dt="2023-03-27T14:18:28.155" v="4474" actId="478"/>
          <ac:spMkLst>
            <pc:docMk/>
            <pc:sldMk cId="2960814601" sldId="302"/>
            <ac:spMk id="17" creationId="{17DCBDDF-4496-43D9-BD4A-212C0762184A}"/>
          </ac:spMkLst>
        </pc:spChg>
        <pc:spChg chg="add del mod">
          <ac:chgData name="Hans Gelissen (DHL SSC Maastricht)" userId="1afa8510-4eed-4b73-a29e-678838cd8acd" providerId="ADAL" clId="{B3B9A9FE-3004-43DC-97A3-BA416ED15667}" dt="2023-03-29T07:27:50.650" v="7163" actId="478"/>
          <ac:spMkLst>
            <pc:docMk/>
            <pc:sldMk cId="2960814601" sldId="302"/>
            <ac:spMk id="18" creationId="{FA84607E-D366-44AA-AD05-4914BFE81917}"/>
          </ac:spMkLst>
        </pc:spChg>
        <pc:spChg chg="add del mod">
          <ac:chgData name="Hans Gelissen (DHL SSC Maastricht)" userId="1afa8510-4eed-4b73-a29e-678838cd8acd" providerId="ADAL" clId="{B3B9A9FE-3004-43DC-97A3-BA416ED15667}" dt="2023-03-27T14:18:47.195" v="4478" actId="478"/>
          <ac:spMkLst>
            <pc:docMk/>
            <pc:sldMk cId="2960814601" sldId="302"/>
            <ac:spMk id="19" creationId="{40E5249C-BA4F-40B3-B0DB-7D233D87496B}"/>
          </ac:spMkLst>
        </pc:spChg>
        <pc:spChg chg="add del mod">
          <ac:chgData name="Hans Gelissen (DHL SSC Maastricht)" userId="1afa8510-4eed-4b73-a29e-678838cd8acd" providerId="ADAL" clId="{B3B9A9FE-3004-43DC-97A3-BA416ED15667}" dt="2023-03-29T07:27:49.051" v="7162" actId="478"/>
          <ac:spMkLst>
            <pc:docMk/>
            <pc:sldMk cId="2960814601" sldId="302"/>
            <ac:spMk id="20" creationId="{30696B14-BF4E-45AF-A67C-BC7C7FB7FDE4}"/>
          </ac:spMkLst>
        </pc:spChg>
        <pc:spChg chg="add del mod">
          <ac:chgData name="Hans Gelissen (DHL SSC Maastricht)" userId="1afa8510-4eed-4b73-a29e-678838cd8acd" providerId="ADAL" clId="{B3B9A9FE-3004-43DC-97A3-BA416ED15667}" dt="2023-03-27T14:20:58.073" v="4503" actId="478"/>
          <ac:spMkLst>
            <pc:docMk/>
            <pc:sldMk cId="2960814601" sldId="302"/>
            <ac:spMk id="21" creationId="{110FA722-5085-4FE7-8372-C7BA549AF60B}"/>
          </ac:spMkLst>
        </pc:spChg>
        <pc:spChg chg="add del mod">
          <ac:chgData name="Hans Gelissen (DHL SSC Maastricht)" userId="1afa8510-4eed-4b73-a29e-678838cd8acd" providerId="ADAL" clId="{B3B9A9FE-3004-43DC-97A3-BA416ED15667}" dt="2023-03-27T14:20:55.018" v="4502" actId="478"/>
          <ac:spMkLst>
            <pc:docMk/>
            <pc:sldMk cId="2960814601" sldId="302"/>
            <ac:spMk id="22" creationId="{B2452C3F-00B5-4ACA-AC1C-D7BE6162A2A1}"/>
          </ac:spMkLst>
        </pc:spChg>
        <pc:spChg chg="add del mod">
          <ac:chgData name="Hans Gelissen (DHL SSC Maastricht)" userId="1afa8510-4eed-4b73-a29e-678838cd8acd" providerId="ADAL" clId="{B3B9A9FE-3004-43DC-97A3-BA416ED15667}" dt="2023-03-29T07:27:51.683" v="7164" actId="478"/>
          <ac:spMkLst>
            <pc:docMk/>
            <pc:sldMk cId="2960814601" sldId="302"/>
            <ac:spMk id="23" creationId="{C7F08E0A-148F-46F1-B7C3-BF429C7CD12C}"/>
          </ac:spMkLst>
        </pc:spChg>
        <pc:spChg chg="add del mod">
          <ac:chgData name="Hans Gelissen (DHL SSC Maastricht)" userId="1afa8510-4eed-4b73-a29e-678838cd8acd" providerId="ADAL" clId="{B3B9A9FE-3004-43DC-97A3-BA416ED15667}" dt="2023-03-27T14:22:07.220" v="4518" actId="478"/>
          <ac:spMkLst>
            <pc:docMk/>
            <pc:sldMk cId="2960814601" sldId="302"/>
            <ac:spMk id="24" creationId="{91058A02-CD12-4968-A3E8-4CD86CAA6FBD}"/>
          </ac:spMkLst>
        </pc:spChg>
        <pc:spChg chg="add del mod">
          <ac:chgData name="Hans Gelissen (DHL SSC Maastricht)" userId="1afa8510-4eed-4b73-a29e-678838cd8acd" providerId="ADAL" clId="{B3B9A9FE-3004-43DC-97A3-BA416ED15667}" dt="2023-03-29T07:27:53.086" v="7165" actId="478"/>
          <ac:spMkLst>
            <pc:docMk/>
            <pc:sldMk cId="2960814601" sldId="302"/>
            <ac:spMk id="25" creationId="{FCD473AC-50E6-4FB6-9D00-0E3E143BDBEA}"/>
          </ac:spMkLst>
        </pc:spChg>
        <pc:spChg chg="add del mod">
          <ac:chgData name="Hans Gelissen (DHL SSC Maastricht)" userId="1afa8510-4eed-4b73-a29e-678838cd8acd" providerId="ADAL" clId="{B3B9A9FE-3004-43DC-97A3-BA416ED15667}" dt="2023-03-29T07:27:58.508" v="7169" actId="478"/>
          <ac:spMkLst>
            <pc:docMk/>
            <pc:sldMk cId="2960814601" sldId="302"/>
            <ac:spMk id="26" creationId="{ED81ABF6-69D9-4648-868A-D3AB4A1BBA0D}"/>
          </ac:spMkLst>
        </pc:spChg>
        <pc:spChg chg="add del mod">
          <ac:chgData name="Hans Gelissen (DHL SSC Maastricht)" userId="1afa8510-4eed-4b73-a29e-678838cd8acd" providerId="ADAL" clId="{B3B9A9FE-3004-43DC-97A3-BA416ED15667}" dt="2023-03-29T07:27:54.224" v="7166" actId="478"/>
          <ac:spMkLst>
            <pc:docMk/>
            <pc:sldMk cId="2960814601" sldId="302"/>
            <ac:spMk id="27" creationId="{8DB81D31-FCFC-4DDF-B1C0-E23427CBFAA8}"/>
          </ac:spMkLst>
        </pc:spChg>
        <pc:spChg chg="add del mod">
          <ac:chgData name="Hans Gelissen (DHL SSC Maastricht)" userId="1afa8510-4eed-4b73-a29e-678838cd8acd" providerId="ADAL" clId="{B3B9A9FE-3004-43DC-97A3-BA416ED15667}" dt="2023-03-29T07:28:00.237" v="7170" actId="478"/>
          <ac:spMkLst>
            <pc:docMk/>
            <pc:sldMk cId="2960814601" sldId="302"/>
            <ac:spMk id="28" creationId="{632B4FEC-64C4-4705-B26B-42FFEB787FB1}"/>
          </ac:spMkLst>
        </pc:spChg>
        <pc:spChg chg="add del mod">
          <ac:chgData name="Hans Gelissen (DHL SSC Maastricht)" userId="1afa8510-4eed-4b73-a29e-678838cd8acd" providerId="ADAL" clId="{B3B9A9FE-3004-43DC-97A3-BA416ED15667}" dt="2023-03-29T07:27:55.734" v="7167" actId="478"/>
          <ac:spMkLst>
            <pc:docMk/>
            <pc:sldMk cId="2960814601" sldId="302"/>
            <ac:spMk id="29" creationId="{4E7EC257-FB8D-45D8-A1E8-80649AE5E89E}"/>
          </ac:spMkLst>
        </pc:spChg>
        <pc:spChg chg="add del mod">
          <ac:chgData name="Hans Gelissen (DHL SSC Maastricht)" userId="1afa8510-4eed-4b73-a29e-678838cd8acd" providerId="ADAL" clId="{B3B9A9FE-3004-43DC-97A3-BA416ED15667}" dt="2023-03-29T07:27:57.319" v="7168" actId="478"/>
          <ac:spMkLst>
            <pc:docMk/>
            <pc:sldMk cId="2960814601" sldId="302"/>
            <ac:spMk id="30" creationId="{DCC743C4-A870-4C6D-A7A9-6EFF051BC723}"/>
          </ac:spMkLst>
        </pc:spChg>
        <pc:spChg chg="add del mod">
          <ac:chgData name="Hans Gelissen (DHL SSC Maastricht)" userId="1afa8510-4eed-4b73-a29e-678838cd8acd" providerId="ADAL" clId="{B3B9A9FE-3004-43DC-97A3-BA416ED15667}" dt="2023-03-27T14:27:07.749" v="4575" actId="478"/>
          <ac:spMkLst>
            <pc:docMk/>
            <pc:sldMk cId="2960814601" sldId="302"/>
            <ac:spMk id="31" creationId="{EBC55F65-3AC7-40B7-AE22-C8FC4E2CE646}"/>
          </ac:spMkLst>
        </pc:spChg>
        <pc:spChg chg="add del mod">
          <ac:chgData name="Hans Gelissen (DHL SSC Maastricht)" userId="1afa8510-4eed-4b73-a29e-678838cd8acd" providerId="ADAL" clId="{B3B9A9FE-3004-43DC-97A3-BA416ED15667}" dt="2023-03-29T07:28:00.896" v="7171" actId="478"/>
          <ac:spMkLst>
            <pc:docMk/>
            <pc:sldMk cId="2960814601" sldId="302"/>
            <ac:spMk id="32" creationId="{FEFF332C-D1B8-4830-BDCD-6221F5D25E06}"/>
          </ac:spMkLst>
        </pc:spChg>
        <pc:picChg chg="add mod">
          <ac:chgData name="Hans Gelissen (DHL SSC Maastricht)" userId="1afa8510-4eed-4b73-a29e-678838cd8acd" providerId="ADAL" clId="{B3B9A9FE-3004-43DC-97A3-BA416ED15667}" dt="2023-03-29T07:28:32.292" v="7180" actId="1076"/>
          <ac:picMkLst>
            <pc:docMk/>
            <pc:sldMk cId="2960814601" sldId="302"/>
            <ac:picMk id="31" creationId="{7DB3A163-644B-4AD2-9193-0D83D4FD77BA}"/>
          </ac:picMkLst>
        </pc:picChg>
        <pc:picChg chg="add mod">
          <ac:chgData name="Hans Gelissen (DHL SSC Maastricht)" userId="1afa8510-4eed-4b73-a29e-678838cd8acd" providerId="ADAL" clId="{B3B9A9FE-3004-43DC-97A3-BA416ED15667}" dt="2023-03-29T07:28:30.682" v="7179" actId="1076"/>
          <ac:picMkLst>
            <pc:docMk/>
            <pc:sldMk cId="2960814601" sldId="302"/>
            <ac:picMk id="34" creationId="{657D24FD-FA87-4ABE-B3D3-56C1BEB9BA97}"/>
          </ac:picMkLst>
        </pc:picChg>
        <pc:picChg chg="add mod modCrop">
          <ac:chgData name="Hans Gelissen (DHL SSC Maastricht)" userId="1afa8510-4eed-4b73-a29e-678838cd8acd" providerId="ADAL" clId="{B3B9A9FE-3004-43DC-97A3-BA416ED15667}" dt="2023-03-27T14:32:49.844" v="4600" actId="18131"/>
          <ac:picMkLst>
            <pc:docMk/>
            <pc:sldMk cId="2960814601" sldId="302"/>
            <ac:picMk id="35" creationId="{45235B97-8418-4A9A-80EE-6F0D2217640E}"/>
          </ac:picMkLst>
        </pc:picChg>
        <pc:picChg chg="add del mod">
          <ac:chgData name="Hans Gelissen (DHL SSC Maastricht)" userId="1afa8510-4eed-4b73-a29e-678838cd8acd" providerId="ADAL" clId="{B3B9A9FE-3004-43DC-97A3-BA416ED15667}" dt="2023-03-29T07:28:22.320" v="7177" actId="478"/>
          <ac:picMkLst>
            <pc:docMk/>
            <pc:sldMk cId="2960814601" sldId="302"/>
            <ac:picMk id="8194" creationId="{ED6739A0-D9F4-4E21-9B9B-D8092E14C973}"/>
          </ac:picMkLst>
        </pc:pic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7T14:51:33.502" v="4938" actId="20577"/>
        <pc:sldMkLst>
          <pc:docMk/>
          <pc:sldMk cId="3822180554" sldId="303"/>
        </pc:sldMkLst>
        <pc:spChg chg="del">
          <ac:chgData name="Hans Gelissen (DHL SSC Maastricht)" userId="1afa8510-4eed-4b73-a29e-678838cd8acd" providerId="ADAL" clId="{B3B9A9FE-3004-43DC-97A3-BA416ED15667}" dt="2023-03-27T14:34:53.296" v="4615" actId="700"/>
          <ac:spMkLst>
            <pc:docMk/>
            <pc:sldMk cId="3822180554" sldId="303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4:36:04.013" v="4617" actId="700"/>
          <ac:spMkLst>
            <pc:docMk/>
            <pc:sldMk cId="3822180554" sldId="303"/>
            <ac:spMk id="3" creationId="{0A87BAE4-0D99-4742-85D2-203AA643AC87}"/>
          </ac:spMkLst>
        </pc:spChg>
        <pc:spChg chg="add mod ord">
          <ac:chgData name="Hans Gelissen (DHL SSC Maastricht)" userId="1afa8510-4eed-4b73-a29e-678838cd8acd" providerId="ADAL" clId="{B3B9A9FE-3004-43DC-97A3-BA416ED15667}" dt="2023-03-27T14:51:33.502" v="4938" actId="20577"/>
          <ac:spMkLst>
            <pc:docMk/>
            <pc:sldMk cId="3822180554" sldId="303"/>
            <ac:spMk id="4" creationId="{35F5795F-AA83-4B8C-88AE-E462A1DD7B3F}"/>
          </ac:spMkLst>
        </pc:sp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7T15:06:43.628" v="5172" actId="478"/>
        <pc:sldMkLst>
          <pc:docMk/>
          <pc:sldMk cId="163292529" sldId="304"/>
        </pc:sldMkLst>
        <pc:spChg chg="del mod ord">
          <ac:chgData name="Hans Gelissen (DHL SSC Maastricht)" userId="1afa8510-4eed-4b73-a29e-678838cd8acd" providerId="ADAL" clId="{B3B9A9FE-3004-43DC-97A3-BA416ED15667}" dt="2023-03-27T13:39:54.722" v="3882" actId="700"/>
          <ac:spMkLst>
            <pc:docMk/>
            <pc:sldMk cId="163292529" sldId="304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5:06:43.628" v="5172" actId="478"/>
          <ac:spMkLst>
            <pc:docMk/>
            <pc:sldMk cId="163292529" sldId="304"/>
            <ac:spMk id="3" creationId="{92CBEBAC-CE76-438D-9A5B-17C1DE0A9B3F}"/>
          </ac:spMkLst>
        </pc:sp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8T09:42:49.377" v="5551" actId="404"/>
        <pc:sldMkLst>
          <pc:docMk/>
          <pc:sldMk cId="2804179008" sldId="305"/>
        </pc:sldMkLst>
        <pc:spChg chg="del mod ord">
          <ac:chgData name="Hans Gelissen (DHL SSC Maastricht)" userId="1afa8510-4eed-4b73-a29e-678838cd8acd" providerId="ADAL" clId="{B3B9A9FE-3004-43DC-97A3-BA416ED15667}" dt="2023-03-27T13:40:42.010" v="3926" actId="700"/>
          <ac:spMkLst>
            <pc:docMk/>
            <pc:sldMk cId="2804179008" sldId="305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8T09:42:49.377" v="5551" actId="404"/>
          <ac:spMkLst>
            <pc:docMk/>
            <pc:sldMk cId="2804179008" sldId="305"/>
            <ac:spMk id="3" creationId="{74260B93-38F9-4918-B41F-C916534B721C}"/>
          </ac:spMkLst>
        </pc:sp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7T13:59:04.142" v="4184" actId="700"/>
        <pc:sldMkLst>
          <pc:docMk/>
          <pc:sldMk cId="1990072633" sldId="306"/>
        </pc:sldMkLst>
        <pc:spChg chg="del mod ord">
          <ac:chgData name="Hans Gelissen (DHL SSC Maastricht)" userId="1afa8510-4eed-4b73-a29e-678838cd8acd" providerId="ADAL" clId="{B3B9A9FE-3004-43DC-97A3-BA416ED15667}" dt="2023-03-27T13:43:30.025" v="3994" actId="700"/>
          <ac:spMkLst>
            <pc:docMk/>
            <pc:sldMk cId="1990072633" sldId="306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7T13:59:04.142" v="4184" actId="700"/>
          <ac:spMkLst>
            <pc:docMk/>
            <pc:sldMk cId="1990072633" sldId="306"/>
            <ac:spMk id="3" creationId="{31D09A5E-707B-4DAE-B4A3-C64875525CE9}"/>
          </ac:spMkLst>
        </pc:spChg>
        <pc:spChg chg="add mod">
          <ac:chgData name="Hans Gelissen (DHL SSC Maastricht)" userId="1afa8510-4eed-4b73-a29e-678838cd8acd" providerId="ADAL" clId="{B3B9A9FE-3004-43DC-97A3-BA416ED15667}" dt="2023-03-27T13:58:39.382" v="4182" actId="1076"/>
          <ac:spMkLst>
            <pc:docMk/>
            <pc:sldMk cId="1990072633" sldId="306"/>
            <ac:spMk id="4" creationId="{F18A7EB4-AAFE-4786-8065-6B7FF810C01F}"/>
          </ac:spMkLst>
        </pc:spChg>
        <pc:spChg chg="add mod">
          <ac:chgData name="Hans Gelissen (DHL SSC Maastricht)" userId="1afa8510-4eed-4b73-a29e-678838cd8acd" providerId="ADAL" clId="{B3B9A9FE-3004-43DC-97A3-BA416ED15667}" dt="2023-03-27T13:58:39.382" v="4182" actId="1076"/>
          <ac:spMkLst>
            <pc:docMk/>
            <pc:sldMk cId="1990072633" sldId="306"/>
            <ac:spMk id="5" creationId="{E4034F75-76EB-4E39-90B9-A314A4B535E8}"/>
          </ac:spMkLst>
        </pc:sp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8T09:27:03.046" v="5292" actId="1076"/>
        <pc:sldMkLst>
          <pc:docMk/>
          <pc:sldMk cId="2453820598" sldId="307"/>
        </pc:sldMkLst>
        <pc:spChg chg="del mod ord">
          <ac:chgData name="Hans Gelissen (DHL SSC Maastricht)" userId="1afa8510-4eed-4b73-a29e-678838cd8acd" providerId="ADAL" clId="{B3B9A9FE-3004-43DC-97A3-BA416ED15667}" dt="2023-03-27T14:53:27.061" v="4939" actId="700"/>
          <ac:spMkLst>
            <pc:docMk/>
            <pc:sldMk cId="2453820598" sldId="307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4:54:44.338" v="5031" actId="700"/>
          <ac:spMkLst>
            <pc:docMk/>
            <pc:sldMk cId="2453820598" sldId="307"/>
            <ac:spMk id="3" creationId="{A253113C-C178-4A08-B785-47E5F9628053}"/>
          </ac:spMkLst>
        </pc:spChg>
        <pc:spChg chg="add mod">
          <ac:chgData name="Hans Gelissen (DHL SSC Maastricht)" userId="1afa8510-4eed-4b73-a29e-678838cd8acd" providerId="ADAL" clId="{B3B9A9FE-3004-43DC-97A3-BA416ED15667}" dt="2023-03-27T15:01:45.170" v="5106" actId="1076"/>
          <ac:spMkLst>
            <pc:docMk/>
            <pc:sldMk cId="2453820598" sldId="307"/>
            <ac:spMk id="4" creationId="{325C3E43-3DC9-4087-82A3-D481F7CF53DE}"/>
          </ac:spMkLst>
        </pc:spChg>
        <pc:spChg chg="add mod">
          <ac:chgData name="Hans Gelissen (DHL SSC Maastricht)" userId="1afa8510-4eed-4b73-a29e-678838cd8acd" providerId="ADAL" clId="{B3B9A9FE-3004-43DC-97A3-BA416ED15667}" dt="2023-03-28T09:27:03.046" v="5292" actId="1076"/>
          <ac:spMkLst>
            <pc:docMk/>
            <pc:sldMk cId="2453820598" sldId="307"/>
            <ac:spMk id="5" creationId="{761776F0-0CD4-4BA5-9A28-7CE982AD8B4D}"/>
          </ac:spMkLst>
        </pc:spChg>
        <pc:spChg chg="add mod ord">
          <ac:chgData name="Hans Gelissen (DHL SSC Maastricht)" userId="1afa8510-4eed-4b73-a29e-678838cd8acd" providerId="ADAL" clId="{B3B9A9FE-3004-43DC-97A3-BA416ED15667}" dt="2023-03-27T15:01:36.541" v="5105" actId="700"/>
          <ac:spMkLst>
            <pc:docMk/>
            <pc:sldMk cId="2453820598" sldId="307"/>
            <ac:spMk id="6" creationId="{3FC184DD-7AC5-43B1-ABE3-F4252915DF23}"/>
          </ac:spMkLst>
        </pc:spChg>
      </pc:sldChg>
      <pc:sldChg chg="addSp delSp modSp add mod modClrScheme modCm chgLayout">
        <pc:chgData name="Hans Gelissen (DHL SSC Maastricht)" userId="1afa8510-4eed-4b73-a29e-678838cd8acd" providerId="ADAL" clId="{B3B9A9FE-3004-43DC-97A3-BA416ED15667}" dt="2023-03-29T07:28:49.634" v="7181"/>
        <pc:sldMkLst>
          <pc:docMk/>
          <pc:sldMk cId="787262473" sldId="308"/>
        </pc:sldMkLst>
        <pc:spChg chg="mod ord">
          <ac:chgData name="Hans Gelissen (DHL SSC Maastricht)" userId="1afa8510-4eed-4b73-a29e-678838cd8acd" providerId="ADAL" clId="{B3B9A9FE-3004-43DC-97A3-BA416ED15667}" dt="2023-03-28T09:45:50.245" v="5605" actId="20577"/>
          <ac:spMkLst>
            <pc:docMk/>
            <pc:sldMk cId="787262473" sldId="308"/>
            <ac:spMk id="2" creationId="{861444EB-F7AC-4C40-8F0E-916778EE475D}"/>
          </ac:spMkLst>
        </pc:spChg>
        <pc:spChg chg="add del mod">
          <ac:chgData name="Hans Gelissen (DHL SSC Maastricht)" userId="1afa8510-4eed-4b73-a29e-678838cd8acd" providerId="ADAL" clId="{B3B9A9FE-3004-43DC-97A3-BA416ED15667}" dt="2023-03-28T12:11:41.743" v="6678" actId="478"/>
          <ac:spMkLst>
            <pc:docMk/>
            <pc:sldMk cId="787262473" sldId="308"/>
            <ac:spMk id="11" creationId="{2820C07B-5AF6-4D00-AA1E-BA62B2955AA8}"/>
          </ac:spMkLst>
        </pc:spChg>
        <pc:spChg chg="add mod">
          <ac:chgData name="Hans Gelissen (DHL SSC Maastricht)" userId="1afa8510-4eed-4b73-a29e-678838cd8acd" providerId="ADAL" clId="{B3B9A9FE-3004-43DC-97A3-BA416ED15667}" dt="2023-03-28T12:11:18.392" v="6661"/>
          <ac:spMkLst>
            <pc:docMk/>
            <pc:sldMk cId="787262473" sldId="308"/>
            <ac:spMk id="75" creationId="{DD90205C-7FFB-4282-A99F-303C7CF9C64D}"/>
          </ac:spMkLst>
        </pc:spChg>
        <pc:spChg chg="add mod">
          <ac:chgData name="Hans Gelissen (DHL SSC Maastricht)" userId="1afa8510-4eed-4b73-a29e-678838cd8acd" providerId="ADAL" clId="{B3B9A9FE-3004-43DC-97A3-BA416ED15667}" dt="2023-03-28T12:11:18.392" v="6661"/>
          <ac:spMkLst>
            <pc:docMk/>
            <pc:sldMk cId="787262473" sldId="308"/>
            <ac:spMk id="76" creationId="{71C84CEC-13B1-4EC1-A18E-0F7FF47DA0E1}"/>
          </ac:spMkLst>
        </pc:spChg>
        <pc:spChg chg="add mod">
          <ac:chgData name="Hans Gelissen (DHL SSC Maastricht)" userId="1afa8510-4eed-4b73-a29e-678838cd8acd" providerId="ADAL" clId="{B3B9A9FE-3004-43DC-97A3-BA416ED15667}" dt="2023-03-28T12:11:18.392" v="6661"/>
          <ac:spMkLst>
            <pc:docMk/>
            <pc:sldMk cId="787262473" sldId="308"/>
            <ac:spMk id="77" creationId="{07D07D44-1793-453E-9971-BDB60B0E5A38}"/>
          </ac:spMkLst>
        </pc:spChg>
        <pc:spChg chg="add mod">
          <ac:chgData name="Hans Gelissen (DHL SSC Maastricht)" userId="1afa8510-4eed-4b73-a29e-678838cd8acd" providerId="ADAL" clId="{B3B9A9FE-3004-43DC-97A3-BA416ED15667}" dt="2023-03-28T12:11:18.392" v="6661"/>
          <ac:spMkLst>
            <pc:docMk/>
            <pc:sldMk cId="787262473" sldId="308"/>
            <ac:spMk id="78" creationId="{74F5AF24-D29A-4F64-A49F-C590DDB9F572}"/>
          </ac:spMkLst>
        </pc:spChg>
        <pc:spChg chg="add mod">
          <ac:chgData name="Hans Gelissen (DHL SSC Maastricht)" userId="1afa8510-4eed-4b73-a29e-678838cd8acd" providerId="ADAL" clId="{B3B9A9FE-3004-43DC-97A3-BA416ED15667}" dt="2023-03-28T12:11:18.392" v="6661"/>
          <ac:spMkLst>
            <pc:docMk/>
            <pc:sldMk cId="787262473" sldId="308"/>
            <ac:spMk id="79" creationId="{BAD347B4-72B2-4561-A298-919078BF3130}"/>
          </ac:spMkLst>
        </pc:spChg>
        <pc:spChg chg="add mod">
          <ac:chgData name="Hans Gelissen (DHL SSC Maastricht)" userId="1afa8510-4eed-4b73-a29e-678838cd8acd" providerId="ADAL" clId="{B3B9A9FE-3004-43DC-97A3-BA416ED15667}" dt="2023-03-28T12:11:18.392" v="6661"/>
          <ac:spMkLst>
            <pc:docMk/>
            <pc:sldMk cId="787262473" sldId="308"/>
            <ac:spMk id="80" creationId="{A93BA971-97BA-4298-9233-AB599FC9C970}"/>
          </ac:spMkLst>
        </pc:spChg>
        <pc:spChg chg="add mod">
          <ac:chgData name="Hans Gelissen (DHL SSC Maastricht)" userId="1afa8510-4eed-4b73-a29e-678838cd8acd" providerId="ADAL" clId="{B3B9A9FE-3004-43DC-97A3-BA416ED15667}" dt="2023-03-28T12:11:18.392" v="6661"/>
          <ac:spMkLst>
            <pc:docMk/>
            <pc:sldMk cId="787262473" sldId="308"/>
            <ac:spMk id="81" creationId="{39FBDF94-F19C-415B-9C63-966D0AA5B75C}"/>
          </ac:spMkLst>
        </pc:spChg>
        <pc:spChg chg="add mod">
          <ac:chgData name="Hans Gelissen (DHL SSC Maastricht)" userId="1afa8510-4eed-4b73-a29e-678838cd8acd" providerId="ADAL" clId="{B3B9A9FE-3004-43DC-97A3-BA416ED15667}" dt="2023-03-28T12:11:24.832" v="6677" actId="20577"/>
          <ac:spMkLst>
            <pc:docMk/>
            <pc:sldMk cId="787262473" sldId="308"/>
            <ac:spMk id="82" creationId="{09F26BA1-D395-4EC1-B61B-0FF24729F7D4}"/>
          </ac:spMkLst>
        </pc:spChg>
        <pc:grpChg chg="add mod">
          <ac:chgData name="Hans Gelissen (DHL SSC Maastricht)" userId="1afa8510-4eed-4b73-a29e-678838cd8acd" providerId="ADAL" clId="{B3B9A9FE-3004-43DC-97A3-BA416ED15667}" dt="2023-03-28T10:18:51.141" v="6035" actId="1076"/>
          <ac:grpSpMkLst>
            <pc:docMk/>
            <pc:sldMk cId="787262473" sldId="308"/>
            <ac:grpSpMk id="29" creationId="{8690F4CA-649D-4D52-9064-A2399AFB6F21}"/>
          </ac:grpSpMkLst>
        </pc:grpChg>
        <pc:picChg chg="add del mod">
          <ac:chgData name="Hans Gelissen (DHL SSC Maastricht)" userId="1afa8510-4eed-4b73-a29e-678838cd8acd" providerId="ADAL" clId="{B3B9A9FE-3004-43DC-97A3-BA416ED15667}" dt="2023-03-28T09:35:39.571" v="5365" actId="478"/>
          <ac:picMkLst>
            <pc:docMk/>
            <pc:sldMk cId="787262473" sldId="308"/>
            <ac:picMk id="4" creationId="{62D462DF-E35A-4484-9F5F-2D6BC79CCAC1}"/>
          </ac:picMkLst>
        </pc:picChg>
        <pc:picChg chg="add mod">
          <ac:chgData name="Hans Gelissen (DHL SSC Maastricht)" userId="1afa8510-4eed-4b73-a29e-678838cd8acd" providerId="ADAL" clId="{B3B9A9FE-3004-43DC-97A3-BA416ED15667}" dt="2023-03-28T09:56:03.023" v="5716" actId="1076"/>
          <ac:picMkLst>
            <pc:docMk/>
            <pc:sldMk cId="787262473" sldId="308"/>
            <ac:picMk id="27" creationId="{A5B00D0E-253A-4651-AD70-E8FBAC2274FE}"/>
          </ac:picMkLst>
        </pc:picChg>
        <pc:picChg chg="add mod">
          <ac:chgData name="Hans Gelissen (DHL SSC Maastricht)" userId="1afa8510-4eed-4b73-a29e-678838cd8acd" providerId="ADAL" clId="{B3B9A9FE-3004-43DC-97A3-BA416ED15667}" dt="2023-03-28T09:52:09.689" v="5677" actId="14861"/>
          <ac:picMkLst>
            <pc:docMk/>
            <pc:sldMk cId="787262473" sldId="308"/>
            <ac:picMk id="32" creationId="{92563181-48B5-4D97-A7EE-D516996C2C4A}"/>
          </ac:picMkLst>
        </pc:picChg>
        <pc:picChg chg="add mod">
          <ac:chgData name="Hans Gelissen (DHL SSC Maastricht)" userId="1afa8510-4eed-4b73-a29e-678838cd8acd" providerId="ADAL" clId="{B3B9A9FE-3004-43DC-97A3-BA416ED15667}" dt="2023-03-28T09:52:09.689" v="5677" actId="14861"/>
          <ac:picMkLst>
            <pc:docMk/>
            <pc:sldMk cId="787262473" sldId="308"/>
            <ac:picMk id="34" creationId="{4DF27D61-53A1-438C-94B6-62ADAEF254E2}"/>
          </ac:picMkLst>
        </pc:picChg>
        <pc:picChg chg="add mod">
          <ac:chgData name="Hans Gelissen (DHL SSC Maastricht)" userId="1afa8510-4eed-4b73-a29e-678838cd8acd" providerId="ADAL" clId="{B3B9A9FE-3004-43DC-97A3-BA416ED15667}" dt="2023-03-28T10:10:44.003" v="5988" actId="14100"/>
          <ac:picMkLst>
            <pc:docMk/>
            <pc:sldMk cId="787262473" sldId="308"/>
            <ac:picMk id="36" creationId="{68C50F4B-A929-453A-9EA8-95127AA54A5E}"/>
          </ac:picMkLst>
        </pc:picChg>
        <pc:picChg chg="add mod">
          <ac:chgData name="Hans Gelissen (DHL SSC Maastricht)" userId="1afa8510-4eed-4b73-a29e-678838cd8acd" providerId="ADAL" clId="{B3B9A9FE-3004-43DC-97A3-BA416ED15667}" dt="2023-03-28T10:09:08.278" v="5947" actId="14100"/>
          <ac:picMkLst>
            <pc:docMk/>
            <pc:sldMk cId="787262473" sldId="308"/>
            <ac:picMk id="40" creationId="{D4B4FA14-16CA-4663-BC0F-5E37A0A8483E}"/>
          </ac:picMkLst>
        </pc:picChg>
        <pc:picChg chg="add mod">
          <ac:chgData name="Hans Gelissen (DHL SSC Maastricht)" userId="1afa8510-4eed-4b73-a29e-678838cd8acd" providerId="ADAL" clId="{B3B9A9FE-3004-43DC-97A3-BA416ED15667}" dt="2023-03-28T10:23:00.707" v="6067" actId="1076"/>
          <ac:picMkLst>
            <pc:docMk/>
            <pc:sldMk cId="787262473" sldId="308"/>
            <ac:picMk id="42" creationId="{CD3FDEA0-82F8-4097-BD29-D4CED7418D40}"/>
          </ac:picMkLst>
        </pc:picChg>
        <pc:picChg chg="add del mod">
          <ac:chgData name="Hans Gelissen (DHL SSC Maastricht)" userId="1afa8510-4eed-4b73-a29e-678838cd8acd" providerId="ADAL" clId="{B3B9A9FE-3004-43DC-97A3-BA416ED15667}" dt="2023-03-28T10:01:41.628" v="5830" actId="478"/>
          <ac:picMkLst>
            <pc:docMk/>
            <pc:sldMk cId="787262473" sldId="308"/>
            <ac:picMk id="44" creationId="{16A4D5C1-940C-47A1-8011-E26E9D3C1D4E}"/>
          </ac:picMkLst>
        </pc:picChg>
        <pc:picChg chg="add mod modCrop">
          <ac:chgData name="Hans Gelissen (DHL SSC Maastricht)" userId="1afa8510-4eed-4b73-a29e-678838cd8acd" providerId="ADAL" clId="{B3B9A9FE-3004-43DC-97A3-BA416ED15667}" dt="2023-03-28T10:01:14.053" v="5829" actId="1076"/>
          <ac:picMkLst>
            <pc:docMk/>
            <pc:sldMk cId="787262473" sldId="308"/>
            <ac:picMk id="46" creationId="{A0486589-11EE-41C8-921E-C771D36ED54D}"/>
          </ac:picMkLst>
        </pc:picChg>
        <pc:picChg chg="add mod">
          <ac:chgData name="Hans Gelissen (DHL SSC Maastricht)" userId="1afa8510-4eed-4b73-a29e-678838cd8acd" providerId="ADAL" clId="{B3B9A9FE-3004-43DC-97A3-BA416ED15667}" dt="2023-03-28T10:02:50.038" v="5848" actId="1076"/>
          <ac:picMkLst>
            <pc:docMk/>
            <pc:sldMk cId="787262473" sldId="308"/>
            <ac:picMk id="48" creationId="{F164716B-A3D4-470F-8C45-730440ED9FF9}"/>
          </ac:picMkLst>
        </pc:picChg>
        <pc:picChg chg="add del mod">
          <ac:chgData name="Hans Gelissen (DHL SSC Maastricht)" userId="1afa8510-4eed-4b73-a29e-678838cd8acd" providerId="ADAL" clId="{B3B9A9FE-3004-43DC-97A3-BA416ED15667}" dt="2023-03-28T10:23:19.811" v="6080" actId="21"/>
          <ac:picMkLst>
            <pc:docMk/>
            <pc:sldMk cId="787262473" sldId="308"/>
            <ac:picMk id="50" creationId="{693327CD-7650-46A9-A2AC-C6529F039998}"/>
          </ac:picMkLst>
        </pc:picChg>
        <pc:picChg chg="add del mod">
          <ac:chgData name="Hans Gelissen (DHL SSC Maastricht)" userId="1afa8510-4eed-4b73-a29e-678838cd8acd" providerId="ADAL" clId="{B3B9A9FE-3004-43DC-97A3-BA416ED15667}" dt="2023-03-28T10:23:19.811" v="6080" actId="21"/>
          <ac:picMkLst>
            <pc:docMk/>
            <pc:sldMk cId="787262473" sldId="308"/>
            <ac:picMk id="52" creationId="{C2A1B45E-0EFD-49A5-9347-B36A58022FB3}"/>
          </ac:picMkLst>
        </pc:picChg>
        <pc:picChg chg="add del mod">
          <ac:chgData name="Hans Gelissen (DHL SSC Maastricht)" userId="1afa8510-4eed-4b73-a29e-678838cd8acd" providerId="ADAL" clId="{B3B9A9FE-3004-43DC-97A3-BA416ED15667}" dt="2023-03-28T10:23:19.811" v="6080" actId="21"/>
          <ac:picMkLst>
            <pc:docMk/>
            <pc:sldMk cId="787262473" sldId="308"/>
            <ac:picMk id="54" creationId="{00E3424A-0D45-4D7F-B44D-09E9B66699D3}"/>
          </ac:picMkLst>
        </pc:picChg>
        <pc:picChg chg="add del mod">
          <ac:chgData name="Hans Gelissen (DHL SSC Maastricht)" userId="1afa8510-4eed-4b73-a29e-678838cd8acd" providerId="ADAL" clId="{B3B9A9FE-3004-43DC-97A3-BA416ED15667}" dt="2023-03-28T10:23:19.811" v="6080" actId="21"/>
          <ac:picMkLst>
            <pc:docMk/>
            <pc:sldMk cId="787262473" sldId="308"/>
            <ac:picMk id="56" creationId="{CB39CBB8-D49D-4105-B318-D8E87897FE11}"/>
          </ac:picMkLst>
        </pc:picChg>
        <pc:picChg chg="add del mod">
          <ac:chgData name="Hans Gelissen (DHL SSC Maastricht)" userId="1afa8510-4eed-4b73-a29e-678838cd8acd" providerId="ADAL" clId="{B3B9A9FE-3004-43DC-97A3-BA416ED15667}" dt="2023-03-28T10:23:19.811" v="6080" actId="21"/>
          <ac:picMkLst>
            <pc:docMk/>
            <pc:sldMk cId="787262473" sldId="308"/>
            <ac:picMk id="58" creationId="{292E8A32-4282-4801-8F72-960F73390691}"/>
          </ac:picMkLst>
        </pc:picChg>
        <pc:picChg chg="add del mod">
          <ac:chgData name="Hans Gelissen (DHL SSC Maastricht)" userId="1afa8510-4eed-4b73-a29e-678838cd8acd" providerId="ADAL" clId="{B3B9A9FE-3004-43DC-97A3-BA416ED15667}" dt="2023-03-28T10:23:19.811" v="6080" actId="21"/>
          <ac:picMkLst>
            <pc:docMk/>
            <pc:sldMk cId="787262473" sldId="308"/>
            <ac:picMk id="60" creationId="{0E5F51BB-6704-4DF2-866E-4206D833085F}"/>
          </ac:picMkLst>
        </pc:picChg>
        <pc:picChg chg="add del mod modCrop">
          <ac:chgData name="Hans Gelissen (DHL SSC Maastricht)" userId="1afa8510-4eed-4b73-a29e-678838cd8acd" providerId="ADAL" clId="{B3B9A9FE-3004-43DC-97A3-BA416ED15667}" dt="2023-03-28T10:23:19.811" v="6080" actId="21"/>
          <ac:picMkLst>
            <pc:docMk/>
            <pc:sldMk cId="787262473" sldId="308"/>
            <ac:picMk id="62" creationId="{873673A7-899F-4201-9289-053DB22D38DE}"/>
          </ac:picMkLst>
        </pc:picChg>
        <pc:picChg chg="add del mod">
          <ac:chgData name="Hans Gelissen (DHL SSC Maastricht)" userId="1afa8510-4eed-4b73-a29e-678838cd8acd" providerId="ADAL" clId="{B3B9A9FE-3004-43DC-97A3-BA416ED15667}" dt="2023-03-28T10:23:19.811" v="6080" actId="21"/>
          <ac:picMkLst>
            <pc:docMk/>
            <pc:sldMk cId="787262473" sldId="308"/>
            <ac:picMk id="1024" creationId="{8294355B-3F05-4EEA-B7E0-8D07DE2F2058}"/>
          </ac:picMkLst>
        </pc:picChg>
        <pc:picChg chg="add mod">
          <ac:chgData name="Hans Gelissen (DHL SSC Maastricht)" userId="1afa8510-4eed-4b73-a29e-678838cd8acd" providerId="ADAL" clId="{B3B9A9FE-3004-43DC-97A3-BA416ED15667}" dt="2023-03-28T10:18:51.141" v="6035" actId="1076"/>
          <ac:picMkLst>
            <pc:docMk/>
            <pc:sldMk cId="787262473" sldId="308"/>
            <ac:picMk id="1026" creationId="{2492D996-A770-40E5-AA2B-D1CC26D05F4B}"/>
          </ac:picMkLst>
        </pc:picChg>
        <pc:picChg chg="add del mod">
          <ac:chgData name="Hans Gelissen (DHL SSC Maastricht)" userId="1afa8510-4eed-4b73-a29e-678838cd8acd" providerId="ADAL" clId="{B3B9A9FE-3004-43DC-97A3-BA416ED15667}" dt="2023-03-28T09:34:02.744" v="5346" actId="478"/>
          <ac:picMkLst>
            <pc:docMk/>
            <pc:sldMk cId="787262473" sldId="308"/>
            <ac:picMk id="1028" creationId="{929DB3D2-0A88-4CC6-8C65-4E9B08218CF9}"/>
          </ac:picMkLst>
        </pc:picChg>
        <pc:picChg chg="add del mod">
          <ac:chgData name="Hans Gelissen (DHL SSC Maastricht)" userId="1afa8510-4eed-4b73-a29e-678838cd8acd" providerId="ADAL" clId="{B3B9A9FE-3004-43DC-97A3-BA416ED15667}" dt="2023-03-28T09:35:22.946" v="5361" actId="478"/>
          <ac:picMkLst>
            <pc:docMk/>
            <pc:sldMk cId="787262473" sldId="308"/>
            <ac:picMk id="1030" creationId="{FDD20E77-98BA-450F-80C9-ADB1662559C9}"/>
          </ac:picMkLst>
        </pc:picChg>
        <pc:picChg chg="add del mod">
          <ac:chgData name="Hans Gelissen (DHL SSC Maastricht)" userId="1afa8510-4eed-4b73-a29e-678838cd8acd" providerId="ADAL" clId="{B3B9A9FE-3004-43DC-97A3-BA416ED15667}" dt="2023-03-28T09:35:41.543" v="5366" actId="478"/>
          <ac:picMkLst>
            <pc:docMk/>
            <pc:sldMk cId="787262473" sldId="308"/>
            <ac:picMk id="1032" creationId="{1EDD9914-9BFB-42E5-9FD7-CA2B5108814F}"/>
          </ac:picMkLst>
        </pc:picChg>
        <pc:picChg chg="add del mod">
          <ac:chgData name="Hans Gelissen (DHL SSC Maastricht)" userId="1afa8510-4eed-4b73-a29e-678838cd8acd" providerId="ADAL" clId="{B3B9A9FE-3004-43DC-97A3-BA416ED15667}" dt="2023-03-28T09:57:14.933" v="5719" actId="478"/>
          <ac:picMkLst>
            <pc:docMk/>
            <pc:sldMk cId="787262473" sldId="308"/>
            <ac:picMk id="1034" creationId="{52F6E486-4ADD-42B8-987C-B40823B360A1}"/>
          </ac:picMkLst>
        </pc:picChg>
        <pc:picChg chg="add del mod">
          <ac:chgData name="Hans Gelissen (DHL SSC Maastricht)" userId="1afa8510-4eed-4b73-a29e-678838cd8acd" providerId="ADAL" clId="{B3B9A9FE-3004-43DC-97A3-BA416ED15667}" dt="2023-03-28T10:06:03.792" v="5872" actId="478"/>
          <ac:picMkLst>
            <pc:docMk/>
            <pc:sldMk cId="787262473" sldId="308"/>
            <ac:picMk id="1036" creationId="{C419F75E-F488-4FA3-B10D-FB7B43EB9ED9}"/>
          </ac:picMkLst>
        </pc:picChg>
        <pc:picChg chg="add del">
          <ac:chgData name="Hans Gelissen (DHL SSC Maastricht)" userId="1afa8510-4eed-4b73-a29e-678838cd8acd" providerId="ADAL" clId="{B3B9A9FE-3004-43DC-97A3-BA416ED15667}" dt="2023-03-28T10:15:20.730" v="6008" actId="478"/>
          <ac:picMkLst>
            <pc:docMk/>
            <pc:sldMk cId="787262473" sldId="308"/>
            <ac:picMk id="1038" creationId="{672B3F56-F088-4606-A675-29D37C85B9B1}"/>
          </ac:picMkLst>
        </pc:picChg>
        <pc:picChg chg="add del">
          <ac:chgData name="Hans Gelissen (DHL SSC Maastricht)" userId="1afa8510-4eed-4b73-a29e-678838cd8acd" providerId="ADAL" clId="{B3B9A9FE-3004-43DC-97A3-BA416ED15667}" dt="2023-03-28T10:16:09.556" v="6024" actId="478"/>
          <ac:picMkLst>
            <pc:docMk/>
            <pc:sldMk cId="787262473" sldId="308"/>
            <ac:picMk id="1040" creationId="{5A43D174-4F77-4F09-AC44-4AE5E8FC8668}"/>
          </ac:picMkLst>
        </pc:picChg>
        <pc:picChg chg="add del">
          <ac:chgData name="Hans Gelissen (DHL SSC Maastricht)" userId="1afa8510-4eed-4b73-a29e-678838cd8acd" providerId="ADAL" clId="{B3B9A9FE-3004-43DC-97A3-BA416ED15667}" dt="2023-03-28T10:18:34.445" v="6026" actId="478"/>
          <ac:picMkLst>
            <pc:docMk/>
            <pc:sldMk cId="787262473" sldId="308"/>
            <ac:picMk id="1042" creationId="{9C2EBB3E-4BB3-4431-A709-2331084B1832}"/>
          </ac:picMkLst>
        </pc:picChg>
        <pc:picChg chg="add del mod">
          <ac:chgData name="Hans Gelissen (DHL SSC Maastricht)" userId="1afa8510-4eed-4b73-a29e-678838cd8acd" providerId="ADAL" clId="{B3B9A9FE-3004-43DC-97A3-BA416ED15667}" dt="2023-03-28T10:20:19.056" v="6038" actId="478"/>
          <ac:picMkLst>
            <pc:docMk/>
            <pc:sldMk cId="787262473" sldId="308"/>
            <ac:picMk id="1044" creationId="{4E2A84CA-6EDB-479F-AE4C-EC3C118DA06F}"/>
          </ac:picMkLst>
        </pc:picChg>
        <pc:cxnChg chg="add mod">
          <ac:chgData name="Hans Gelissen (DHL SSC Maastricht)" userId="1afa8510-4eed-4b73-a29e-678838cd8acd" providerId="ADAL" clId="{B3B9A9FE-3004-43DC-97A3-BA416ED15667}" dt="2023-03-28T10:18:51.141" v="6035" actId="1076"/>
          <ac:cxnSpMkLst>
            <pc:docMk/>
            <pc:sldMk cId="787262473" sldId="308"/>
            <ac:cxnSpMk id="7" creationId="{727622FA-EF07-4CCA-9558-4C655D40E003}"/>
          </ac:cxnSpMkLst>
        </pc:cxnChg>
        <pc:cxnChg chg="add mod">
          <ac:chgData name="Hans Gelissen (DHL SSC Maastricht)" userId="1afa8510-4eed-4b73-a29e-678838cd8acd" providerId="ADAL" clId="{B3B9A9FE-3004-43DC-97A3-BA416ED15667}" dt="2023-03-28T10:18:51.141" v="6035" actId="1076"/>
          <ac:cxnSpMkLst>
            <pc:docMk/>
            <pc:sldMk cId="787262473" sldId="308"/>
            <ac:cxnSpMk id="15" creationId="{428BAF3B-D5D5-4A81-B001-CFFE288ED22E}"/>
          </ac:cxnSpMkLst>
        </pc:cxnChg>
        <pc:cxnChg chg="add mod">
          <ac:chgData name="Hans Gelissen (DHL SSC Maastricht)" userId="1afa8510-4eed-4b73-a29e-678838cd8acd" providerId="ADAL" clId="{B3B9A9FE-3004-43DC-97A3-BA416ED15667}" dt="2023-03-28T10:18:51.141" v="6035" actId="1076"/>
          <ac:cxnSpMkLst>
            <pc:docMk/>
            <pc:sldMk cId="787262473" sldId="308"/>
            <ac:cxnSpMk id="18" creationId="{6E3900E1-12E4-4F98-8EF8-FBCFEEA14064}"/>
          </ac:cxnSpMkLst>
        </pc:cxnChg>
        <pc:cxnChg chg="add mod">
          <ac:chgData name="Hans Gelissen (DHL SSC Maastricht)" userId="1afa8510-4eed-4b73-a29e-678838cd8acd" providerId="ADAL" clId="{B3B9A9FE-3004-43DC-97A3-BA416ED15667}" dt="2023-03-28T10:18:51.141" v="6035" actId="1076"/>
          <ac:cxnSpMkLst>
            <pc:docMk/>
            <pc:sldMk cId="787262473" sldId="308"/>
            <ac:cxnSpMk id="20" creationId="{D93F0E4E-5342-4021-B094-D14C79979D5E}"/>
          </ac:cxnSpMkLst>
        </pc:cxnChg>
        <pc:cxnChg chg="add mod">
          <ac:chgData name="Hans Gelissen (DHL SSC Maastricht)" userId="1afa8510-4eed-4b73-a29e-678838cd8acd" providerId="ADAL" clId="{B3B9A9FE-3004-43DC-97A3-BA416ED15667}" dt="2023-03-28T10:18:51.141" v="6035" actId="1076"/>
          <ac:cxnSpMkLst>
            <pc:docMk/>
            <pc:sldMk cId="787262473" sldId="308"/>
            <ac:cxnSpMk id="23" creationId="{16E2248D-BDBF-49B3-8CAC-3CAB96F06C65}"/>
          </ac:cxnSpMkLst>
        </pc:cxnChg>
        <pc:cxnChg chg="add mod">
          <ac:chgData name="Hans Gelissen (DHL SSC Maastricht)" userId="1afa8510-4eed-4b73-a29e-678838cd8acd" providerId="ADAL" clId="{B3B9A9FE-3004-43DC-97A3-BA416ED15667}" dt="2023-03-28T10:18:51.141" v="6035" actId="1076"/>
          <ac:cxnSpMkLst>
            <pc:docMk/>
            <pc:sldMk cId="787262473" sldId="308"/>
            <ac:cxnSpMk id="25" creationId="{27BD3491-5886-4A28-87AD-FCC431B8A88F}"/>
          </ac:cxnSpMkLst>
        </pc:cxnChg>
        <pc:cxnChg chg="add mod">
          <ac:chgData name="Hans Gelissen (DHL SSC Maastricht)" userId="1afa8510-4eed-4b73-a29e-678838cd8acd" providerId="ADAL" clId="{B3B9A9FE-3004-43DC-97A3-BA416ED15667}" dt="2023-03-28T10:18:51.141" v="6035" actId="1076"/>
          <ac:cxnSpMkLst>
            <pc:docMk/>
            <pc:sldMk cId="787262473" sldId="308"/>
            <ac:cxnSpMk id="28" creationId="{31E183F2-D934-494F-B05D-D8750F6B6EB1}"/>
          </ac:cxnSpMkLst>
        </pc:cxnChg>
        <pc:cxnChg chg="add mod">
          <ac:chgData name="Hans Gelissen (DHL SSC Maastricht)" userId="1afa8510-4eed-4b73-a29e-678838cd8acd" providerId="ADAL" clId="{B3B9A9FE-3004-43DC-97A3-BA416ED15667}" dt="2023-03-28T10:18:51.141" v="6035" actId="1076"/>
          <ac:cxnSpMkLst>
            <pc:docMk/>
            <pc:sldMk cId="787262473" sldId="308"/>
            <ac:cxnSpMk id="30" creationId="{4C4891C0-1385-4188-90B4-390178618CA4}"/>
          </ac:cxnSpMkLst>
        </pc:cxnChg>
      </pc:sldChg>
      <pc:sldChg chg="addSp delSp modSp add mod modTransition modClrScheme chgLayout">
        <pc:chgData name="Hans Gelissen (DHL SSC Maastricht)" userId="1afa8510-4eed-4b73-a29e-678838cd8acd" providerId="ADAL" clId="{B3B9A9FE-3004-43DC-97A3-BA416ED15667}" dt="2023-03-28T12:11:51.878" v="6704" actId="20577"/>
        <pc:sldMkLst>
          <pc:docMk/>
          <pc:sldMk cId="2313544586" sldId="309"/>
        </pc:sldMkLst>
        <pc:spChg chg="del mod ord">
          <ac:chgData name="Hans Gelissen (DHL SSC Maastricht)" userId="1afa8510-4eed-4b73-a29e-678838cd8acd" providerId="ADAL" clId="{B3B9A9FE-3004-43DC-97A3-BA416ED15667}" dt="2023-03-28T09:57:30.074" v="5720" actId="700"/>
          <ac:spMkLst>
            <pc:docMk/>
            <pc:sldMk cId="2313544586" sldId="309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8T10:03:21.012" v="5865" actId="20577"/>
          <ac:spMkLst>
            <pc:docMk/>
            <pc:sldMk cId="2313544586" sldId="309"/>
            <ac:spMk id="14" creationId="{35CE3DE9-63A7-41AF-89EA-B7639E638DD5}"/>
          </ac:spMkLst>
        </pc:spChg>
        <pc:spChg chg="add mod">
          <ac:chgData name="Hans Gelissen (DHL SSC Maastricht)" userId="1afa8510-4eed-4b73-a29e-678838cd8acd" providerId="ADAL" clId="{B3B9A9FE-3004-43DC-97A3-BA416ED15667}" dt="2023-03-28T10:25:32.512" v="6126" actId="1076"/>
          <ac:spMkLst>
            <pc:docMk/>
            <pc:sldMk cId="2313544586" sldId="309"/>
            <ac:spMk id="23" creationId="{984037C3-E77D-49FE-B67B-7A1D5C298FDF}"/>
          </ac:spMkLst>
        </pc:spChg>
        <pc:spChg chg="add mod">
          <ac:chgData name="Hans Gelissen (DHL SSC Maastricht)" userId="1afa8510-4eed-4b73-a29e-678838cd8acd" providerId="ADAL" clId="{B3B9A9FE-3004-43DC-97A3-BA416ED15667}" dt="2023-03-28T10:25:25.057" v="6124" actId="1076"/>
          <ac:spMkLst>
            <pc:docMk/>
            <pc:sldMk cId="2313544586" sldId="309"/>
            <ac:spMk id="24" creationId="{26197B94-E019-48CA-A352-69AA61CA0AC0}"/>
          </ac:spMkLst>
        </pc:spChg>
        <pc:spChg chg="add mod">
          <ac:chgData name="Hans Gelissen (DHL SSC Maastricht)" userId="1afa8510-4eed-4b73-a29e-678838cd8acd" providerId="ADAL" clId="{B3B9A9FE-3004-43DC-97A3-BA416ED15667}" dt="2023-03-28T10:25:27.972" v="6125" actId="1076"/>
          <ac:spMkLst>
            <pc:docMk/>
            <pc:sldMk cId="2313544586" sldId="309"/>
            <ac:spMk id="25" creationId="{7C6F9DA5-DBE9-496B-BCB9-558A8820013A}"/>
          </ac:spMkLst>
        </pc:spChg>
        <pc:spChg chg="add mod">
          <ac:chgData name="Hans Gelissen (DHL SSC Maastricht)" userId="1afa8510-4eed-4b73-a29e-678838cd8acd" providerId="ADAL" clId="{B3B9A9FE-3004-43DC-97A3-BA416ED15667}" dt="2023-03-28T10:25:22.116" v="6123" actId="1076"/>
          <ac:spMkLst>
            <pc:docMk/>
            <pc:sldMk cId="2313544586" sldId="309"/>
            <ac:spMk id="26" creationId="{F0062A28-9940-4B0F-A7CD-F5C639C5909A}"/>
          </ac:spMkLst>
        </pc:spChg>
        <pc:spChg chg="add mod">
          <ac:chgData name="Hans Gelissen (DHL SSC Maastricht)" userId="1afa8510-4eed-4b73-a29e-678838cd8acd" providerId="ADAL" clId="{B3B9A9FE-3004-43DC-97A3-BA416ED15667}" dt="2023-03-28T10:25:41.300" v="6136" actId="20577"/>
          <ac:spMkLst>
            <pc:docMk/>
            <pc:sldMk cId="2313544586" sldId="309"/>
            <ac:spMk id="27" creationId="{05FECC5D-E543-4CDE-BDC2-AA4AF04D1663}"/>
          </ac:spMkLst>
        </pc:spChg>
        <pc:spChg chg="add mod">
          <ac:chgData name="Hans Gelissen (DHL SSC Maastricht)" userId="1afa8510-4eed-4b73-a29e-678838cd8acd" providerId="ADAL" clId="{B3B9A9FE-3004-43DC-97A3-BA416ED15667}" dt="2023-03-28T10:25:48.400" v="6143" actId="20577"/>
          <ac:spMkLst>
            <pc:docMk/>
            <pc:sldMk cId="2313544586" sldId="309"/>
            <ac:spMk id="28" creationId="{20450C92-FCE9-4C5C-A9BF-B332FB8053A9}"/>
          </ac:spMkLst>
        </pc:spChg>
        <pc:spChg chg="add mod">
          <ac:chgData name="Hans Gelissen (DHL SSC Maastricht)" userId="1afa8510-4eed-4b73-a29e-678838cd8acd" providerId="ADAL" clId="{B3B9A9FE-3004-43DC-97A3-BA416ED15667}" dt="2023-03-28T10:25:59.889" v="6158" actId="20577"/>
          <ac:spMkLst>
            <pc:docMk/>
            <pc:sldMk cId="2313544586" sldId="309"/>
            <ac:spMk id="29" creationId="{19FDBBFD-4B8E-4104-B2EC-1FDA93E89723}"/>
          </ac:spMkLst>
        </pc:spChg>
        <pc:spChg chg="add mod">
          <ac:chgData name="Hans Gelissen (DHL SSC Maastricht)" userId="1afa8510-4eed-4b73-a29e-678838cd8acd" providerId="ADAL" clId="{B3B9A9FE-3004-43DC-97A3-BA416ED15667}" dt="2023-03-28T12:11:51.878" v="6704" actId="20577"/>
          <ac:spMkLst>
            <pc:docMk/>
            <pc:sldMk cId="2313544586" sldId="309"/>
            <ac:spMk id="30" creationId="{1A24CB54-1256-4A12-9DC4-850F76A8C937}"/>
          </ac:spMkLst>
        </pc:spChg>
        <pc:grpChg chg="add mod">
          <ac:chgData name="Hans Gelissen (DHL SSC Maastricht)" userId="1afa8510-4eed-4b73-a29e-678838cd8acd" providerId="ADAL" clId="{B3B9A9FE-3004-43DC-97A3-BA416ED15667}" dt="2023-03-28T11:24:47.048" v="6191" actId="1076"/>
          <ac:grpSpMkLst>
            <pc:docMk/>
            <pc:sldMk cId="2313544586" sldId="309"/>
            <ac:grpSpMk id="3" creationId="{00BC2AA4-11D9-4074-8E19-655152DD6CB6}"/>
          </ac:grpSpMkLst>
        </pc:grpChg>
        <pc:picChg chg="mod">
          <ac:chgData name="Hans Gelissen (DHL SSC Maastricht)" userId="1afa8510-4eed-4b73-a29e-678838cd8acd" providerId="ADAL" clId="{B3B9A9FE-3004-43DC-97A3-BA416ED15667}" dt="2023-03-28T11:24:47.048" v="6191" actId="1076"/>
          <ac:picMkLst>
            <pc:docMk/>
            <pc:sldMk cId="2313544586" sldId="309"/>
            <ac:picMk id="4" creationId="{58E45D3C-4E65-4A10-92F3-7AAF2CD9923A}"/>
          </ac:picMkLst>
        </pc:picChg>
        <pc:picChg chg="mod">
          <ac:chgData name="Hans Gelissen (DHL SSC Maastricht)" userId="1afa8510-4eed-4b73-a29e-678838cd8acd" providerId="ADAL" clId="{B3B9A9FE-3004-43DC-97A3-BA416ED15667}" dt="2023-03-28T11:24:47.048" v="6191" actId="1076"/>
          <ac:picMkLst>
            <pc:docMk/>
            <pc:sldMk cId="2313544586" sldId="309"/>
            <ac:picMk id="5" creationId="{8D47E97A-4E77-4482-A519-D7B2BF36B110}"/>
          </ac:picMkLst>
        </pc:picChg>
        <pc:picChg chg="add mod">
          <ac:chgData name="Hans Gelissen (DHL SSC Maastricht)" userId="1afa8510-4eed-4b73-a29e-678838cd8acd" providerId="ADAL" clId="{B3B9A9FE-3004-43DC-97A3-BA416ED15667}" dt="2023-03-28T10:23:22.105" v="6081"/>
          <ac:picMkLst>
            <pc:docMk/>
            <pc:sldMk cId="2313544586" sldId="309"/>
            <ac:picMk id="15" creationId="{54F86FA1-6D45-481C-88B2-DBA9014F2F15}"/>
          </ac:picMkLst>
        </pc:picChg>
        <pc:picChg chg="add mod">
          <ac:chgData name="Hans Gelissen (DHL SSC Maastricht)" userId="1afa8510-4eed-4b73-a29e-678838cd8acd" providerId="ADAL" clId="{B3B9A9FE-3004-43DC-97A3-BA416ED15667}" dt="2023-03-28T10:23:22.105" v="6081"/>
          <ac:picMkLst>
            <pc:docMk/>
            <pc:sldMk cId="2313544586" sldId="309"/>
            <ac:picMk id="16" creationId="{2AE6024E-1B69-49BF-9A2F-98ADFCB13B8A}"/>
          </ac:picMkLst>
        </pc:picChg>
        <pc:picChg chg="add mod">
          <ac:chgData name="Hans Gelissen (DHL SSC Maastricht)" userId="1afa8510-4eed-4b73-a29e-678838cd8acd" providerId="ADAL" clId="{B3B9A9FE-3004-43DC-97A3-BA416ED15667}" dt="2023-03-28T10:23:22.105" v="6081"/>
          <ac:picMkLst>
            <pc:docMk/>
            <pc:sldMk cId="2313544586" sldId="309"/>
            <ac:picMk id="17" creationId="{52CDF413-E243-43B5-9B39-8B80927E71F4}"/>
          </ac:picMkLst>
        </pc:picChg>
        <pc:picChg chg="add mod">
          <ac:chgData name="Hans Gelissen (DHL SSC Maastricht)" userId="1afa8510-4eed-4b73-a29e-678838cd8acd" providerId="ADAL" clId="{B3B9A9FE-3004-43DC-97A3-BA416ED15667}" dt="2023-03-28T10:23:22.105" v="6081"/>
          <ac:picMkLst>
            <pc:docMk/>
            <pc:sldMk cId="2313544586" sldId="309"/>
            <ac:picMk id="18" creationId="{F82445C4-3B5A-4DB8-AA09-7AD563F40F1B}"/>
          </ac:picMkLst>
        </pc:picChg>
        <pc:picChg chg="add mod">
          <ac:chgData name="Hans Gelissen (DHL SSC Maastricht)" userId="1afa8510-4eed-4b73-a29e-678838cd8acd" providerId="ADAL" clId="{B3B9A9FE-3004-43DC-97A3-BA416ED15667}" dt="2023-03-28T10:23:22.105" v="6081"/>
          <ac:picMkLst>
            <pc:docMk/>
            <pc:sldMk cId="2313544586" sldId="309"/>
            <ac:picMk id="19" creationId="{BB02CA12-C99F-4945-8C0F-9CB1F6328840}"/>
          </ac:picMkLst>
        </pc:picChg>
        <pc:picChg chg="add mod">
          <ac:chgData name="Hans Gelissen (DHL SSC Maastricht)" userId="1afa8510-4eed-4b73-a29e-678838cd8acd" providerId="ADAL" clId="{B3B9A9FE-3004-43DC-97A3-BA416ED15667}" dt="2023-03-28T10:23:22.105" v="6081"/>
          <ac:picMkLst>
            <pc:docMk/>
            <pc:sldMk cId="2313544586" sldId="309"/>
            <ac:picMk id="20" creationId="{66A488F0-FDB2-44F1-9A54-B126BD238BE7}"/>
          </ac:picMkLst>
        </pc:picChg>
        <pc:picChg chg="add mod">
          <ac:chgData name="Hans Gelissen (DHL SSC Maastricht)" userId="1afa8510-4eed-4b73-a29e-678838cd8acd" providerId="ADAL" clId="{B3B9A9FE-3004-43DC-97A3-BA416ED15667}" dt="2023-03-28T10:23:22.105" v="6081"/>
          <ac:picMkLst>
            <pc:docMk/>
            <pc:sldMk cId="2313544586" sldId="309"/>
            <ac:picMk id="21" creationId="{5ADFC824-F06C-4FA1-B060-F5F36EF65A72}"/>
          </ac:picMkLst>
        </pc:picChg>
        <pc:picChg chg="add mod">
          <ac:chgData name="Hans Gelissen (DHL SSC Maastricht)" userId="1afa8510-4eed-4b73-a29e-678838cd8acd" providerId="ADAL" clId="{B3B9A9FE-3004-43DC-97A3-BA416ED15667}" dt="2023-03-28T10:23:22.105" v="6081"/>
          <ac:picMkLst>
            <pc:docMk/>
            <pc:sldMk cId="2313544586" sldId="309"/>
            <ac:picMk id="22" creationId="{98560EB4-97DA-4EAA-BB0D-B0FCEC502C30}"/>
          </ac:picMkLst>
        </pc:picChg>
        <pc:cxnChg chg="mod">
          <ac:chgData name="Hans Gelissen (DHL SSC Maastricht)" userId="1afa8510-4eed-4b73-a29e-678838cd8acd" providerId="ADAL" clId="{B3B9A9FE-3004-43DC-97A3-BA416ED15667}" dt="2023-03-28T11:24:47.048" v="6191" actId="1076"/>
          <ac:cxnSpMkLst>
            <pc:docMk/>
            <pc:sldMk cId="2313544586" sldId="309"/>
            <ac:cxnSpMk id="6" creationId="{C0E42FB2-5C84-42C9-AA57-21838362F5AB}"/>
          </ac:cxnSpMkLst>
        </pc:cxnChg>
        <pc:cxnChg chg="mod">
          <ac:chgData name="Hans Gelissen (DHL SSC Maastricht)" userId="1afa8510-4eed-4b73-a29e-678838cd8acd" providerId="ADAL" clId="{B3B9A9FE-3004-43DC-97A3-BA416ED15667}" dt="2023-03-28T11:24:47.048" v="6191" actId="1076"/>
          <ac:cxnSpMkLst>
            <pc:docMk/>
            <pc:sldMk cId="2313544586" sldId="309"/>
            <ac:cxnSpMk id="7" creationId="{79985535-AEE5-46CB-B7B2-CFCA45F9E8D4}"/>
          </ac:cxnSpMkLst>
        </pc:cxnChg>
        <pc:cxnChg chg="mod">
          <ac:chgData name="Hans Gelissen (DHL SSC Maastricht)" userId="1afa8510-4eed-4b73-a29e-678838cd8acd" providerId="ADAL" clId="{B3B9A9FE-3004-43DC-97A3-BA416ED15667}" dt="2023-03-28T11:24:47.048" v="6191" actId="1076"/>
          <ac:cxnSpMkLst>
            <pc:docMk/>
            <pc:sldMk cId="2313544586" sldId="309"/>
            <ac:cxnSpMk id="8" creationId="{30F779A6-6C26-43DA-81C8-4191D5FD1D15}"/>
          </ac:cxnSpMkLst>
        </pc:cxnChg>
        <pc:cxnChg chg="mod">
          <ac:chgData name="Hans Gelissen (DHL SSC Maastricht)" userId="1afa8510-4eed-4b73-a29e-678838cd8acd" providerId="ADAL" clId="{B3B9A9FE-3004-43DC-97A3-BA416ED15667}" dt="2023-03-28T11:24:47.048" v="6191" actId="1076"/>
          <ac:cxnSpMkLst>
            <pc:docMk/>
            <pc:sldMk cId="2313544586" sldId="309"/>
            <ac:cxnSpMk id="9" creationId="{8AC8DCD8-D1D1-4A54-8F01-E548EC8DA5CA}"/>
          </ac:cxnSpMkLst>
        </pc:cxnChg>
        <pc:cxnChg chg="mod">
          <ac:chgData name="Hans Gelissen (DHL SSC Maastricht)" userId="1afa8510-4eed-4b73-a29e-678838cd8acd" providerId="ADAL" clId="{B3B9A9FE-3004-43DC-97A3-BA416ED15667}" dt="2023-03-28T11:24:47.048" v="6191" actId="1076"/>
          <ac:cxnSpMkLst>
            <pc:docMk/>
            <pc:sldMk cId="2313544586" sldId="309"/>
            <ac:cxnSpMk id="10" creationId="{16D2E198-FECE-4499-A499-F8EFA270BFB0}"/>
          </ac:cxnSpMkLst>
        </pc:cxnChg>
        <pc:cxnChg chg="mod">
          <ac:chgData name="Hans Gelissen (DHL SSC Maastricht)" userId="1afa8510-4eed-4b73-a29e-678838cd8acd" providerId="ADAL" clId="{B3B9A9FE-3004-43DC-97A3-BA416ED15667}" dt="2023-03-28T11:24:47.048" v="6191" actId="1076"/>
          <ac:cxnSpMkLst>
            <pc:docMk/>
            <pc:sldMk cId="2313544586" sldId="309"/>
            <ac:cxnSpMk id="11" creationId="{F5A53F37-54A8-42C5-9EA2-6C77444C486E}"/>
          </ac:cxnSpMkLst>
        </pc:cxnChg>
        <pc:cxnChg chg="mod">
          <ac:chgData name="Hans Gelissen (DHL SSC Maastricht)" userId="1afa8510-4eed-4b73-a29e-678838cd8acd" providerId="ADAL" clId="{B3B9A9FE-3004-43DC-97A3-BA416ED15667}" dt="2023-03-28T11:24:47.048" v="6191" actId="1076"/>
          <ac:cxnSpMkLst>
            <pc:docMk/>
            <pc:sldMk cId="2313544586" sldId="309"/>
            <ac:cxnSpMk id="12" creationId="{EDBE9B38-4B05-438E-8C0F-56D5D8AA91EC}"/>
          </ac:cxnSpMkLst>
        </pc:cxnChg>
        <pc:cxnChg chg="mod">
          <ac:chgData name="Hans Gelissen (DHL SSC Maastricht)" userId="1afa8510-4eed-4b73-a29e-678838cd8acd" providerId="ADAL" clId="{B3B9A9FE-3004-43DC-97A3-BA416ED15667}" dt="2023-03-28T11:24:47.048" v="6191" actId="1076"/>
          <ac:cxnSpMkLst>
            <pc:docMk/>
            <pc:sldMk cId="2313544586" sldId="309"/>
            <ac:cxnSpMk id="13" creationId="{19D92D09-F39D-4ECA-BEDA-646CDCC954F1}"/>
          </ac:cxnSpMkLst>
        </pc:cxn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8T12:02:34.283" v="6241" actId="20577"/>
        <pc:sldMkLst>
          <pc:docMk/>
          <pc:sldMk cId="388612261" sldId="310"/>
        </pc:sldMkLst>
        <pc:spChg chg="del mod ord">
          <ac:chgData name="Hans Gelissen (DHL SSC Maastricht)" userId="1afa8510-4eed-4b73-a29e-678838cd8acd" providerId="ADAL" clId="{B3B9A9FE-3004-43DC-97A3-BA416ED15667}" dt="2023-03-28T12:01:34.205" v="6202" actId="700"/>
          <ac:spMkLst>
            <pc:docMk/>
            <pc:sldMk cId="388612261" sldId="310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8T12:02:34.283" v="6241" actId="20577"/>
          <ac:spMkLst>
            <pc:docMk/>
            <pc:sldMk cId="388612261" sldId="310"/>
            <ac:spMk id="3" creationId="{C3C4FEA7-7C87-4944-9F10-90A93FAA6D34}"/>
          </ac:spMkLst>
        </pc:spChg>
      </pc:sldChg>
      <pc:sldChg chg="add del">
        <pc:chgData name="Hans Gelissen (DHL SSC Maastricht)" userId="1afa8510-4eed-4b73-a29e-678838cd8acd" providerId="ADAL" clId="{B3B9A9FE-3004-43DC-97A3-BA416ED15667}" dt="2023-03-27T14:34:37.569" v="4610"/>
        <pc:sldMkLst>
          <pc:docMk/>
          <pc:sldMk cId="1225076824" sldId="311"/>
        </pc:sldMkLst>
      </pc:sldChg>
      <pc:sldChg chg="addSp delSp modSp add mod modClrScheme modAnim chgLayout">
        <pc:chgData name="Hans Gelissen (DHL SSC Maastricht)" userId="1afa8510-4eed-4b73-a29e-678838cd8acd" providerId="ADAL" clId="{B3B9A9FE-3004-43DC-97A3-BA416ED15667}" dt="2023-03-27T14:51:06.752" v="4910" actId="20577"/>
        <pc:sldMkLst>
          <pc:docMk/>
          <pc:sldMk cId="2800447061" sldId="311"/>
        </pc:sldMkLst>
        <pc:spChg chg="del mod ord">
          <ac:chgData name="Hans Gelissen (DHL SSC Maastricht)" userId="1afa8510-4eed-4b73-a29e-678838cd8acd" providerId="ADAL" clId="{B3B9A9FE-3004-43DC-97A3-BA416ED15667}" dt="2023-03-27T14:36:35.295" v="4646" actId="700"/>
          <ac:spMkLst>
            <pc:docMk/>
            <pc:sldMk cId="2800447061" sldId="311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4:39:24.548" v="4663" actId="700"/>
          <ac:spMkLst>
            <pc:docMk/>
            <pc:sldMk cId="2800447061" sldId="311"/>
            <ac:spMk id="3" creationId="{5364D1B7-393F-4280-9589-E747B2E58565}"/>
          </ac:spMkLst>
        </pc:spChg>
        <pc:spChg chg="add mod">
          <ac:chgData name="Hans Gelissen (DHL SSC Maastricht)" userId="1afa8510-4eed-4b73-a29e-678838cd8acd" providerId="ADAL" clId="{B3B9A9FE-3004-43DC-97A3-BA416ED15667}" dt="2023-03-27T14:43:41.117" v="4727" actId="1076"/>
          <ac:spMkLst>
            <pc:docMk/>
            <pc:sldMk cId="2800447061" sldId="311"/>
            <ac:spMk id="4" creationId="{8CB596EE-51E1-496B-98CC-349B662A99F4}"/>
          </ac:spMkLst>
        </pc:spChg>
        <pc:spChg chg="mod">
          <ac:chgData name="Hans Gelissen (DHL SSC Maastricht)" userId="1afa8510-4eed-4b73-a29e-678838cd8acd" providerId="ADAL" clId="{B3B9A9FE-3004-43DC-97A3-BA416ED15667}" dt="2023-03-27T14:43:41.117" v="4727" actId="1076"/>
          <ac:spMkLst>
            <pc:docMk/>
            <pc:sldMk cId="2800447061" sldId="311"/>
            <ac:spMk id="7" creationId="{809957DE-D4E8-40CB-8B31-1FE410592665}"/>
          </ac:spMkLst>
        </pc:spChg>
        <pc:spChg chg="add mod">
          <ac:chgData name="Hans Gelissen (DHL SSC Maastricht)" userId="1afa8510-4eed-4b73-a29e-678838cd8acd" providerId="ADAL" clId="{B3B9A9FE-3004-43DC-97A3-BA416ED15667}" dt="2023-03-27T14:43:41.117" v="4727" actId="1076"/>
          <ac:spMkLst>
            <pc:docMk/>
            <pc:sldMk cId="2800447061" sldId="311"/>
            <ac:spMk id="8" creationId="{B93063EF-401C-47BB-9F6E-E8D5CBC80BA0}"/>
          </ac:spMkLst>
        </pc:spChg>
        <pc:spChg chg="add del mod">
          <ac:chgData name="Hans Gelissen (DHL SSC Maastricht)" userId="1afa8510-4eed-4b73-a29e-678838cd8acd" providerId="ADAL" clId="{B3B9A9FE-3004-43DC-97A3-BA416ED15667}" dt="2023-03-27T14:38:47.971" v="4655" actId="478"/>
          <ac:spMkLst>
            <pc:docMk/>
            <pc:sldMk cId="2800447061" sldId="311"/>
            <ac:spMk id="9" creationId="{DE659C83-D1BF-4831-9924-82A430768521}"/>
          </ac:spMkLst>
        </pc:spChg>
        <pc:spChg chg="add mod">
          <ac:chgData name="Hans Gelissen (DHL SSC Maastricht)" userId="1afa8510-4eed-4b73-a29e-678838cd8acd" providerId="ADAL" clId="{B3B9A9FE-3004-43DC-97A3-BA416ED15667}" dt="2023-03-27T14:43:41.117" v="4727" actId="1076"/>
          <ac:spMkLst>
            <pc:docMk/>
            <pc:sldMk cId="2800447061" sldId="311"/>
            <ac:spMk id="10" creationId="{FAC182A4-C5DC-4032-9143-CD7ED2A02999}"/>
          </ac:spMkLst>
        </pc:spChg>
        <pc:spChg chg="add del mod">
          <ac:chgData name="Hans Gelissen (DHL SSC Maastricht)" userId="1afa8510-4eed-4b73-a29e-678838cd8acd" providerId="ADAL" clId="{B3B9A9FE-3004-43DC-97A3-BA416ED15667}" dt="2023-03-27T14:40:47.149" v="4689" actId="1076"/>
          <ac:spMkLst>
            <pc:docMk/>
            <pc:sldMk cId="2800447061" sldId="311"/>
            <ac:spMk id="11" creationId="{E73040A6-29FD-4A08-992D-3C19863C26D0}"/>
          </ac:spMkLst>
        </pc:spChg>
        <pc:spChg chg="add del mod">
          <ac:chgData name="Hans Gelissen (DHL SSC Maastricht)" userId="1afa8510-4eed-4b73-a29e-678838cd8acd" providerId="ADAL" clId="{B3B9A9FE-3004-43DC-97A3-BA416ED15667}" dt="2023-03-27T14:39:53.329" v="4676" actId="478"/>
          <ac:spMkLst>
            <pc:docMk/>
            <pc:sldMk cId="2800447061" sldId="311"/>
            <ac:spMk id="12" creationId="{22E01B2B-FC0A-44D1-A5EB-6A1F9261A0C4}"/>
          </ac:spMkLst>
        </pc:spChg>
        <pc:spChg chg="add del mod">
          <ac:chgData name="Hans Gelissen (DHL SSC Maastricht)" userId="1afa8510-4eed-4b73-a29e-678838cd8acd" providerId="ADAL" clId="{B3B9A9FE-3004-43DC-97A3-BA416ED15667}" dt="2023-03-27T14:39:37.664" v="4671" actId="478"/>
          <ac:spMkLst>
            <pc:docMk/>
            <pc:sldMk cId="2800447061" sldId="311"/>
            <ac:spMk id="13" creationId="{54E842C6-6746-4C12-8A18-D065068E37FE}"/>
          </ac:spMkLst>
        </pc:spChg>
        <pc:spChg chg="add del mod">
          <ac:chgData name="Hans Gelissen (DHL SSC Maastricht)" userId="1afa8510-4eed-4b73-a29e-678838cd8acd" providerId="ADAL" clId="{B3B9A9FE-3004-43DC-97A3-BA416ED15667}" dt="2023-03-27T14:38:46.227" v="4654" actId="478"/>
          <ac:spMkLst>
            <pc:docMk/>
            <pc:sldMk cId="2800447061" sldId="311"/>
            <ac:spMk id="14" creationId="{5BBB4A26-8711-4E74-B6D2-BCC71F04D646}"/>
          </ac:spMkLst>
        </pc:spChg>
        <pc:spChg chg="add del mod">
          <ac:chgData name="Hans Gelissen (DHL SSC Maastricht)" userId="1afa8510-4eed-4b73-a29e-678838cd8acd" providerId="ADAL" clId="{B3B9A9FE-3004-43DC-97A3-BA416ED15667}" dt="2023-03-27T14:38:43.624" v="4653" actId="478"/>
          <ac:spMkLst>
            <pc:docMk/>
            <pc:sldMk cId="2800447061" sldId="311"/>
            <ac:spMk id="15" creationId="{A62FF226-2A91-44D7-A305-A1E3709C8E54}"/>
          </ac:spMkLst>
        </pc:spChg>
        <pc:spChg chg="add mod">
          <ac:chgData name="Hans Gelissen (DHL SSC Maastricht)" userId="1afa8510-4eed-4b73-a29e-678838cd8acd" providerId="ADAL" clId="{B3B9A9FE-3004-43DC-97A3-BA416ED15667}" dt="2023-03-27T14:43:41.117" v="4727" actId="1076"/>
          <ac:spMkLst>
            <pc:docMk/>
            <pc:sldMk cId="2800447061" sldId="311"/>
            <ac:spMk id="16" creationId="{F00C9939-ACE7-4081-A027-EA796C945A30}"/>
          </ac:spMkLst>
        </pc:spChg>
        <pc:spChg chg="add del mod">
          <ac:chgData name="Hans Gelissen (DHL SSC Maastricht)" userId="1afa8510-4eed-4b73-a29e-678838cd8acd" providerId="ADAL" clId="{B3B9A9FE-3004-43DC-97A3-BA416ED15667}" dt="2023-03-27T14:39:37.664" v="4671" actId="478"/>
          <ac:spMkLst>
            <pc:docMk/>
            <pc:sldMk cId="2800447061" sldId="311"/>
            <ac:spMk id="17" creationId="{AF7C74AC-61B7-46D3-9FF7-4425E07F8C5F}"/>
          </ac:spMkLst>
        </pc:spChg>
        <pc:spChg chg="add mod ord">
          <ac:chgData name="Hans Gelissen (DHL SSC Maastricht)" userId="1afa8510-4eed-4b73-a29e-678838cd8acd" providerId="ADAL" clId="{B3B9A9FE-3004-43DC-97A3-BA416ED15667}" dt="2023-03-27T14:51:06.752" v="4910" actId="20577"/>
          <ac:spMkLst>
            <pc:docMk/>
            <pc:sldMk cId="2800447061" sldId="311"/>
            <ac:spMk id="18" creationId="{6B26744D-D75D-4305-BBCE-BE8A76EF3E5D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4:45:52.462" v="4736" actId="931"/>
          <ac:spMkLst>
            <pc:docMk/>
            <pc:sldMk cId="2800447061" sldId="311"/>
            <ac:spMk id="19" creationId="{BCE3EA9D-174D-4547-9C2D-2C9E7932A60D}"/>
          </ac:spMkLst>
        </pc:spChg>
        <pc:spChg chg="add mod">
          <ac:chgData name="Hans Gelissen (DHL SSC Maastricht)" userId="1afa8510-4eed-4b73-a29e-678838cd8acd" providerId="ADAL" clId="{B3B9A9FE-3004-43DC-97A3-BA416ED15667}" dt="2023-03-27T14:43:41.117" v="4727" actId="1076"/>
          <ac:spMkLst>
            <pc:docMk/>
            <pc:sldMk cId="2800447061" sldId="311"/>
            <ac:spMk id="20" creationId="{B8A98E07-31BE-4476-BC6A-870B40F282A8}"/>
          </ac:spMkLst>
        </pc:spChg>
        <pc:grpChg chg="add mod">
          <ac:chgData name="Hans Gelissen (DHL SSC Maastricht)" userId="1afa8510-4eed-4b73-a29e-678838cd8acd" providerId="ADAL" clId="{B3B9A9FE-3004-43DC-97A3-BA416ED15667}" dt="2023-03-27T14:43:41.117" v="4727" actId="1076"/>
          <ac:grpSpMkLst>
            <pc:docMk/>
            <pc:sldMk cId="2800447061" sldId="311"/>
            <ac:grpSpMk id="5" creationId="{219E2145-C76E-4425-9296-82176C7C69E4}"/>
          </ac:grpSpMkLst>
        </pc:grpChg>
        <pc:picChg chg="mod">
          <ac:chgData name="Hans Gelissen (DHL SSC Maastricht)" userId="1afa8510-4eed-4b73-a29e-678838cd8acd" providerId="ADAL" clId="{B3B9A9FE-3004-43DC-97A3-BA416ED15667}" dt="2023-03-27T14:43:41.117" v="4727" actId="1076"/>
          <ac:picMkLst>
            <pc:docMk/>
            <pc:sldMk cId="2800447061" sldId="311"/>
            <ac:picMk id="6" creationId="{77C7D93F-0AF6-4604-9D20-05B663CBE251}"/>
          </ac:picMkLst>
        </pc:picChg>
        <pc:picChg chg="add mod">
          <ac:chgData name="Hans Gelissen (DHL SSC Maastricht)" userId="1afa8510-4eed-4b73-a29e-678838cd8acd" providerId="ADAL" clId="{B3B9A9FE-3004-43DC-97A3-BA416ED15667}" dt="2023-03-27T14:45:54.661" v="4737" actId="27614"/>
          <ac:picMkLst>
            <pc:docMk/>
            <pc:sldMk cId="2800447061" sldId="311"/>
            <ac:picMk id="22" creationId="{B480211E-B61F-405B-B427-6C20E64D2BB2}"/>
          </ac:picMkLst>
        </pc:picChg>
      </pc:sldChg>
      <pc:sldChg chg="addSp delSp modSp add mod modClrScheme modAnim chgLayout">
        <pc:chgData name="Hans Gelissen (DHL SSC Maastricht)" userId="1afa8510-4eed-4b73-a29e-678838cd8acd" providerId="ADAL" clId="{B3B9A9FE-3004-43DC-97A3-BA416ED15667}" dt="2023-03-27T14:51:14.013" v="4913" actId="20577"/>
        <pc:sldMkLst>
          <pc:docMk/>
          <pc:sldMk cId="620416563" sldId="312"/>
        </pc:sldMkLst>
        <pc:spChg chg="del mod ord">
          <ac:chgData name="Hans Gelissen (DHL SSC Maastricht)" userId="1afa8510-4eed-4b73-a29e-678838cd8acd" providerId="ADAL" clId="{B3B9A9FE-3004-43DC-97A3-BA416ED15667}" dt="2023-03-27T14:42:39.226" v="4690" actId="700"/>
          <ac:spMkLst>
            <pc:docMk/>
            <pc:sldMk cId="620416563" sldId="312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4:46:08.519" v="4738" actId="700"/>
          <ac:spMkLst>
            <pc:docMk/>
            <pc:sldMk cId="620416563" sldId="312"/>
            <ac:spMk id="3" creationId="{CFB118E9-535C-40F8-AA35-CB014557EC62}"/>
          </ac:spMkLst>
        </pc:spChg>
        <pc:spChg chg="add del mod">
          <ac:chgData name="Hans Gelissen (DHL SSC Maastricht)" userId="1afa8510-4eed-4b73-a29e-678838cd8acd" providerId="ADAL" clId="{B3B9A9FE-3004-43DC-97A3-BA416ED15667}" dt="2023-03-27T14:46:48.841" v="4739" actId="478"/>
          <ac:spMkLst>
            <pc:docMk/>
            <pc:sldMk cId="620416563" sldId="312"/>
            <ac:spMk id="4" creationId="{F6DA2329-E06B-4122-8284-09E1ADAEDFBA}"/>
          </ac:spMkLst>
        </pc:spChg>
        <pc:spChg chg="mod">
          <ac:chgData name="Hans Gelissen (DHL SSC Maastricht)" userId="1afa8510-4eed-4b73-a29e-678838cd8acd" providerId="ADAL" clId="{B3B9A9FE-3004-43DC-97A3-BA416ED15667}" dt="2023-03-27T14:42:52.934" v="4691"/>
          <ac:spMkLst>
            <pc:docMk/>
            <pc:sldMk cId="620416563" sldId="312"/>
            <ac:spMk id="7" creationId="{49F6437E-3C40-4A75-869E-0673C4AE1B0F}"/>
          </ac:spMkLst>
        </pc:spChg>
        <pc:spChg chg="add del mod">
          <ac:chgData name="Hans Gelissen (DHL SSC Maastricht)" userId="1afa8510-4eed-4b73-a29e-678838cd8acd" providerId="ADAL" clId="{B3B9A9FE-3004-43DC-97A3-BA416ED15667}" dt="2023-03-27T14:46:48.841" v="4739" actId="478"/>
          <ac:spMkLst>
            <pc:docMk/>
            <pc:sldMk cId="620416563" sldId="312"/>
            <ac:spMk id="8" creationId="{961457E0-1F9E-4065-9209-F85FD955B8F1}"/>
          </ac:spMkLst>
        </pc:spChg>
        <pc:spChg chg="add del mod">
          <ac:chgData name="Hans Gelissen (DHL SSC Maastricht)" userId="1afa8510-4eed-4b73-a29e-678838cd8acd" providerId="ADAL" clId="{B3B9A9FE-3004-43DC-97A3-BA416ED15667}" dt="2023-03-27T14:46:48.841" v="4739" actId="478"/>
          <ac:spMkLst>
            <pc:docMk/>
            <pc:sldMk cId="620416563" sldId="312"/>
            <ac:spMk id="9" creationId="{B3509344-0478-4221-9B75-6D23C7A2D886}"/>
          </ac:spMkLst>
        </pc:spChg>
        <pc:spChg chg="add del mod">
          <ac:chgData name="Hans Gelissen (DHL SSC Maastricht)" userId="1afa8510-4eed-4b73-a29e-678838cd8acd" providerId="ADAL" clId="{B3B9A9FE-3004-43DC-97A3-BA416ED15667}" dt="2023-03-27T14:46:48.841" v="4739" actId="478"/>
          <ac:spMkLst>
            <pc:docMk/>
            <pc:sldMk cId="620416563" sldId="312"/>
            <ac:spMk id="10" creationId="{DF1A436F-67EB-43F0-80FA-C1EC6E2FF20F}"/>
          </ac:spMkLst>
        </pc:spChg>
        <pc:spChg chg="add del mod">
          <ac:chgData name="Hans Gelissen (DHL SSC Maastricht)" userId="1afa8510-4eed-4b73-a29e-678838cd8acd" providerId="ADAL" clId="{B3B9A9FE-3004-43DC-97A3-BA416ED15667}" dt="2023-03-27T14:46:48.841" v="4739" actId="478"/>
          <ac:spMkLst>
            <pc:docMk/>
            <pc:sldMk cId="620416563" sldId="312"/>
            <ac:spMk id="11" creationId="{2026C09B-16E7-4409-8CF1-DB21489C2D68}"/>
          </ac:spMkLst>
        </pc:spChg>
        <pc:spChg chg="add del mod">
          <ac:chgData name="Hans Gelissen (DHL SSC Maastricht)" userId="1afa8510-4eed-4b73-a29e-678838cd8acd" providerId="ADAL" clId="{B3B9A9FE-3004-43DC-97A3-BA416ED15667}" dt="2023-03-27T14:46:48.841" v="4739" actId="478"/>
          <ac:spMkLst>
            <pc:docMk/>
            <pc:sldMk cId="620416563" sldId="312"/>
            <ac:spMk id="12" creationId="{1A71061F-2701-4EFF-B396-3FCB427B8F1A}"/>
          </ac:spMkLst>
        </pc:spChg>
        <pc:spChg chg="add del mod">
          <ac:chgData name="Hans Gelissen (DHL SSC Maastricht)" userId="1afa8510-4eed-4b73-a29e-678838cd8acd" providerId="ADAL" clId="{B3B9A9FE-3004-43DC-97A3-BA416ED15667}" dt="2023-03-27T14:46:48.841" v="4739" actId="478"/>
          <ac:spMkLst>
            <pc:docMk/>
            <pc:sldMk cId="620416563" sldId="312"/>
            <ac:spMk id="13" creationId="{1A1D3AD2-D324-4CFB-B742-DFEE1A6D7C1C}"/>
          </ac:spMkLst>
        </pc:spChg>
        <pc:spChg chg="add del mod">
          <ac:chgData name="Hans Gelissen (DHL SSC Maastricht)" userId="1afa8510-4eed-4b73-a29e-678838cd8acd" providerId="ADAL" clId="{B3B9A9FE-3004-43DC-97A3-BA416ED15667}" dt="2023-03-27T14:46:48.841" v="4739" actId="478"/>
          <ac:spMkLst>
            <pc:docMk/>
            <pc:sldMk cId="620416563" sldId="312"/>
            <ac:spMk id="14" creationId="{18B31965-BB3F-42CA-BF17-7B2CB26D669A}"/>
          </ac:spMkLst>
        </pc:spChg>
        <pc:spChg chg="add del mod">
          <ac:chgData name="Hans Gelissen (DHL SSC Maastricht)" userId="1afa8510-4eed-4b73-a29e-678838cd8acd" providerId="ADAL" clId="{B3B9A9FE-3004-43DC-97A3-BA416ED15667}" dt="2023-03-27T14:46:48.841" v="4739" actId="478"/>
          <ac:spMkLst>
            <pc:docMk/>
            <pc:sldMk cId="620416563" sldId="312"/>
            <ac:spMk id="15" creationId="{09132539-BBFD-4872-925C-2A50FDC6D3D9}"/>
          </ac:spMkLst>
        </pc:spChg>
        <pc:spChg chg="add del mod">
          <ac:chgData name="Hans Gelissen (DHL SSC Maastricht)" userId="1afa8510-4eed-4b73-a29e-678838cd8acd" providerId="ADAL" clId="{B3B9A9FE-3004-43DC-97A3-BA416ED15667}" dt="2023-03-27T14:46:48.841" v="4739" actId="478"/>
          <ac:spMkLst>
            <pc:docMk/>
            <pc:sldMk cId="620416563" sldId="312"/>
            <ac:spMk id="16" creationId="{77A75271-0A48-4ECE-851F-C1B52AD0FFE7}"/>
          </ac:spMkLst>
        </pc:spChg>
        <pc:spChg chg="add del mod">
          <ac:chgData name="Hans Gelissen (DHL SSC Maastricht)" userId="1afa8510-4eed-4b73-a29e-678838cd8acd" providerId="ADAL" clId="{B3B9A9FE-3004-43DC-97A3-BA416ED15667}" dt="2023-03-27T14:46:48.841" v="4739" actId="478"/>
          <ac:spMkLst>
            <pc:docMk/>
            <pc:sldMk cId="620416563" sldId="312"/>
            <ac:spMk id="17" creationId="{E4AF837B-55CB-4DD0-B9EF-376F6D42C287}"/>
          </ac:spMkLst>
        </pc:spChg>
        <pc:spChg chg="add mod ord">
          <ac:chgData name="Hans Gelissen (DHL SSC Maastricht)" userId="1afa8510-4eed-4b73-a29e-678838cd8acd" providerId="ADAL" clId="{B3B9A9FE-3004-43DC-97A3-BA416ED15667}" dt="2023-03-27T14:51:14.013" v="4913" actId="20577"/>
          <ac:spMkLst>
            <pc:docMk/>
            <pc:sldMk cId="620416563" sldId="312"/>
            <ac:spMk id="18" creationId="{E8407DCA-5BB3-4454-B882-DF9C110ADEBB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4:47:36.295" v="4773" actId="931"/>
          <ac:spMkLst>
            <pc:docMk/>
            <pc:sldMk cId="620416563" sldId="312"/>
            <ac:spMk id="19" creationId="{E5E3489D-6982-4C42-B360-698C3E391145}"/>
          </ac:spMkLst>
        </pc:spChg>
        <pc:spChg chg="add mod">
          <ac:chgData name="Hans Gelissen (DHL SSC Maastricht)" userId="1afa8510-4eed-4b73-a29e-678838cd8acd" providerId="ADAL" clId="{B3B9A9FE-3004-43DC-97A3-BA416ED15667}" dt="2023-03-27T14:46:49.536" v="4740"/>
          <ac:spMkLst>
            <pc:docMk/>
            <pc:sldMk cId="620416563" sldId="312"/>
            <ac:spMk id="20" creationId="{17807D52-728C-40C8-BA74-B1DCC642CCD6}"/>
          </ac:spMkLst>
        </pc:spChg>
        <pc:spChg chg="mod">
          <ac:chgData name="Hans Gelissen (DHL SSC Maastricht)" userId="1afa8510-4eed-4b73-a29e-678838cd8acd" providerId="ADAL" clId="{B3B9A9FE-3004-43DC-97A3-BA416ED15667}" dt="2023-03-27T14:47:12.450" v="4772" actId="1036"/>
          <ac:spMkLst>
            <pc:docMk/>
            <pc:sldMk cId="620416563" sldId="312"/>
            <ac:spMk id="23" creationId="{F97EC55F-D7F0-4DE6-BE32-A49BE1E09ED2}"/>
          </ac:spMkLst>
        </pc:spChg>
        <pc:spChg chg="add mod">
          <ac:chgData name="Hans Gelissen (DHL SSC Maastricht)" userId="1afa8510-4eed-4b73-a29e-678838cd8acd" providerId="ADAL" clId="{B3B9A9FE-3004-43DC-97A3-BA416ED15667}" dt="2023-03-27T14:46:49.536" v="4740"/>
          <ac:spMkLst>
            <pc:docMk/>
            <pc:sldMk cId="620416563" sldId="312"/>
            <ac:spMk id="24" creationId="{9D0BFDA2-3FDA-478E-9267-56053BE6322E}"/>
          </ac:spMkLst>
        </pc:spChg>
        <pc:spChg chg="add mod">
          <ac:chgData name="Hans Gelissen (DHL SSC Maastricht)" userId="1afa8510-4eed-4b73-a29e-678838cd8acd" providerId="ADAL" clId="{B3B9A9FE-3004-43DC-97A3-BA416ED15667}" dt="2023-03-27T14:46:49.536" v="4740"/>
          <ac:spMkLst>
            <pc:docMk/>
            <pc:sldMk cId="620416563" sldId="312"/>
            <ac:spMk id="25" creationId="{DCFC3598-6754-4A48-BABA-5063D1D67F21}"/>
          </ac:spMkLst>
        </pc:spChg>
        <pc:spChg chg="add mod">
          <ac:chgData name="Hans Gelissen (DHL SSC Maastricht)" userId="1afa8510-4eed-4b73-a29e-678838cd8acd" providerId="ADAL" clId="{B3B9A9FE-3004-43DC-97A3-BA416ED15667}" dt="2023-03-27T14:47:01.437" v="4744" actId="20577"/>
          <ac:spMkLst>
            <pc:docMk/>
            <pc:sldMk cId="620416563" sldId="312"/>
            <ac:spMk id="26" creationId="{BAA537D7-FDEB-4765-A3F2-DB18D5A94D58}"/>
          </ac:spMkLst>
        </pc:spChg>
        <pc:spChg chg="add mod">
          <ac:chgData name="Hans Gelissen (DHL SSC Maastricht)" userId="1afa8510-4eed-4b73-a29e-678838cd8acd" providerId="ADAL" clId="{B3B9A9FE-3004-43DC-97A3-BA416ED15667}" dt="2023-03-27T14:46:49.536" v="4740"/>
          <ac:spMkLst>
            <pc:docMk/>
            <pc:sldMk cId="620416563" sldId="312"/>
            <ac:spMk id="27" creationId="{F3B4248D-A60A-49A4-95F2-95DDEAA0DFD6}"/>
          </ac:spMkLst>
        </pc:spChg>
        <pc:spChg chg="add mod">
          <ac:chgData name="Hans Gelissen (DHL SSC Maastricht)" userId="1afa8510-4eed-4b73-a29e-678838cd8acd" providerId="ADAL" clId="{B3B9A9FE-3004-43DC-97A3-BA416ED15667}" dt="2023-03-27T14:46:49.536" v="4740"/>
          <ac:spMkLst>
            <pc:docMk/>
            <pc:sldMk cId="620416563" sldId="312"/>
            <ac:spMk id="28" creationId="{D6C8E7F6-AB02-4568-97C1-716CE20AEAB3}"/>
          </ac:spMkLst>
        </pc:spChg>
        <pc:grpChg chg="add del mod">
          <ac:chgData name="Hans Gelissen (DHL SSC Maastricht)" userId="1afa8510-4eed-4b73-a29e-678838cd8acd" providerId="ADAL" clId="{B3B9A9FE-3004-43DC-97A3-BA416ED15667}" dt="2023-03-27T14:46:48.841" v="4739" actId="478"/>
          <ac:grpSpMkLst>
            <pc:docMk/>
            <pc:sldMk cId="620416563" sldId="312"/>
            <ac:grpSpMk id="5" creationId="{1C87A016-1E29-47C0-9373-BB08627F867B}"/>
          </ac:grpSpMkLst>
        </pc:grpChg>
        <pc:grpChg chg="add mod">
          <ac:chgData name="Hans Gelissen (DHL SSC Maastricht)" userId="1afa8510-4eed-4b73-a29e-678838cd8acd" providerId="ADAL" clId="{B3B9A9FE-3004-43DC-97A3-BA416ED15667}" dt="2023-03-27T14:47:12.450" v="4772" actId="1036"/>
          <ac:grpSpMkLst>
            <pc:docMk/>
            <pc:sldMk cId="620416563" sldId="312"/>
            <ac:grpSpMk id="21" creationId="{76F81F09-8472-4E01-8D67-FD6BE8BFB385}"/>
          </ac:grpSpMkLst>
        </pc:grpChg>
        <pc:picChg chg="mod">
          <ac:chgData name="Hans Gelissen (DHL SSC Maastricht)" userId="1afa8510-4eed-4b73-a29e-678838cd8acd" providerId="ADAL" clId="{B3B9A9FE-3004-43DC-97A3-BA416ED15667}" dt="2023-03-27T14:42:52.934" v="4691"/>
          <ac:picMkLst>
            <pc:docMk/>
            <pc:sldMk cId="620416563" sldId="312"/>
            <ac:picMk id="6" creationId="{6E22E5C9-503C-4BF9-A144-F335C074DB0C}"/>
          </ac:picMkLst>
        </pc:picChg>
        <pc:picChg chg="mod">
          <ac:chgData name="Hans Gelissen (DHL SSC Maastricht)" userId="1afa8510-4eed-4b73-a29e-678838cd8acd" providerId="ADAL" clId="{B3B9A9FE-3004-43DC-97A3-BA416ED15667}" dt="2023-03-27T14:47:12.450" v="4772" actId="1036"/>
          <ac:picMkLst>
            <pc:docMk/>
            <pc:sldMk cId="620416563" sldId="312"/>
            <ac:picMk id="22" creationId="{A223A8E6-EBEC-415B-8CEC-D62AC1A01140}"/>
          </ac:picMkLst>
        </pc:picChg>
        <pc:picChg chg="add mod">
          <ac:chgData name="Hans Gelissen (DHL SSC Maastricht)" userId="1afa8510-4eed-4b73-a29e-678838cd8acd" providerId="ADAL" clId="{B3B9A9FE-3004-43DC-97A3-BA416ED15667}" dt="2023-03-27T14:47:36.295" v="4773" actId="931"/>
          <ac:picMkLst>
            <pc:docMk/>
            <pc:sldMk cId="620416563" sldId="312"/>
            <ac:picMk id="30" creationId="{97DA5A2C-7817-492D-B1CC-6B97D5BCAA44}"/>
          </ac:picMkLst>
        </pc:picChg>
      </pc:sldChg>
      <pc:sldChg chg="add del">
        <pc:chgData name="Hans Gelissen (DHL SSC Maastricht)" userId="1afa8510-4eed-4b73-a29e-678838cd8acd" providerId="ADAL" clId="{B3B9A9FE-3004-43DC-97A3-BA416ED15667}" dt="2023-03-27T14:34:37.357" v="4609"/>
        <pc:sldMkLst>
          <pc:docMk/>
          <pc:sldMk cId="3507039713" sldId="312"/>
        </pc:sldMkLst>
      </pc:sldChg>
      <pc:sldChg chg="addSp delSp modSp add mod modClrScheme modAnim chgLayout">
        <pc:chgData name="Hans Gelissen (DHL SSC Maastricht)" userId="1afa8510-4eed-4b73-a29e-678838cd8acd" providerId="ADAL" clId="{B3B9A9FE-3004-43DC-97A3-BA416ED15667}" dt="2023-03-27T14:51:23.051" v="4919" actId="20577"/>
        <pc:sldMkLst>
          <pc:docMk/>
          <pc:sldMk cId="433562934" sldId="313"/>
        </pc:sldMkLst>
        <pc:spChg chg="del mod ord">
          <ac:chgData name="Hans Gelissen (DHL SSC Maastricht)" userId="1afa8510-4eed-4b73-a29e-678838cd8acd" providerId="ADAL" clId="{B3B9A9FE-3004-43DC-97A3-BA416ED15667}" dt="2023-03-27T14:50:36.644" v="4876" actId="700"/>
          <ac:spMkLst>
            <pc:docMk/>
            <pc:sldMk cId="433562934" sldId="313"/>
            <ac:spMk id="2" creationId="{861444EB-F7AC-4C40-8F0E-916778EE475D}"/>
          </ac:spMkLst>
        </pc:spChg>
        <pc:spChg chg="add mod">
          <ac:chgData name="Hans Gelissen (DHL SSC Maastricht)" userId="1afa8510-4eed-4b73-a29e-678838cd8acd" providerId="ADAL" clId="{B3B9A9FE-3004-43DC-97A3-BA416ED15667}" dt="2023-03-27T14:47:47.927" v="4774"/>
          <ac:spMkLst>
            <pc:docMk/>
            <pc:sldMk cId="433562934" sldId="313"/>
            <ac:spMk id="3" creationId="{AE84EE08-12CF-471C-8E9B-4DB757022DA2}"/>
          </ac:spMkLst>
        </pc:spChg>
        <pc:spChg chg="mod">
          <ac:chgData name="Hans Gelissen (DHL SSC Maastricht)" userId="1afa8510-4eed-4b73-a29e-678838cd8acd" providerId="ADAL" clId="{B3B9A9FE-3004-43DC-97A3-BA416ED15667}" dt="2023-03-27T14:50:26.574" v="4875" actId="1035"/>
          <ac:spMkLst>
            <pc:docMk/>
            <pc:sldMk cId="433562934" sldId="313"/>
            <ac:spMk id="6" creationId="{91A8F555-9DD5-43CD-B580-EF85299FD555}"/>
          </ac:spMkLst>
        </pc:spChg>
        <pc:spChg chg="add mod">
          <ac:chgData name="Hans Gelissen (DHL SSC Maastricht)" userId="1afa8510-4eed-4b73-a29e-678838cd8acd" providerId="ADAL" clId="{B3B9A9FE-3004-43DC-97A3-BA416ED15667}" dt="2023-03-27T14:47:47.927" v="4774"/>
          <ac:spMkLst>
            <pc:docMk/>
            <pc:sldMk cId="433562934" sldId="313"/>
            <ac:spMk id="7" creationId="{A90857DB-5431-4B36-B768-7804FF861018}"/>
          </ac:spMkLst>
        </pc:spChg>
        <pc:spChg chg="add mod">
          <ac:chgData name="Hans Gelissen (DHL SSC Maastricht)" userId="1afa8510-4eed-4b73-a29e-678838cd8acd" providerId="ADAL" clId="{B3B9A9FE-3004-43DC-97A3-BA416ED15667}" dt="2023-03-27T14:47:47.927" v="4774"/>
          <ac:spMkLst>
            <pc:docMk/>
            <pc:sldMk cId="433562934" sldId="313"/>
            <ac:spMk id="8" creationId="{3B6D2D8D-A8D0-421C-A080-0C01E65FC7C0}"/>
          </ac:spMkLst>
        </pc:spChg>
        <pc:spChg chg="add mod">
          <ac:chgData name="Hans Gelissen (DHL SSC Maastricht)" userId="1afa8510-4eed-4b73-a29e-678838cd8acd" providerId="ADAL" clId="{B3B9A9FE-3004-43DC-97A3-BA416ED15667}" dt="2023-03-27T14:50:11.342" v="4834" actId="20577"/>
          <ac:spMkLst>
            <pc:docMk/>
            <pc:sldMk cId="433562934" sldId="313"/>
            <ac:spMk id="9" creationId="{786FF0EE-3B29-4FDC-BBDE-D52104C28520}"/>
          </ac:spMkLst>
        </pc:spChg>
        <pc:spChg chg="add mod">
          <ac:chgData name="Hans Gelissen (DHL SSC Maastricht)" userId="1afa8510-4eed-4b73-a29e-678838cd8acd" providerId="ADAL" clId="{B3B9A9FE-3004-43DC-97A3-BA416ED15667}" dt="2023-03-27T14:47:47.927" v="4774"/>
          <ac:spMkLst>
            <pc:docMk/>
            <pc:sldMk cId="433562934" sldId="313"/>
            <ac:spMk id="10" creationId="{6FE1E7D1-52E5-4194-8F7E-D5FE142B7CDF}"/>
          </ac:spMkLst>
        </pc:spChg>
        <pc:spChg chg="add mod">
          <ac:chgData name="Hans Gelissen (DHL SSC Maastricht)" userId="1afa8510-4eed-4b73-a29e-678838cd8acd" providerId="ADAL" clId="{B3B9A9FE-3004-43DC-97A3-BA416ED15667}" dt="2023-03-27T14:47:47.927" v="4774"/>
          <ac:spMkLst>
            <pc:docMk/>
            <pc:sldMk cId="433562934" sldId="313"/>
            <ac:spMk id="11" creationId="{FC10E896-4030-43A5-8C74-CD80276E682D}"/>
          </ac:spMkLst>
        </pc:spChg>
        <pc:spChg chg="add mod ord">
          <ac:chgData name="Hans Gelissen (DHL SSC Maastricht)" userId="1afa8510-4eed-4b73-a29e-678838cd8acd" providerId="ADAL" clId="{B3B9A9FE-3004-43DC-97A3-BA416ED15667}" dt="2023-03-27T14:51:23.051" v="4919" actId="20577"/>
          <ac:spMkLst>
            <pc:docMk/>
            <pc:sldMk cId="433562934" sldId="313"/>
            <ac:spMk id="12" creationId="{F0CFCAF4-D775-473B-A579-7AF843A26858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4:50:42.610" v="4877" actId="931"/>
          <ac:spMkLst>
            <pc:docMk/>
            <pc:sldMk cId="433562934" sldId="313"/>
            <ac:spMk id="13" creationId="{F462098E-80AC-425E-83A2-F621CD6FFCF8}"/>
          </ac:spMkLst>
        </pc:spChg>
        <pc:grpChg chg="add mod">
          <ac:chgData name="Hans Gelissen (DHL SSC Maastricht)" userId="1afa8510-4eed-4b73-a29e-678838cd8acd" providerId="ADAL" clId="{B3B9A9FE-3004-43DC-97A3-BA416ED15667}" dt="2023-03-27T14:50:26.574" v="4875" actId="1035"/>
          <ac:grpSpMkLst>
            <pc:docMk/>
            <pc:sldMk cId="433562934" sldId="313"/>
            <ac:grpSpMk id="4" creationId="{B5B04D1B-A29E-4F60-A494-254C436AC8D5}"/>
          </ac:grpSpMkLst>
        </pc:grpChg>
        <pc:picChg chg="mod">
          <ac:chgData name="Hans Gelissen (DHL SSC Maastricht)" userId="1afa8510-4eed-4b73-a29e-678838cd8acd" providerId="ADAL" clId="{B3B9A9FE-3004-43DC-97A3-BA416ED15667}" dt="2023-03-27T14:50:26.574" v="4875" actId="1035"/>
          <ac:picMkLst>
            <pc:docMk/>
            <pc:sldMk cId="433562934" sldId="313"/>
            <ac:picMk id="5" creationId="{4844BCE2-D3A7-4A89-90D5-55A0E5BA5B85}"/>
          </ac:picMkLst>
        </pc:picChg>
        <pc:picChg chg="add mod">
          <ac:chgData name="Hans Gelissen (DHL SSC Maastricht)" userId="1afa8510-4eed-4b73-a29e-678838cd8acd" providerId="ADAL" clId="{B3B9A9FE-3004-43DC-97A3-BA416ED15667}" dt="2023-03-27T14:50:44.712" v="4878" actId="27614"/>
          <ac:picMkLst>
            <pc:docMk/>
            <pc:sldMk cId="433562934" sldId="313"/>
            <ac:picMk id="15" creationId="{A16C05CA-5270-4FE3-99E7-810EC1E2A4A6}"/>
          </ac:picMkLst>
        </pc:picChg>
      </pc:sldChg>
      <pc:sldChg chg="add del">
        <pc:chgData name="Hans Gelissen (DHL SSC Maastricht)" userId="1afa8510-4eed-4b73-a29e-678838cd8acd" providerId="ADAL" clId="{B3B9A9FE-3004-43DC-97A3-BA416ED15667}" dt="2023-03-27T14:34:37.171" v="4608"/>
        <pc:sldMkLst>
          <pc:docMk/>
          <pc:sldMk cId="2989705575" sldId="313"/>
        </pc:sldMkLst>
      </pc:sldChg>
      <pc:sldChg chg="addSp delSp modSp add mod ord modClrScheme modAnim chgLayout">
        <pc:chgData name="Hans Gelissen (DHL SSC Maastricht)" userId="1afa8510-4eed-4b73-a29e-678838cd8acd" providerId="ADAL" clId="{B3B9A9FE-3004-43DC-97A3-BA416ED15667}" dt="2023-03-27T14:51:18.046" v="4916" actId="20577"/>
        <pc:sldMkLst>
          <pc:docMk/>
          <pc:sldMk cId="1622444101" sldId="314"/>
        </pc:sldMkLst>
        <pc:spChg chg="del mod ord">
          <ac:chgData name="Hans Gelissen (DHL SSC Maastricht)" userId="1afa8510-4eed-4b73-a29e-678838cd8acd" providerId="ADAL" clId="{B3B9A9FE-3004-43DC-97A3-BA416ED15667}" dt="2023-03-27T14:48:51.245" v="4824" actId="700"/>
          <ac:spMkLst>
            <pc:docMk/>
            <pc:sldMk cId="1622444101" sldId="314"/>
            <ac:spMk id="2" creationId="{861444EB-F7AC-4C40-8F0E-916778EE475D}"/>
          </ac:spMkLst>
        </pc:spChg>
        <pc:spChg chg="add mod">
          <ac:chgData name="Hans Gelissen (DHL SSC Maastricht)" userId="1afa8510-4eed-4b73-a29e-678838cd8acd" providerId="ADAL" clId="{B3B9A9FE-3004-43DC-97A3-BA416ED15667}" dt="2023-03-27T14:47:50.345" v="4775"/>
          <ac:spMkLst>
            <pc:docMk/>
            <pc:sldMk cId="1622444101" sldId="314"/>
            <ac:spMk id="3" creationId="{1CEDF249-EAE1-4322-A899-89A9D9B1EBBD}"/>
          </ac:spMkLst>
        </pc:spChg>
        <pc:spChg chg="mod">
          <ac:chgData name="Hans Gelissen (DHL SSC Maastricht)" userId="1afa8510-4eed-4b73-a29e-678838cd8acd" providerId="ADAL" clId="{B3B9A9FE-3004-43DC-97A3-BA416ED15667}" dt="2023-03-27T14:48:13.165" v="4821" actId="1035"/>
          <ac:spMkLst>
            <pc:docMk/>
            <pc:sldMk cId="1622444101" sldId="314"/>
            <ac:spMk id="6" creationId="{37F8075D-5443-4ABA-9803-B2EF636798D7}"/>
          </ac:spMkLst>
        </pc:spChg>
        <pc:spChg chg="add mod">
          <ac:chgData name="Hans Gelissen (DHL SSC Maastricht)" userId="1afa8510-4eed-4b73-a29e-678838cd8acd" providerId="ADAL" clId="{B3B9A9FE-3004-43DC-97A3-BA416ED15667}" dt="2023-03-27T14:47:50.345" v="4775"/>
          <ac:spMkLst>
            <pc:docMk/>
            <pc:sldMk cId="1622444101" sldId="314"/>
            <ac:spMk id="7" creationId="{8332F8B7-A191-4A4D-B4FB-EF60B6B3CD04}"/>
          </ac:spMkLst>
        </pc:spChg>
        <pc:spChg chg="add mod">
          <ac:chgData name="Hans Gelissen (DHL SSC Maastricht)" userId="1afa8510-4eed-4b73-a29e-678838cd8acd" providerId="ADAL" clId="{B3B9A9FE-3004-43DC-97A3-BA416ED15667}" dt="2023-03-27T14:47:50.345" v="4775"/>
          <ac:spMkLst>
            <pc:docMk/>
            <pc:sldMk cId="1622444101" sldId="314"/>
            <ac:spMk id="8" creationId="{AFA6F2EF-5ACC-4912-91CE-DB80CC84D4CD}"/>
          </ac:spMkLst>
        </pc:spChg>
        <pc:spChg chg="add mod">
          <ac:chgData name="Hans Gelissen (DHL SSC Maastricht)" userId="1afa8510-4eed-4b73-a29e-678838cd8acd" providerId="ADAL" clId="{B3B9A9FE-3004-43DC-97A3-BA416ED15667}" dt="2023-03-27T14:48:02.979" v="4777" actId="20577"/>
          <ac:spMkLst>
            <pc:docMk/>
            <pc:sldMk cId="1622444101" sldId="314"/>
            <ac:spMk id="9" creationId="{F6F0DF51-69EF-4A7D-9C91-779BF65E9032}"/>
          </ac:spMkLst>
        </pc:spChg>
        <pc:spChg chg="add mod">
          <ac:chgData name="Hans Gelissen (DHL SSC Maastricht)" userId="1afa8510-4eed-4b73-a29e-678838cd8acd" providerId="ADAL" clId="{B3B9A9FE-3004-43DC-97A3-BA416ED15667}" dt="2023-03-27T14:47:50.345" v="4775"/>
          <ac:spMkLst>
            <pc:docMk/>
            <pc:sldMk cId="1622444101" sldId="314"/>
            <ac:spMk id="10" creationId="{C91F9CBF-7A4E-4667-80FE-FE13013E5D6A}"/>
          </ac:spMkLst>
        </pc:spChg>
        <pc:spChg chg="add mod">
          <ac:chgData name="Hans Gelissen (DHL SSC Maastricht)" userId="1afa8510-4eed-4b73-a29e-678838cd8acd" providerId="ADAL" clId="{B3B9A9FE-3004-43DC-97A3-BA416ED15667}" dt="2023-03-27T14:47:50.345" v="4775"/>
          <ac:spMkLst>
            <pc:docMk/>
            <pc:sldMk cId="1622444101" sldId="314"/>
            <ac:spMk id="11" creationId="{5019381A-1909-4062-8780-859443D331A7}"/>
          </ac:spMkLst>
        </pc:spChg>
        <pc:spChg chg="add mod ord">
          <ac:chgData name="Hans Gelissen (DHL SSC Maastricht)" userId="1afa8510-4eed-4b73-a29e-678838cd8acd" providerId="ADAL" clId="{B3B9A9FE-3004-43DC-97A3-BA416ED15667}" dt="2023-03-27T14:51:18.046" v="4916" actId="20577"/>
          <ac:spMkLst>
            <pc:docMk/>
            <pc:sldMk cId="1622444101" sldId="314"/>
            <ac:spMk id="12" creationId="{C868326A-263C-4C57-A247-83F447690CF1}"/>
          </ac:spMkLst>
        </pc:spChg>
        <pc:spChg chg="add del mod ord">
          <ac:chgData name="Hans Gelissen (DHL SSC Maastricht)" userId="1afa8510-4eed-4b73-a29e-678838cd8acd" providerId="ADAL" clId="{B3B9A9FE-3004-43DC-97A3-BA416ED15667}" dt="2023-03-27T14:48:55.213" v="4825" actId="931"/>
          <ac:spMkLst>
            <pc:docMk/>
            <pc:sldMk cId="1622444101" sldId="314"/>
            <ac:spMk id="13" creationId="{CE91DC37-AFEF-4990-8CFF-C9E9AED26E58}"/>
          </ac:spMkLst>
        </pc:spChg>
        <pc:grpChg chg="add mod">
          <ac:chgData name="Hans Gelissen (DHL SSC Maastricht)" userId="1afa8510-4eed-4b73-a29e-678838cd8acd" providerId="ADAL" clId="{B3B9A9FE-3004-43DC-97A3-BA416ED15667}" dt="2023-03-27T14:48:13.165" v="4821" actId="1035"/>
          <ac:grpSpMkLst>
            <pc:docMk/>
            <pc:sldMk cId="1622444101" sldId="314"/>
            <ac:grpSpMk id="4" creationId="{6D1B0AB7-D6BD-4EF1-9219-BB51F4B670EF}"/>
          </ac:grpSpMkLst>
        </pc:grpChg>
        <pc:picChg chg="mod">
          <ac:chgData name="Hans Gelissen (DHL SSC Maastricht)" userId="1afa8510-4eed-4b73-a29e-678838cd8acd" providerId="ADAL" clId="{B3B9A9FE-3004-43DC-97A3-BA416ED15667}" dt="2023-03-27T14:48:13.165" v="4821" actId="1035"/>
          <ac:picMkLst>
            <pc:docMk/>
            <pc:sldMk cId="1622444101" sldId="314"/>
            <ac:picMk id="5" creationId="{73C8DD72-2CEC-4A19-B4D9-03EDC32F342E}"/>
          </ac:picMkLst>
        </pc:picChg>
        <pc:picChg chg="add mod modCrop">
          <ac:chgData name="Hans Gelissen (DHL SSC Maastricht)" userId="1afa8510-4eed-4b73-a29e-678838cd8acd" providerId="ADAL" clId="{B3B9A9FE-3004-43DC-97A3-BA416ED15667}" dt="2023-03-27T14:49:40.689" v="4832" actId="1037"/>
          <ac:picMkLst>
            <pc:docMk/>
            <pc:sldMk cId="1622444101" sldId="314"/>
            <ac:picMk id="15" creationId="{5641FBDE-06BE-42B8-BB22-458DCDBE7B16}"/>
          </ac:picMkLst>
        </pc:picChg>
      </pc:sldChg>
      <pc:sldChg chg="addSp delSp modSp add mod modClrScheme modCm chgLayout">
        <pc:chgData name="Hans Gelissen (DHL SSC Maastricht)" userId="1afa8510-4eed-4b73-a29e-678838cd8acd" providerId="ADAL" clId="{B3B9A9FE-3004-43DC-97A3-BA416ED15667}" dt="2023-03-29T07:29:28.983" v="7182"/>
        <pc:sldMkLst>
          <pc:docMk/>
          <pc:sldMk cId="3703085558" sldId="315"/>
        </pc:sldMkLst>
        <pc:spChg chg="del mod ord">
          <ac:chgData name="Hans Gelissen (DHL SSC Maastricht)" userId="1afa8510-4eed-4b73-a29e-678838cd8acd" providerId="ADAL" clId="{B3B9A9FE-3004-43DC-97A3-BA416ED15667}" dt="2023-03-28T12:02:51.763" v="6242" actId="700"/>
          <ac:spMkLst>
            <pc:docMk/>
            <pc:sldMk cId="3703085558" sldId="315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8T12:03:11.600" v="6269" actId="20577"/>
          <ac:spMkLst>
            <pc:docMk/>
            <pc:sldMk cId="3703085558" sldId="315"/>
            <ac:spMk id="3" creationId="{C1C80173-C401-465A-ADE1-3891498C08E6}"/>
          </ac:spMkLst>
        </pc:spChg>
        <pc:spChg chg="add mod ord">
          <ac:chgData name="Hans Gelissen (DHL SSC Maastricht)" userId="1afa8510-4eed-4b73-a29e-678838cd8acd" providerId="ADAL" clId="{B3B9A9FE-3004-43DC-97A3-BA416ED15667}" dt="2023-03-28T12:03:20.822" v="6293" actId="20577"/>
          <ac:spMkLst>
            <pc:docMk/>
            <pc:sldMk cId="3703085558" sldId="315"/>
            <ac:spMk id="4" creationId="{02122118-43E9-43EB-A9F1-5D9985A9DE3A}"/>
          </ac:spMkLst>
        </pc:spChg>
        <pc:spChg chg="add mod ord">
          <ac:chgData name="Hans Gelissen (DHL SSC Maastricht)" userId="1afa8510-4eed-4b73-a29e-678838cd8acd" providerId="ADAL" clId="{B3B9A9FE-3004-43DC-97A3-BA416ED15667}" dt="2023-03-28T12:04:24.032" v="6405" actId="20577"/>
          <ac:spMkLst>
            <pc:docMk/>
            <pc:sldMk cId="3703085558" sldId="315"/>
            <ac:spMk id="5" creationId="{BF62890B-0974-4B78-A649-B56239CC7D1E}"/>
          </ac:spMkLst>
        </pc:spChg>
        <pc:spChg chg="add mod ord">
          <ac:chgData name="Hans Gelissen (DHL SSC Maastricht)" userId="1afa8510-4eed-4b73-a29e-678838cd8acd" providerId="ADAL" clId="{B3B9A9FE-3004-43DC-97A3-BA416ED15667}" dt="2023-03-28T12:07:22.673" v="6612" actId="20577"/>
          <ac:spMkLst>
            <pc:docMk/>
            <pc:sldMk cId="3703085558" sldId="315"/>
            <ac:spMk id="6" creationId="{BA82EB73-1F99-49CD-9D9E-0460A6A401DC}"/>
          </ac:spMkLst>
        </pc:spChg>
        <pc:spChg chg="add del mod ord">
          <ac:chgData name="Hans Gelissen (DHL SSC Maastricht)" userId="1afa8510-4eed-4b73-a29e-678838cd8acd" providerId="ADAL" clId="{B3B9A9FE-3004-43DC-97A3-BA416ED15667}" dt="2023-03-28T12:02:57.965" v="6243" actId="931"/>
          <ac:spMkLst>
            <pc:docMk/>
            <pc:sldMk cId="3703085558" sldId="315"/>
            <ac:spMk id="7" creationId="{F00B3BA0-5EDA-4994-B8A6-F51564FE4CB3}"/>
          </ac:spMkLst>
        </pc:spChg>
        <pc:picChg chg="add mod">
          <ac:chgData name="Hans Gelissen (DHL SSC Maastricht)" userId="1afa8510-4eed-4b73-a29e-678838cd8acd" providerId="ADAL" clId="{B3B9A9FE-3004-43DC-97A3-BA416ED15667}" dt="2023-03-28T12:03:00.367" v="6245" actId="962"/>
          <ac:picMkLst>
            <pc:docMk/>
            <pc:sldMk cId="3703085558" sldId="315"/>
            <ac:picMk id="9" creationId="{F1A7C52F-D3EF-4487-BB71-1567CF57189B}"/>
          </ac:picMkLst>
        </pc:picChg>
      </pc:sldChg>
      <pc:sldChg chg="delSp modSp add mod modClrScheme chgLayout">
        <pc:chgData name="Hans Gelissen (DHL SSC Maastricht)" userId="1afa8510-4eed-4b73-a29e-678838cd8acd" providerId="ADAL" clId="{B3B9A9FE-3004-43DC-97A3-BA416ED15667}" dt="2023-03-28T12:08:13.765" v="6614" actId="700"/>
        <pc:sldMkLst>
          <pc:docMk/>
          <pc:sldMk cId="2814935883" sldId="316"/>
        </pc:sldMkLst>
        <pc:spChg chg="del mod">
          <ac:chgData name="Hans Gelissen (DHL SSC Maastricht)" userId="1afa8510-4eed-4b73-a29e-678838cd8acd" providerId="ADAL" clId="{B3B9A9FE-3004-43DC-97A3-BA416ED15667}" dt="2023-03-28T12:08:13.765" v="6614" actId="700"/>
          <ac:spMkLst>
            <pc:docMk/>
            <pc:sldMk cId="2814935883" sldId="316"/>
            <ac:spMk id="2" creationId="{861444EB-F7AC-4C40-8F0E-916778EE475D}"/>
          </ac:spMkLst>
        </pc:spChg>
      </pc:sldChg>
      <pc:sldChg chg="delSp add mod ord modClrScheme chgLayout">
        <pc:chgData name="Hans Gelissen (DHL SSC Maastricht)" userId="1afa8510-4eed-4b73-a29e-678838cd8acd" providerId="ADAL" clId="{B3B9A9FE-3004-43DC-97A3-BA416ED15667}" dt="2023-03-28T12:43:58.289" v="6970"/>
        <pc:sldMkLst>
          <pc:docMk/>
          <pc:sldMk cId="1458011321" sldId="317"/>
        </pc:sldMkLst>
        <pc:spChg chg="del">
          <ac:chgData name="Hans Gelissen (DHL SSC Maastricht)" userId="1afa8510-4eed-4b73-a29e-678838cd8acd" providerId="ADAL" clId="{B3B9A9FE-3004-43DC-97A3-BA416ED15667}" dt="2023-03-28T12:08:38.185" v="6615" actId="700"/>
          <ac:spMkLst>
            <pc:docMk/>
            <pc:sldMk cId="1458011321" sldId="317"/>
            <ac:spMk id="2" creationId="{861444EB-F7AC-4C40-8F0E-916778EE475D}"/>
          </ac:spMkLst>
        </pc:spChg>
      </pc:sldChg>
      <pc:sldChg chg="addSp delSp modSp add mod modClrScheme modAnim chgLayout">
        <pc:chgData name="Hans Gelissen (DHL SSC Maastricht)" userId="1afa8510-4eed-4b73-a29e-678838cd8acd" providerId="ADAL" clId="{B3B9A9FE-3004-43DC-97A3-BA416ED15667}" dt="2023-03-28T12:13:24.402" v="6719"/>
        <pc:sldMkLst>
          <pc:docMk/>
          <pc:sldMk cId="3339699968" sldId="318"/>
        </pc:sldMkLst>
        <pc:spChg chg="del mod ord">
          <ac:chgData name="Hans Gelissen (DHL SSC Maastricht)" userId="1afa8510-4eed-4b73-a29e-678838cd8acd" providerId="ADAL" clId="{B3B9A9FE-3004-43DC-97A3-BA416ED15667}" dt="2023-03-28T12:09:05.588" v="6617" actId="700"/>
          <ac:spMkLst>
            <pc:docMk/>
            <pc:sldMk cId="3339699968" sldId="318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8T12:09:12.289" v="6639" actId="20577"/>
          <ac:spMkLst>
            <pc:docMk/>
            <pc:sldMk cId="3339699968" sldId="318"/>
            <ac:spMk id="3" creationId="{D904E5AB-69A9-4FCA-A1C7-16546E126BF2}"/>
          </ac:spMkLst>
        </pc:spChg>
        <pc:spChg chg="add mod">
          <ac:chgData name="Hans Gelissen (DHL SSC Maastricht)" userId="1afa8510-4eed-4b73-a29e-678838cd8acd" providerId="ADAL" clId="{B3B9A9FE-3004-43DC-97A3-BA416ED15667}" dt="2023-03-28T12:13:24.402" v="6719"/>
          <ac:spMkLst>
            <pc:docMk/>
            <pc:sldMk cId="3339699968" sldId="318"/>
            <ac:spMk id="4" creationId="{7C8D67D4-7C79-44F4-BD63-EADF8434068B}"/>
          </ac:spMkLst>
        </pc:spChg>
        <pc:spChg chg="mod">
          <ac:chgData name="Hans Gelissen (DHL SSC Maastricht)" userId="1afa8510-4eed-4b73-a29e-678838cd8acd" providerId="ADAL" clId="{B3B9A9FE-3004-43DC-97A3-BA416ED15667}" dt="2023-03-28T12:13:24.402" v="6719"/>
          <ac:spMkLst>
            <pc:docMk/>
            <pc:sldMk cId="3339699968" sldId="318"/>
            <ac:spMk id="7" creationId="{316C4CBF-2C55-4A4C-885D-7C57DC5F46C7}"/>
          </ac:spMkLst>
        </pc:spChg>
        <pc:spChg chg="add mod">
          <ac:chgData name="Hans Gelissen (DHL SSC Maastricht)" userId="1afa8510-4eed-4b73-a29e-678838cd8acd" providerId="ADAL" clId="{B3B9A9FE-3004-43DC-97A3-BA416ED15667}" dt="2023-03-28T12:13:24.402" v="6719"/>
          <ac:spMkLst>
            <pc:docMk/>
            <pc:sldMk cId="3339699968" sldId="318"/>
            <ac:spMk id="8" creationId="{F1E3A353-125B-47F3-BDE8-D3BAE629349F}"/>
          </ac:spMkLst>
        </pc:spChg>
        <pc:spChg chg="add mod">
          <ac:chgData name="Hans Gelissen (DHL SSC Maastricht)" userId="1afa8510-4eed-4b73-a29e-678838cd8acd" providerId="ADAL" clId="{B3B9A9FE-3004-43DC-97A3-BA416ED15667}" dt="2023-03-28T12:13:24.402" v="6719"/>
          <ac:spMkLst>
            <pc:docMk/>
            <pc:sldMk cId="3339699968" sldId="318"/>
            <ac:spMk id="9" creationId="{7A220CFA-9F10-4E69-8B1C-7169A24F3131}"/>
          </ac:spMkLst>
        </pc:spChg>
        <pc:spChg chg="add mod">
          <ac:chgData name="Hans Gelissen (DHL SSC Maastricht)" userId="1afa8510-4eed-4b73-a29e-678838cd8acd" providerId="ADAL" clId="{B3B9A9FE-3004-43DC-97A3-BA416ED15667}" dt="2023-03-28T12:13:24.402" v="6719"/>
          <ac:spMkLst>
            <pc:docMk/>
            <pc:sldMk cId="3339699968" sldId="318"/>
            <ac:spMk id="10" creationId="{60A3F23B-E7E5-4416-BD38-5741B19F11F2}"/>
          </ac:spMkLst>
        </pc:spChg>
        <pc:spChg chg="add mod">
          <ac:chgData name="Hans Gelissen (DHL SSC Maastricht)" userId="1afa8510-4eed-4b73-a29e-678838cd8acd" providerId="ADAL" clId="{B3B9A9FE-3004-43DC-97A3-BA416ED15667}" dt="2023-03-28T12:13:24.402" v="6719"/>
          <ac:spMkLst>
            <pc:docMk/>
            <pc:sldMk cId="3339699968" sldId="318"/>
            <ac:spMk id="11" creationId="{E4C8E1B1-827D-4A7F-9FBA-06E709AFBA66}"/>
          </ac:spMkLst>
        </pc:spChg>
        <pc:spChg chg="add mod">
          <ac:chgData name="Hans Gelissen (DHL SSC Maastricht)" userId="1afa8510-4eed-4b73-a29e-678838cd8acd" providerId="ADAL" clId="{B3B9A9FE-3004-43DC-97A3-BA416ED15667}" dt="2023-03-28T12:13:24.402" v="6719"/>
          <ac:spMkLst>
            <pc:docMk/>
            <pc:sldMk cId="3339699968" sldId="318"/>
            <ac:spMk id="12" creationId="{F24DFE5C-09F9-4DE8-91E6-DBA20ED60577}"/>
          </ac:spMkLst>
        </pc:spChg>
        <pc:spChg chg="add mod">
          <ac:chgData name="Hans Gelissen (DHL SSC Maastricht)" userId="1afa8510-4eed-4b73-a29e-678838cd8acd" providerId="ADAL" clId="{B3B9A9FE-3004-43DC-97A3-BA416ED15667}" dt="2023-03-28T12:13:24.402" v="6719"/>
          <ac:spMkLst>
            <pc:docMk/>
            <pc:sldMk cId="3339699968" sldId="318"/>
            <ac:spMk id="13" creationId="{157B60F2-7B1B-4B19-A9ED-7345F3EF8BD7}"/>
          </ac:spMkLst>
        </pc:spChg>
        <pc:spChg chg="add mod">
          <ac:chgData name="Hans Gelissen (DHL SSC Maastricht)" userId="1afa8510-4eed-4b73-a29e-678838cd8acd" providerId="ADAL" clId="{B3B9A9FE-3004-43DC-97A3-BA416ED15667}" dt="2023-03-28T12:13:24.402" v="6719"/>
          <ac:spMkLst>
            <pc:docMk/>
            <pc:sldMk cId="3339699968" sldId="318"/>
            <ac:spMk id="14" creationId="{68F8398B-9F7C-4009-B4EF-6755FFE30804}"/>
          </ac:spMkLst>
        </pc:spChg>
        <pc:spChg chg="add mod">
          <ac:chgData name="Hans Gelissen (DHL SSC Maastricht)" userId="1afa8510-4eed-4b73-a29e-678838cd8acd" providerId="ADAL" clId="{B3B9A9FE-3004-43DC-97A3-BA416ED15667}" dt="2023-03-28T12:13:24.402" v="6719"/>
          <ac:spMkLst>
            <pc:docMk/>
            <pc:sldMk cId="3339699968" sldId="318"/>
            <ac:spMk id="15" creationId="{22C2C265-4BB5-4B08-88AE-87608CD2D456}"/>
          </ac:spMkLst>
        </pc:spChg>
        <pc:spChg chg="add mod">
          <ac:chgData name="Hans Gelissen (DHL SSC Maastricht)" userId="1afa8510-4eed-4b73-a29e-678838cd8acd" providerId="ADAL" clId="{B3B9A9FE-3004-43DC-97A3-BA416ED15667}" dt="2023-03-28T12:13:24.402" v="6719"/>
          <ac:spMkLst>
            <pc:docMk/>
            <pc:sldMk cId="3339699968" sldId="318"/>
            <ac:spMk id="16" creationId="{1C3CC3CB-75DB-4D68-8992-8C770B50C320}"/>
          </ac:spMkLst>
        </pc:spChg>
        <pc:spChg chg="add mod">
          <ac:chgData name="Hans Gelissen (DHL SSC Maastricht)" userId="1afa8510-4eed-4b73-a29e-678838cd8acd" providerId="ADAL" clId="{B3B9A9FE-3004-43DC-97A3-BA416ED15667}" dt="2023-03-28T12:13:24.402" v="6719"/>
          <ac:spMkLst>
            <pc:docMk/>
            <pc:sldMk cId="3339699968" sldId="318"/>
            <ac:spMk id="17" creationId="{D017B54E-4E4A-4836-927C-0E72B871F080}"/>
          </ac:spMkLst>
        </pc:spChg>
        <pc:grpChg chg="add mod">
          <ac:chgData name="Hans Gelissen (DHL SSC Maastricht)" userId="1afa8510-4eed-4b73-a29e-678838cd8acd" providerId="ADAL" clId="{B3B9A9FE-3004-43DC-97A3-BA416ED15667}" dt="2023-03-28T12:13:24.402" v="6719"/>
          <ac:grpSpMkLst>
            <pc:docMk/>
            <pc:sldMk cId="3339699968" sldId="318"/>
            <ac:grpSpMk id="5" creationId="{87227A76-461D-4895-8FA0-4096201066F7}"/>
          </ac:grpSpMkLst>
        </pc:grpChg>
        <pc:picChg chg="mod">
          <ac:chgData name="Hans Gelissen (DHL SSC Maastricht)" userId="1afa8510-4eed-4b73-a29e-678838cd8acd" providerId="ADAL" clId="{B3B9A9FE-3004-43DC-97A3-BA416ED15667}" dt="2023-03-28T12:13:24.402" v="6719"/>
          <ac:picMkLst>
            <pc:docMk/>
            <pc:sldMk cId="3339699968" sldId="318"/>
            <ac:picMk id="6" creationId="{5812D29C-BACE-4750-9A62-F9E83287DE2A}"/>
          </ac:picMkLst>
        </pc:picChg>
      </pc:sldChg>
      <pc:sldChg chg="addSp delSp modSp add mod ord modClrScheme chgLayout">
        <pc:chgData name="Hans Gelissen (DHL SSC Maastricht)" userId="1afa8510-4eed-4b73-a29e-678838cd8acd" providerId="ADAL" clId="{B3B9A9FE-3004-43DC-97A3-BA416ED15667}" dt="2023-03-28T12:14:02.878" v="6725" actId="700"/>
        <pc:sldMkLst>
          <pc:docMk/>
          <pc:sldMk cId="3989320898" sldId="319"/>
        </pc:sldMkLst>
        <pc:spChg chg="del mod ord">
          <ac:chgData name="Hans Gelissen (DHL SSC Maastricht)" userId="1afa8510-4eed-4b73-a29e-678838cd8acd" providerId="ADAL" clId="{B3B9A9FE-3004-43DC-97A3-BA416ED15667}" dt="2023-03-28T12:09:55.166" v="6643" actId="700"/>
          <ac:spMkLst>
            <pc:docMk/>
            <pc:sldMk cId="3989320898" sldId="319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B3B9A9FE-3004-43DC-97A3-BA416ED15667}" dt="2023-03-28T12:10:05.754" v="6645" actId="700"/>
          <ac:spMkLst>
            <pc:docMk/>
            <pc:sldMk cId="3989320898" sldId="319"/>
            <ac:spMk id="3" creationId="{1A036337-4E4B-490E-873F-8FA85DC49DAD}"/>
          </ac:spMkLst>
        </pc:spChg>
        <pc:spChg chg="add del mod ord">
          <ac:chgData name="Hans Gelissen (DHL SSC Maastricht)" userId="1afa8510-4eed-4b73-a29e-678838cd8acd" providerId="ADAL" clId="{B3B9A9FE-3004-43DC-97A3-BA416ED15667}" dt="2023-03-28T12:10:05.754" v="6645" actId="700"/>
          <ac:spMkLst>
            <pc:docMk/>
            <pc:sldMk cId="3989320898" sldId="319"/>
            <ac:spMk id="4" creationId="{29F1727A-694C-4E05-A0FB-38857DA55266}"/>
          </ac:spMkLst>
        </pc:spChg>
        <pc:spChg chg="add mod ord">
          <ac:chgData name="Hans Gelissen (DHL SSC Maastricht)" userId="1afa8510-4eed-4b73-a29e-678838cd8acd" providerId="ADAL" clId="{B3B9A9FE-3004-43DC-97A3-BA416ED15667}" dt="2023-03-28T12:14:02.878" v="6725" actId="700"/>
          <ac:spMkLst>
            <pc:docMk/>
            <pc:sldMk cId="3989320898" sldId="319"/>
            <ac:spMk id="5" creationId="{EEC2B079-AF08-4CCE-8B62-C3C73831C513}"/>
          </ac:spMkLst>
        </pc:spChg>
      </pc:sldChg>
      <pc:sldChg chg="addSp delSp modSp add mod modClrScheme chgLayout">
        <pc:chgData name="Hans Gelissen (DHL SSC Maastricht)" userId="1afa8510-4eed-4b73-a29e-678838cd8acd" providerId="ADAL" clId="{B3B9A9FE-3004-43DC-97A3-BA416ED15667}" dt="2023-03-28T12:21:20.643" v="6813" actId="20577"/>
        <pc:sldMkLst>
          <pc:docMk/>
          <pc:sldMk cId="1317063265" sldId="320"/>
        </pc:sldMkLst>
        <pc:spChg chg="del mod ord">
          <ac:chgData name="Hans Gelissen (DHL SSC Maastricht)" userId="1afa8510-4eed-4b73-a29e-678838cd8acd" providerId="ADAL" clId="{B3B9A9FE-3004-43DC-97A3-BA416ED15667}" dt="2023-03-28T12:15:47.921" v="6732" actId="700"/>
          <ac:spMkLst>
            <pc:docMk/>
            <pc:sldMk cId="1317063265" sldId="320"/>
            <ac:spMk id="2" creationId="{861444EB-F7AC-4C40-8F0E-916778EE475D}"/>
          </ac:spMkLst>
        </pc:spChg>
        <pc:spChg chg="add del mod ord">
          <ac:chgData name="Hans Gelissen (DHL SSC Maastricht)" userId="1afa8510-4eed-4b73-a29e-678838cd8acd" providerId="ADAL" clId="{B3B9A9FE-3004-43DC-97A3-BA416ED15667}" dt="2023-03-28T12:20:10.338" v="6763" actId="20577"/>
          <ac:spMkLst>
            <pc:docMk/>
            <pc:sldMk cId="1317063265" sldId="320"/>
            <ac:spMk id="3" creationId="{B2897892-55D6-47B6-9D24-864AC7DDD6AE}"/>
          </ac:spMkLst>
        </pc:spChg>
        <pc:spChg chg="add del mod ord">
          <ac:chgData name="Hans Gelissen (DHL SSC Maastricht)" userId="1afa8510-4eed-4b73-a29e-678838cd8acd" providerId="ADAL" clId="{B3B9A9FE-3004-43DC-97A3-BA416ED15667}" dt="2023-03-28T12:16:02.024" v="6735" actId="700"/>
          <ac:spMkLst>
            <pc:docMk/>
            <pc:sldMk cId="1317063265" sldId="320"/>
            <ac:spMk id="4" creationId="{4AA0DB72-0A54-4DD2-8540-1CDE3E079B0F}"/>
          </ac:spMkLst>
        </pc:spChg>
        <pc:spChg chg="add del mod ord">
          <ac:chgData name="Hans Gelissen (DHL SSC Maastricht)" userId="1afa8510-4eed-4b73-a29e-678838cd8acd" providerId="ADAL" clId="{B3B9A9FE-3004-43DC-97A3-BA416ED15667}" dt="2023-03-28T12:16:02.024" v="6735" actId="700"/>
          <ac:spMkLst>
            <pc:docMk/>
            <pc:sldMk cId="1317063265" sldId="320"/>
            <ac:spMk id="5" creationId="{6898DC43-13DA-417F-82F5-C2D154D844E5}"/>
          </ac:spMkLst>
        </pc:spChg>
        <pc:spChg chg="add mod">
          <ac:chgData name="Hans Gelissen (DHL SSC Maastricht)" userId="1afa8510-4eed-4b73-a29e-678838cd8acd" providerId="ADAL" clId="{B3B9A9FE-3004-43DC-97A3-BA416ED15667}" dt="2023-03-28T12:20:53.037" v="6800" actId="14100"/>
          <ac:spMkLst>
            <pc:docMk/>
            <pc:sldMk cId="1317063265" sldId="320"/>
            <ac:spMk id="6" creationId="{9928B62C-2EAE-462E-BD7B-B60E65108561}"/>
          </ac:spMkLst>
        </pc:spChg>
        <pc:spChg chg="add mod">
          <ac:chgData name="Hans Gelissen (DHL SSC Maastricht)" userId="1afa8510-4eed-4b73-a29e-678838cd8acd" providerId="ADAL" clId="{B3B9A9FE-3004-43DC-97A3-BA416ED15667}" dt="2023-03-28T12:21:20.643" v="6813" actId="20577"/>
          <ac:spMkLst>
            <pc:docMk/>
            <pc:sldMk cId="1317063265" sldId="320"/>
            <ac:spMk id="7" creationId="{8443DC25-4CC4-48DC-9CBE-01CD0D2A046D}"/>
          </ac:spMkLst>
        </pc:spChg>
      </pc:sldChg>
      <pc:sldChg chg="delSp add mod modClrScheme chgLayout">
        <pc:chgData name="Hans Gelissen (DHL SSC Maastricht)" userId="1afa8510-4eed-4b73-a29e-678838cd8acd" providerId="ADAL" clId="{B3B9A9FE-3004-43DC-97A3-BA416ED15667}" dt="2023-03-28T12:14:38.120" v="6731" actId="700"/>
        <pc:sldMkLst>
          <pc:docMk/>
          <pc:sldMk cId="3933330038" sldId="321"/>
        </pc:sldMkLst>
        <pc:spChg chg="del">
          <ac:chgData name="Hans Gelissen (DHL SSC Maastricht)" userId="1afa8510-4eed-4b73-a29e-678838cd8acd" providerId="ADAL" clId="{B3B9A9FE-3004-43DC-97A3-BA416ED15667}" dt="2023-03-28T12:14:38.120" v="6731" actId="700"/>
          <ac:spMkLst>
            <pc:docMk/>
            <pc:sldMk cId="3933330038" sldId="321"/>
            <ac:spMk id="2" creationId="{861444EB-F7AC-4C40-8F0E-916778EE475D}"/>
          </ac:spMkLst>
        </pc:spChg>
      </pc:sldChg>
      <pc:sldChg chg="addSp modSp add mod modAnim">
        <pc:chgData name="Hans Gelissen (DHL SSC Maastricht)" userId="1afa8510-4eed-4b73-a29e-678838cd8acd" providerId="ADAL" clId="{B3B9A9FE-3004-43DC-97A3-BA416ED15667}" dt="2023-03-28T12:13:25.838" v="6720"/>
        <pc:sldMkLst>
          <pc:docMk/>
          <pc:sldMk cId="2432060605" sldId="322"/>
        </pc:sldMkLst>
        <pc:spChg chg="mod">
          <ac:chgData name="Hans Gelissen (DHL SSC Maastricht)" userId="1afa8510-4eed-4b73-a29e-678838cd8acd" providerId="ADAL" clId="{B3B9A9FE-3004-43DC-97A3-BA416ED15667}" dt="2023-03-28T12:12:55.246" v="6712" actId="20577"/>
          <ac:spMkLst>
            <pc:docMk/>
            <pc:sldMk cId="2432060605" sldId="322"/>
            <ac:spMk id="3" creationId="{D904E5AB-69A9-4FCA-A1C7-16546E126BF2}"/>
          </ac:spMkLst>
        </pc:spChg>
        <pc:spChg chg="add mod">
          <ac:chgData name="Hans Gelissen (DHL SSC Maastricht)" userId="1afa8510-4eed-4b73-a29e-678838cd8acd" providerId="ADAL" clId="{B3B9A9FE-3004-43DC-97A3-BA416ED15667}" dt="2023-03-28T12:13:25.838" v="6720"/>
          <ac:spMkLst>
            <pc:docMk/>
            <pc:sldMk cId="2432060605" sldId="322"/>
            <ac:spMk id="4" creationId="{8D982C9D-E553-4541-82C8-A7FCF32EEAE0}"/>
          </ac:spMkLst>
        </pc:spChg>
        <pc:spChg chg="mod">
          <ac:chgData name="Hans Gelissen (DHL SSC Maastricht)" userId="1afa8510-4eed-4b73-a29e-678838cd8acd" providerId="ADAL" clId="{B3B9A9FE-3004-43DC-97A3-BA416ED15667}" dt="2023-03-28T12:13:25.838" v="6720"/>
          <ac:spMkLst>
            <pc:docMk/>
            <pc:sldMk cId="2432060605" sldId="322"/>
            <ac:spMk id="7" creationId="{078E61A8-6705-4739-B08B-941DFB48D92B}"/>
          </ac:spMkLst>
        </pc:spChg>
        <pc:spChg chg="add mod">
          <ac:chgData name="Hans Gelissen (DHL SSC Maastricht)" userId="1afa8510-4eed-4b73-a29e-678838cd8acd" providerId="ADAL" clId="{B3B9A9FE-3004-43DC-97A3-BA416ED15667}" dt="2023-03-28T12:13:25.838" v="6720"/>
          <ac:spMkLst>
            <pc:docMk/>
            <pc:sldMk cId="2432060605" sldId="322"/>
            <ac:spMk id="8" creationId="{D2E302BF-7684-4CDC-A7D5-D19C1023B6E3}"/>
          </ac:spMkLst>
        </pc:spChg>
        <pc:spChg chg="add mod">
          <ac:chgData name="Hans Gelissen (DHL SSC Maastricht)" userId="1afa8510-4eed-4b73-a29e-678838cd8acd" providerId="ADAL" clId="{B3B9A9FE-3004-43DC-97A3-BA416ED15667}" dt="2023-03-28T12:13:25.838" v="6720"/>
          <ac:spMkLst>
            <pc:docMk/>
            <pc:sldMk cId="2432060605" sldId="322"/>
            <ac:spMk id="9" creationId="{8D5950BB-21CB-49DF-A2A9-539FD2E16344}"/>
          </ac:spMkLst>
        </pc:spChg>
        <pc:spChg chg="add mod">
          <ac:chgData name="Hans Gelissen (DHL SSC Maastricht)" userId="1afa8510-4eed-4b73-a29e-678838cd8acd" providerId="ADAL" clId="{B3B9A9FE-3004-43DC-97A3-BA416ED15667}" dt="2023-03-28T12:13:25.838" v="6720"/>
          <ac:spMkLst>
            <pc:docMk/>
            <pc:sldMk cId="2432060605" sldId="322"/>
            <ac:spMk id="10" creationId="{66B4AA57-9495-4C7E-8861-3B5AC1DCE75D}"/>
          </ac:spMkLst>
        </pc:spChg>
        <pc:spChg chg="add mod">
          <ac:chgData name="Hans Gelissen (DHL SSC Maastricht)" userId="1afa8510-4eed-4b73-a29e-678838cd8acd" providerId="ADAL" clId="{B3B9A9FE-3004-43DC-97A3-BA416ED15667}" dt="2023-03-28T12:13:25.838" v="6720"/>
          <ac:spMkLst>
            <pc:docMk/>
            <pc:sldMk cId="2432060605" sldId="322"/>
            <ac:spMk id="11" creationId="{FB34973D-C177-4C42-B002-5984D6231036}"/>
          </ac:spMkLst>
        </pc:spChg>
        <pc:spChg chg="add mod">
          <ac:chgData name="Hans Gelissen (DHL SSC Maastricht)" userId="1afa8510-4eed-4b73-a29e-678838cd8acd" providerId="ADAL" clId="{B3B9A9FE-3004-43DC-97A3-BA416ED15667}" dt="2023-03-28T12:13:25.838" v="6720"/>
          <ac:spMkLst>
            <pc:docMk/>
            <pc:sldMk cId="2432060605" sldId="322"/>
            <ac:spMk id="12" creationId="{025AF9E6-8AEB-4524-B7F8-1D9D1EBBE033}"/>
          </ac:spMkLst>
        </pc:spChg>
        <pc:spChg chg="add mod">
          <ac:chgData name="Hans Gelissen (DHL SSC Maastricht)" userId="1afa8510-4eed-4b73-a29e-678838cd8acd" providerId="ADAL" clId="{B3B9A9FE-3004-43DC-97A3-BA416ED15667}" dt="2023-03-28T12:13:25.838" v="6720"/>
          <ac:spMkLst>
            <pc:docMk/>
            <pc:sldMk cId="2432060605" sldId="322"/>
            <ac:spMk id="13" creationId="{58BEE43D-53E1-42BF-BD3B-29E0220569BF}"/>
          </ac:spMkLst>
        </pc:spChg>
        <pc:spChg chg="add mod">
          <ac:chgData name="Hans Gelissen (DHL SSC Maastricht)" userId="1afa8510-4eed-4b73-a29e-678838cd8acd" providerId="ADAL" clId="{B3B9A9FE-3004-43DC-97A3-BA416ED15667}" dt="2023-03-28T12:13:25.838" v="6720"/>
          <ac:spMkLst>
            <pc:docMk/>
            <pc:sldMk cId="2432060605" sldId="322"/>
            <ac:spMk id="14" creationId="{14FE137E-AC51-4457-8118-D3DE005686ED}"/>
          </ac:spMkLst>
        </pc:spChg>
        <pc:spChg chg="add mod">
          <ac:chgData name="Hans Gelissen (DHL SSC Maastricht)" userId="1afa8510-4eed-4b73-a29e-678838cd8acd" providerId="ADAL" clId="{B3B9A9FE-3004-43DC-97A3-BA416ED15667}" dt="2023-03-28T12:13:25.838" v="6720"/>
          <ac:spMkLst>
            <pc:docMk/>
            <pc:sldMk cId="2432060605" sldId="322"/>
            <ac:spMk id="15" creationId="{C134529E-D983-4181-98CF-32143EE2171F}"/>
          </ac:spMkLst>
        </pc:spChg>
        <pc:spChg chg="add mod">
          <ac:chgData name="Hans Gelissen (DHL SSC Maastricht)" userId="1afa8510-4eed-4b73-a29e-678838cd8acd" providerId="ADAL" clId="{B3B9A9FE-3004-43DC-97A3-BA416ED15667}" dt="2023-03-28T12:13:25.838" v="6720"/>
          <ac:spMkLst>
            <pc:docMk/>
            <pc:sldMk cId="2432060605" sldId="322"/>
            <ac:spMk id="16" creationId="{BDFBFD1E-7F7C-4925-8DBF-78F9D6383B7A}"/>
          </ac:spMkLst>
        </pc:spChg>
        <pc:spChg chg="add mod">
          <ac:chgData name="Hans Gelissen (DHL SSC Maastricht)" userId="1afa8510-4eed-4b73-a29e-678838cd8acd" providerId="ADAL" clId="{B3B9A9FE-3004-43DC-97A3-BA416ED15667}" dt="2023-03-28T12:13:25.838" v="6720"/>
          <ac:spMkLst>
            <pc:docMk/>
            <pc:sldMk cId="2432060605" sldId="322"/>
            <ac:spMk id="17" creationId="{B22C1241-09FC-440B-B5D9-B8B781CF4E18}"/>
          </ac:spMkLst>
        </pc:spChg>
        <pc:grpChg chg="add mod">
          <ac:chgData name="Hans Gelissen (DHL SSC Maastricht)" userId="1afa8510-4eed-4b73-a29e-678838cd8acd" providerId="ADAL" clId="{B3B9A9FE-3004-43DC-97A3-BA416ED15667}" dt="2023-03-28T12:13:25.838" v="6720"/>
          <ac:grpSpMkLst>
            <pc:docMk/>
            <pc:sldMk cId="2432060605" sldId="322"/>
            <ac:grpSpMk id="5" creationId="{A2DC612C-0D74-4EC8-8AB3-B33F4900FFB2}"/>
          </ac:grpSpMkLst>
        </pc:grpChg>
        <pc:picChg chg="mod">
          <ac:chgData name="Hans Gelissen (DHL SSC Maastricht)" userId="1afa8510-4eed-4b73-a29e-678838cd8acd" providerId="ADAL" clId="{B3B9A9FE-3004-43DC-97A3-BA416ED15667}" dt="2023-03-28T12:13:25.838" v="6720"/>
          <ac:picMkLst>
            <pc:docMk/>
            <pc:sldMk cId="2432060605" sldId="322"/>
            <ac:picMk id="6" creationId="{8E70C2E9-275A-4716-B9DE-9D45F3459392}"/>
          </ac:picMkLst>
        </pc:picChg>
      </pc:sldChg>
      <pc:sldChg chg="add del">
        <pc:chgData name="Hans Gelissen (DHL SSC Maastricht)" userId="1afa8510-4eed-4b73-a29e-678838cd8acd" providerId="ADAL" clId="{B3B9A9FE-3004-43DC-97A3-BA416ED15667}" dt="2023-03-28T12:21:49.636" v="6814" actId="47"/>
        <pc:sldMkLst>
          <pc:docMk/>
          <pc:sldMk cId="459777216" sldId="323"/>
        </pc:sldMkLst>
      </pc:sldChg>
      <pc:sldChg chg="add del">
        <pc:chgData name="Hans Gelissen (DHL SSC Maastricht)" userId="1afa8510-4eed-4b73-a29e-678838cd8acd" providerId="ADAL" clId="{B3B9A9FE-3004-43DC-97A3-BA416ED15667}" dt="2023-03-28T12:21:52.430" v="6815" actId="47"/>
        <pc:sldMkLst>
          <pc:docMk/>
          <pc:sldMk cId="385545699" sldId="324"/>
        </pc:sldMkLst>
      </pc:sldChg>
      <pc:sldChg chg="addSp delSp modSp add mod modClrScheme modCm chgLayout">
        <pc:chgData name="Hans Gelissen (DHL SSC Maastricht)" userId="1afa8510-4eed-4b73-a29e-678838cd8acd" providerId="ADAL" clId="{B3B9A9FE-3004-43DC-97A3-BA416ED15667}" dt="2023-03-29T07:30:22.782" v="7183"/>
        <pc:sldMkLst>
          <pc:docMk/>
          <pc:sldMk cId="4246254376" sldId="325"/>
        </pc:sldMkLst>
        <pc:spChg chg="del mod ord">
          <ac:chgData name="Hans Gelissen (DHL SSC Maastricht)" userId="1afa8510-4eed-4b73-a29e-678838cd8acd" providerId="ADAL" clId="{B3B9A9FE-3004-43DC-97A3-BA416ED15667}" dt="2023-03-28T12:22:01.998" v="6816" actId="700"/>
          <ac:spMkLst>
            <pc:docMk/>
            <pc:sldMk cId="4246254376" sldId="325"/>
            <ac:spMk id="2" creationId="{861444EB-F7AC-4C40-8F0E-916778EE475D}"/>
          </ac:spMkLst>
        </pc:spChg>
        <pc:spChg chg="add mod ord">
          <ac:chgData name="Hans Gelissen (DHL SSC Maastricht)" userId="1afa8510-4eed-4b73-a29e-678838cd8acd" providerId="ADAL" clId="{B3B9A9FE-3004-43DC-97A3-BA416ED15667}" dt="2023-03-28T12:24:50.839" v="6847" actId="20577"/>
          <ac:spMkLst>
            <pc:docMk/>
            <pc:sldMk cId="4246254376" sldId="325"/>
            <ac:spMk id="3" creationId="{C9C1262F-7F22-4AD0-B62F-98EE33FA16E6}"/>
          </ac:spMkLst>
        </pc:spChg>
      </pc:sldChg>
      <pc:sldChg chg="addSp modSp add mod modAnim">
        <pc:chgData name="Hans Gelissen (DHL SSC Maastricht)" userId="1afa8510-4eed-4b73-a29e-678838cd8acd" providerId="ADAL" clId="{B3B9A9FE-3004-43DC-97A3-BA416ED15667}" dt="2023-03-28T12:13:26.870" v="6721"/>
        <pc:sldMkLst>
          <pc:docMk/>
          <pc:sldMk cId="2522071073" sldId="326"/>
        </pc:sldMkLst>
        <pc:spChg chg="mod">
          <ac:chgData name="Hans Gelissen (DHL SSC Maastricht)" userId="1afa8510-4eed-4b73-a29e-678838cd8acd" providerId="ADAL" clId="{B3B9A9FE-3004-43DC-97A3-BA416ED15667}" dt="2023-03-28T12:12:58.869" v="6714" actId="20577"/>
          <ac:spMkLst>
            <pc:docMk/>
            <pc:sldMk cId="2522071073" sldId="326"/>
            <ac:spMk id="3" creationId="{D904E5AB-69A9-4FCA-A1C7-16546E126BF2}"/>
          </ac:spMkLst>
        </pc:spChg>
        <pc:spChg chg="add mod">
          <ac:chgData name="Hans Gelissen (DHL SSC Maastricht)" userId="1afa8510-4eed-4b73-a29e-678838cd8acd" providerId="ADAL" clId="{B3B9A9FE-3004-43DC-97A3-BA416ED15667}" dt="2023-03-28T12:13:26.870" v="6721"/>
          <ac:spMkLst>
            <pc:docMk/>
            <pc:sldMk cId="2522071073" sldId="326"/>
            <ac:spMk id="4" creationId="{9B178829-162C-4202-A4EE-8F3F78044F24}"/>
          </ac:spMkLst>
        </pc:spChg>
        <pc:spChg chg="mod">
          <ac:chgData name="Hans Gelissen (DHL SSC Maastricht)" userId="1afa8510-4eed-4b73-a29e-678838cd8acd" providerId="ADAL" clId="{B3B9A9FE-3004-43DC-97A3-BA416ED15667}" dt="2023-03-28T12:13:26.870" v="6721"/>
          <ac:spMkLst>
            <pc:docMk/>
            <pc:sldMk cId="2522071073" sldId="326"/>
            <ac:spMk id="7" creationId="{A82935FE-E5D3-4FBD-A4E6-25B7ACADF8C4}"/>
          </ac:spMkLst>
        </pc:spChg>
        <pc:spChg chg="add mod">
          <ac:chgData name="Hans Gelissen (DHL SSC Maastricht)" userId="1afa8510-4eed-4b73-a29e-678838cd8acd" providerId="ADAL" clId="{B3B9A9FE-3004-43DC-97A3-BA416ED15667}" dt="2023-03-28T12:13:26.870" v="6721"/>
          <ac:spMkLst>
            <pc:docMk/>
            <pc:sldMk cId="2522071073" sldId="326"/>
            <ac:spMk id="8" creationId="{FE63AF04-E822-46F6-8A39-39EA6DA01048}"/>
          </ac:spMkLst>
        </pc:spChg>
        <pc:spChg chg="add mod">
          <ac:chgData name="Hans Gelissen (DHL SSC Maastricht)" userId="1afa8510-4eed-4b73-a29e-678838cd8acd" providerId="ADAL" clId="{B3B9A9FE-3004-43DC-97A3-BA416ED15667}" dt="2023-03-28T12:13:26.870" v="6721"/>
          <ac:spMkLst>
            <pc:docMk/>
            <pc:sldMk cId="2522071073" sldId="326"/>
            <ac:spMk id="9" creationId="{3AA05994-03D9-470C-BD7F-4EC2FD791F88}"/>
          </ac:spMkLst>
        </pc:spChg>
        <pc:spChg chg="add mod">
          <ac:chgData name="Hans Gelissen (DHL SSC Maastricht)" userId="1afa8510-4eed-4b73-a29e-678838cd8acd" providerId="ADAL" clId="{B3B9A9FE-3004-43DC-97A3-BA416ED15667}" dt="2023-03-28T12:13:26.870" v="6721"/>
          <ac:spMkLst>
            <pc:docMk/>
            <pc:sldMk cId="2522071073" sldId="326"/>
            <ac:spMk id="10" creationId="{BB8AF55D-5DBB-492B-8C7D-F44549F0E23C}"/>
          </ac:spMkLst>
        </pc:spChg>
        <pc:spChg chg="add mod">
          <ac:chgData name="Hans Gelissen (DHL SSC Maastricht)" userId="1afa8510-4eed-4b73-a29e-678838cd8acd" providerId="ADAL" clId="{B3B9A9FE-3004-43DC-97A3-BA416ED15667}" dt="2023-03-28T12:13:26.870" v="6721"/>
          <ac:spMkLst>
            <pc:docMk/>
            <pc:sldMk cId="2522071073" sldId="326"/>
            <ac:spMk id="11" creationId="{BF54EA56-307F-4F81-83A2-239808D01350}"/>
          </ac:spMkLst>
        </pc:spChg>
        <pc:spChg chg="add mod">
          <ac:chgData name="Hans Gelissen (DHL SSC Maastricht)" userId="1afa8510-4eed-4b73-a29e-678838cd8acd" providerId="ADAL" clId="{B3B9A9FE-3004-43DC-97A3-BA416ED15667}" dt="2023-03-28T12:13:26.870" v="6721"/>
          <ac:spMkLst>
            <pc:docMk/>
            <pc:sldMk cId="2522071073" sldId="326"/>
            <ac:spMk id="12" creationId="{2AD3C9DE-C474-47B7-9535-3404BD3EC0DF}"/>
          </ac:spMkLst>
        </pc:spChg>
        <pc:spChg chg="add mod">
          <ac:chgData name="Hans Gelissen (DHL SSC Maastricht)" userId="1afa8510-4eed-4b73-a29e-678838cd8acd" providerId="ADAL" clId="{B3B9A9FE-3004-43DC-97A3-BA416ED15667}" dt="2023-03-28T12:13:26.870" v="6721"/>
          <ac:spMkLst>
            <pc:docMk/>
            <pc:sldMk cId="2522071073" sldId="326"/>
            <ac:spMk id="13" creationId="{28A2E8C7-3AEE-4945-AE01-CEF8CC0B25E8}"/>
          </ac:spMkLst>
        </pc:spChg>
        <pc:spChg chg="add mod">
          <ac:chgData name="Hans Gelissen (DHL SSC Maastricht)" userId="1afa8510-4eed-4b73-a29e-678838cd8acd" providerId="ADAL" clId="{B3B9A9FE-3004-43DC-97A3-BA416ED15667}" dt="2023-03-28T12:13:26.870" v="6721"/>
          <ac:spMkLst>
            <pc:docMk/>
            <pc:sldMk cId="2522071073" sldId="326"/>
            <ac:spMk id="14" creationId="{96B33E72-83EF-422C-95B9-155D8A054FB2}"/>
          </ac:spMkLst>
        </pc:spChg>
        <pc:spChg chg="add mod">
          <ac:chgData name="Hans Gelissen (DHL SSC Maastricht)" userId="1afa8510-4eed-4b73-a29e-678838cd8acd" providerId="ADAL" clId="{B3B9A9FE-3004-43DC-97A3-BA416ED15667}" dt="2023-03-28T12:13:26.870" v="6721"/>
          <ac:spMkLst>
            <pc:docMk/>
            <pc:sldMk cId="2522071073" sldId="326"/>
            <ac:spMk id="15" creationId="{7468CC77-1AB6-47D9-AFEC-ECBEE5B612AA}"/>
          </ac:spMkLst>
        </pc:spChg>
        <pc:spChg chg="add mod">
          <ac:chgData name="Hans Gelissen (DHL SSC Maastricht)" userId="1afa8510-4eed-4b73-a29e-678838cd8acd" providerId="ADAL" clId="{B3B9A9FE-3004-43DC-97A3-BA416ED15667}" dt="2023-03-28T12:13:26.870" v="6721"/>
          <ac:spMkLst>
            <pc:docMk/>
            <pc:sldMk cId="2522071073" sldId="326"/>
            <ac:spMk id="16" creationId="{63C7BE91-6DD6-4D8F-9252-1503EB899423}"/>
          </ac:spMkLst>
        </pc:spChg>
        <pc:spChg chg="add mod">
          <ac:chgData name="Hans Gelissen (DHL SSC Maastricht)" userId="1afa8510-4eed-4b73-a29e-678838cd8acd" providerId="ADAL" clId="{B3B9A9FE-3004-43DC-97A3-BA416ED15667}" dt="2023-03-28T12:13:26.870" v="6721"/>
          <ac:spMkLst>
            <pc:docMk/>
            <pc:sldMk cId="2522071073" sldId="326"/>
            <ac:spMk id="17" creationId="{FC70B9E3-C7CC-4941-9E80-047162758C33}"/>
          </ac:spMkLst>
        </pc:spChg>
        <pc:grpChg chg="add mod">
          <ac:chgData name="Hans Gelissen (DHL SSC Maastricht)" userId="1afa8510-4eed-4b73-a29e-678838cd8acd" providerId="ADAL" clId="{B3B9A9FE-3004-43DC-97A3-BA416ED15667}" dt="2023-03-28T12:13:26.870" v="6721"/>
          <ac:grpSpMkLst>
            <pc:docMk/>
            <pc:sldMk cId="2522071073" sldId="326"/>
            <ac:grpSpMk id="5" creationId="{F2B7BF96-E13F-47FF-BD23-028958261BC9}"/>
          </ac:grpSpMkLst>
        </pc:grpChg>
        <pc:picChg chg="mod">
          <ac:chgData name="Hans Gelissen (DHL SSC Maastricht)" userId="1afa8510-4eed-4b73-a29e-678838cd8acd" providerId="ADAL" clId="{B3B9A9FE-3004-43DC-97A3-BA416ED15667}" dt="2023-03-28T12:13:26.870" v="6721"/>
          <ac:picMkLst>
            <pc:docMk/>
            <pc:sldMk cId="2522071073" sldId="326"/>
            <ac:picMk id="6" creationId="{06F65C60-7960-4A4F-BF43-EEBC0E263DB1}"/>
          </ac:picMkLst>
        </pc:picChg>
      </pc:sldChg>
      <pc:sldChg chg="addSp modSp add mod modAnim">
        <pc:chgData name="Hans Gelissen (DHL SSC Maastricht)" userId="1afa8510-4eed-4b73-a29e-678838cd8acd" providerId="ADAL" clId="{B3B9A9FE-3004-43DC-97A3-BA416ED15667}" dt="2023-03-28T12:13:27.860" v="6722"/>
        <pc:sldMkLst>
          <pc:docMk/>
          <pc:sldMk cId="2062961482" sldId="327"/>
        </pc:sldMkLst>
        <pc:spChg chg="mod">
          <ac:chgData name="Hans Gelissen (DHL SSC Maastricht)" userId="1afa8510-4eed-4b73-a29e-678838cd8acd" providerId="ADAL" clId="{B3B9A9FE-3004-43DC-97A3-BA416ED15667}" dt="2023-03-28T12:13:02.693" v="6716" actId="20577"/>
          <ac:spMkLst>
            <pc:docMk/>
            <pc:sldMk cId="2062961482" sldId="327"/>
            <ac:spMk id="3" creationId="{D904E5AB-69A9-4FCA-A1C7-16546E126BF2}"/>
          </ac:spMkLst>
        </pc:spChg>
        <pc:spChg chg="add mod">
          <ac:chgData name="Hans Gelissen (DHL SSC Maastricht)" userId="1afa8510-4eed-4b73-a29e-678838cd8acd" providerId="ADAL" clId="{B3B9A9FE-3004-43DC-97A3-BA416ED15667}" dt="2023-03-28T12:13:27.860" v="6722"/>
          <ac:spMkLst>
            <pc:docMk/>
            <pc:sldMk cId="2062961482" sldId="327"/>
            <ac:spMk id="4" creationId="{1610E612-7315-441A-B134-6A765C1FBAA8}"/>
          </ac:spMkLst>
        </pc:spChg>
        <pc:spChg chg="mod">
          <ac:chgData name="Hans Gelissen (DHL SSC Maastricht)" userId="1afa8510-4eed-4b73-a29e-678838cd8acd" providerId="ADAL" clId="{B3B9A9FE-3004-43DC-97A3-BA416ED15667}" dt="2023-03-28T12:13:27.860" v="6722"/>
          <ac:spMkLst>
            <pc:docMk/>
            <pc:sldMk cId="2062961482" sldId="327"/>
            <ac:spMk id="7" creationId="{3D4C023F-807C-47EE-A5B3-95041EA20481}"/>
          </ac:spMkLst>
        </pc:spChg>
        <pc:spChg chg="add mod">
          <ac:chgData name="Hans Gelissen (DHL SSC Maastricht)" userId="1afa8510-4eed-4b73-a29e-678838cd8acd" providerId="ADAL" clId="{B3B9A9FE-3004-43DC-97A3-BA416ED15667}" dt="2023-03-28T12:13:27.860" v="6722"/>
          <ac:spMkLst>
            <pc:docMk/>
            <pc:sldMk cId="2062961482" sldId="327"/>
            <ac:spMk id="8" creationId="{926FF398-76FC-4E59-935F-0310D1150725}"/>
          </ac:spMkLst>
        </pc:spChg>
        <pc:spChg chg="add mod">
          <ac:chgData name="Hans Gelissen (DHL SSC Maastricht)" userId="1afa8510-4eed-4b73-a29e-678838cd8acd" providerId="ADAL" clId="{B3B9A9FE-3004-43DC-97A3-BA416ED15667}" dt="2023-03-28T12:13:27.860" v="6722"/>
          <ac:spMkLst>
            <pc:docMk/>
            <pc:sldMk cId="2062961482" sldId="327"/>
            <ac:spMk id="9" creationId="{2EBA4C9B-E377-4F5B-9B77-DE9A59A7B2D9}"/>
          </ac:spMkLst>
        </pc:spChg>
        <pc:spChg chg="add mod">
          <ac:chgData name="Hans Gelissen (DHL SSC Maastricht)" userId="1afa8510-4eed-4b73-a29e-678838cd8acd" providerId="ADAL" clId="{B3B9A9FE-3004-43DC-97A3-BA416ED15667}" dt="2023-03-28T12:13:27.860" v="6722"/>
          <ac:spMkLst>
            <pc:docMk/>
            <pc:sldMk cId="2062961482" sldId="327"/>
            <ac:spMk id="10" creationId="{8298D0C0-B2A1-4710-A32D-C3BD0E61D521}"/>
          </ac:spMkLst>
        </pc:spChg>
        <pc:spChg chg="add mod">
          <ac:chgData name="Hans Gelissen (DHL SSC Maastricht)" userId="1afa8510-4eed-4b73-a29e-678838cd8acd" providerId="ADAL" clId="{B3B9A9FE-3004-43DC-97A3-BA416ED15667}" dt="2023-03-28T12:13:27.860" v="6722"/>
          <ac:spMkLst>
            <pc:docMk/>
            <pc:sldMk cId="2062961482" sldId="327"/>
            <ac:spMk id="11" creationId="{D301BF46-A630-4BFB-91DC-137B0F5F3BE6}"/>
          </ac:spMkLst>
        </pc:spChg>
        <pc:spChg chg="add mod">
          <ac:chgData name="Hans Gelissen (DHL SSC Maastricht)" userId="1afa8510-4eed-4b73-a29e-678838cd8acd" providerId="ADAL" clId="{B3B9A9FE-3004-43DC-97A3-BA416ED15667}" dt="2023-03-28T12:13:27.860" v="6722"/>
          <ac:spMkLst>
            <pc:docMk/>
            <pc:sldMk cId="2062961482" sldId="327"/>
            <ac:spMk id="12" creationId="{D255A5D5-5B41-4F09-B01D-53D58DE055A7}"/>
          </ac:spMkLst>
        </pc:spChg>
        <pc:spChg chg="add mod">
          <ac:chgData name="Hans Gelissen (DHL SSC Maastricht)" userId="1afa8510-4eed-4b73-a29e-678838cd8acd" providerId="ADAL" clId="{B3B9A9FE-3004-43DC-97A3-BA416ED15667}" dt="2023-03-28T12:13:27.860" v="6722"/>
          <ac:spMkLst>
            <pc:docMk/>
            <pc:sldMk cId="2062961482" sldId="327"/>
            <ac:spMk id="13" creationId="{1BF41E8F-F849-4E85-9836-85C1DDCB6755}"/>
          </ac:spMkLst>
        </pc:spChg>
        <pc:spChg chg="add mod">
          <ac:chgData name="Hans Gelissen (DHL SSC Maastricht)" userId="1afa8510-4eed-4b73-a29e-678838cd8acd" providerId="ADAL" clId="{B3B9A9FE-3004-43DC-97A3-BA416ED15667}" dt="2023-03-28T12:13:27.860" v="6722"/>
          <ac:spMkLst>
            <pc:docMk/>
            <pc:sldMk cId="2062961482" sldId="327"/>
            <ac:spMk id="14" creationId="{411199DE-1FCA-491D-A9F0-28188EC75599}"/>
          </ac:spMkLst>
        </pc:spChg>
        <pc:spChg chg="add mod">
          <ac:chgData name="Hans Gelissen (DHL SSC Maastricht)" userId="1afa8510-4eed-4b73-a29e-678838cd8acd" providerId="ADAL" clId="{B3B9A9FE-3004-43DC-97A3-BA416ED15667}" dt="2023-03-28T12:13:27.860" v="6722"/>
          <ac:spMkLst>
            <pc:docMk/>
            <pc:sldMk cId="2062961482" sldId="327"/>
            <ac:spMk id="15" creationId="{3158268E-9E97-4345-98B7-8D1B68F1DBF5}"/>
          </ac:spMkLst>
        </pc:spChg>
        <pc:spChg chg="add mod">
          <ac:chgData name="Hans Gelissen (DHL SSC Maastricht)" userId="1afa8510-4eed-4b73-a29e-678838cd8acd" providerId="ADAL" clId="{B3B9A9FE-3004-43DC-97A3-BA416ED15667}" dt="2023-03-28T12:13:27.860" v="6722"/>
          <ac:spMkLst>
            <pc:docMk/>
            <pc:sldMk cId="2062961482" sldId="327"/>
            <ac:spMk id="16" creationId="{22BC4F26-8A10-4A62-8322-E8D6C783031B}"/>
          </ac:spMkLst>
        </pc:spChg>
        <pc:spChg chg="add mod">
          <ac:chgData name="Hans Gelissen (DHL SSC Maastricht)" userId="1afa8510-4eed-4b73-a29e-678838cd8acd" providerId="ADAL" clId="{B3B9A9FE-3004-43DC-97A3-BA416ED15667}" dt="2023-03-28T12:13:27.860" v="6722"/>
          <ac:spMkLst>
            <pc:docMk/>
            <pc:sldMk cId="2062961482" sldId="327"/>
            <ac:spMk id="17" creationId="{E452ECBF-3E03-4476-8EF8-514CE634193C}"/>
          </ac:spMkLst>
        </pc:spChg>
        <pc:grpChg chg="add mod">
          <ac:chgData name="Hans Gelissen (DHL SSC Maastricht)" userId="1afa8510-4eed-4b73-a29e-678838cd8acd" providerId="ADAL" clId="{B3B9A9FE-3004-43DC-97A3-BA416ED15667}" dt="2023-03-28T12:13:27.860" v="6722"/>
          <ac:grpSpMkLst>
            <pc:docMk/>
            <pc:sldMk cId="2062961482" sldId="327"/>
            <ac:grpSpMk id="5" creationId="{93C21805-0656-43EE-B48C-B2E1446F42C0}"/>
          </ac:grpSpMkLst>
        </pc:grpChg>
        <pc:picChg chg="mod">
          <ac:chgData name="Hans Gelissen (DHL SSC Maastricht)" userId="1afa8510-4eed-4b73-a29e-678838cd8acd" providerId="ADAL" clId="{B3B9A9FE-3004-43DC-97A3-BA416ED15667}" dt="2023-03-28T12:13:27.860" v="6722"/>
          <ac:picMkLst>
            <pc:docMk/>
            <pc:sldMk cId="2062961482" sldId="327"/>
            <ac:picMk id="6" creationId="{D8D6F123-1E08-4778-B96A-5A92C7BFEA72}"/>
          </ac:picMkLst>
        </pc:picChg>
      </pc:sldChg>
      <pc:sldChg chg="addSp modSp add mod modAnim">
        <pc:chgData name="Hans Gelissen (DHL SSC Maastricht)" userId="1afa8510-4eed-4b73-a29e-678838cd8acd" providerId="ADAL" clId="{B3B9A9FE-3004-43DC-97A3-BA416ED15667}" dt="2023-03-28T12:13:28.690" v="6723"/>
        <pc:sldMkLst>
          <pc:docMk/>
          <pc:sldMk cId="57680118" sldId="328"/>
        </pc:sldMkLst>
        <pc:spChg chg="mod">
          <ac:chgData name="Hans Gelissen (DHL SSC Maastricht)" userId="1afa8510-4eed-4b73-a29e-678838cd8acd" providerId="ADAL" clId="{B3B9A9FE-3004-43DC-97A3-BA416ED15667}" dt="2023-03-28T12:13:06.010" v="6718" actId="20577"/>
          <ac:spMkLst>
            <pc:docMk/>
            <pc:sldMk cId="57680118" sldId="328"/>
            <ac:spMk id="3" creationId="{D904E5AB-69A9-4FCA-A1C7-16546E126BF2}"/>
          </ac:spMkLst>
        </pc:spChg>
        <pc:spChg chg="add mod">
          <ac:chgData name="Hans Gelissen (DHL SSC Maastricht)" userId="1afa8510-4eed-4b73-a29e-678838cd8acd" providerId="ADAL" clId="{B3B9A9FE-3004-43DC-97A3-BA416ED15667}" dt="2023-03-28T12:13:28.690" v="6723"/>
          <ac:spMkLst>
            <pc:docMk/>
            <pc:sldMk cId="57680118" sldId="328"/>
            <ac:spMk id="4" creationId="{CC5F0068-2F27-4DE9-AC23-AA3A28336012}"/>
          </ac:spMkLst>
        </pc:spChg>
        <pc:spChg chg="mod">
          <ac:chgData name="Hans Gelissen (DHL SSC Maastricht)" userId="1afa8510-4eed-4b73-a29e-678838cd8acd" providerId="ADAL" clId="{B3B9A9FE-3004-43DC-97A3-BA416ED15667}" dt="2023-03-28T12:13:28.690" v="6723"/>
          <ac:spMkLst>
            <pc:docMk/>
            <pc:sldMk cId="57680118" sldId="328"/>
            <ac:spMk id="7" creationId="{327F186D-7F3B-40AF-8059-443A5875E4D8}"/>
          </ac:spMkLst>
        </pc:spChg>
        <pc:spChg chg="add mod">
          <ac:chgData name="Hans Gelissen (DHL SSC Maastricht)" userId="1afa8510-4eed-4b73-a29e-678838cd8acd" providerId="ADAL" clId="{B3B9A9FE-3004-43DC-97A3-BA416ED15667}" dt="2023-03-28T12:13:28.690" v="6723"/>
          <ac:spMkLst>
            <pc:docMk/>
            <pc:sldMk cId="57680118" sldId="328"/>
            <ac:spMk id="8" creationId="{3487D737-87BD-44BE-AAF8-5CE1218AFFA4}"/>
          </ac:spMkLst>
        </pc:spChg>
        <pc:spChg chg="add mod">
          <ac:chgData name="Hans Gelissen (DHL SSC Maastricht)" userId="1afa8510-4eed-4b73-a29e-678838cd8acd" providerId="ADAL" clId="{B3B9A9FE-3004-43DC-97A3-BA416ED15667}" dt="2023-03-28T12:13:28.690" v="6723"/>
          <ac:spMkLst>
            <pc:docMk/>
            <pc:sldMk cId="57680118" sldId="328"/>
            <ac:spMk id="9" creationId="{7128C7B8-DF54-412F-9451-0B8F9D6FE189}"/>
          </ac:spMkLst>
        </pc:spChg>
        <pc:spChg chg="add mod">
          <ac:chgData name="Hans Gelissen (DHL SSC Maastricht)" userId="1afa8510-4eed-4b73-a29e-678838cd8acd" providerId="ADAL" clId="{B3B9A9FE-3004-43DC-97A3-BA416ED15667}" dt="2023-03-28T12:13:28.690" v="6723"/>
          <ac:spMkLst>
            <pc:docMk/>
            <pc:sldMk cId="57680118" sldId="328"/>
            <ac:spMk id="10" creationId="{8BBA4144-B6F2-413E-B645-40F2F25E653F}"/>
          </ac:spMkLst>
        </pc:spChg>
        <pc:spChg chg="add mod">
          <ac:chgData name="Hans Gelissen (DHL SSC Maastricht)" userId="1afa8510-4eed-4b73-a29e-678838cd8acd" providerId="ADAL" clId="{B3B9A9FE-3004-43DC-97A3-BA416ED15667}" dt="2023-03-28T12:13:28.690" v="6723"/>
          <ac:spMkLst>
            <pc:docMk/>
            <pc:sldMk cId="57680118" sldId="328"/>
            <ac:spMk id="11" creationId="{007121F6-C7C9-465F-AF81-51FB40B8F7B2}"/>
          </ac:spMkLst>
        </pc:spChg>
        <pc:spChg chg="add mod">
          <ac:chgData name="Hans Gelissen (DHL SSC Maastricht)" userId="1afa8510-4eed-4b73-a29e-678838cd8acd" providerId="ADAL" clId="{B3B9A9FE-3004-43DC-97A3-BA416ED15667}" dt="2023-03-28T12:13:28.690" v="6723"/>
          <ac:spMkLst>
            <pc:docMk/>
            <pc:sldMk cId="57680118" sldId="328"/>
            <ac:spMk id="12" creationId="{583951CE-3974-413D-9939-0F1E29341CD8}"/>
          </ac:spMkLst>
        </pc:spChg>
        <pc:spChg chg="add mod">
          <ac:chgData name="Hans Gelissen (DHL SSC Maastricht)" userId="1afa8510-4eed-4b73-a29e-678838cd8acd" providerId="ADAL" clId="{B3B9A9FE-3004-43DC-97A3-BA416ED15667}" dt="2023-03-28T12:13:28.690" v="6723"/>
          <ac:spMkLst>
            <pc:docMk/>
            <pc:sldMk cId="57680118" sldId="328"/>
            <ac:spMk id="13" creationId="{65B28667-6D33-47DE-85FA-1D79F2EDEB1E}"/>
          </ac:spMkLst>
        </pc:spChg>
        <pc:spChg chg="add mod">
          <ac:chgData name="Hans Gelissen (DHL SSC Maastricht)" userId="1afa8510-4eed-4b73-a29e-678838cd8acd" providerId="ADAL" clId="{B3B9A9FE-3004-43DC-97A3-BA416ED15667}" dt="2023-03-28T12:13:28.690" v="6723"/>
          <ac:spMkLst>
            <pc:docMk/>
            <pc:sldMk cId="57680118" sldId="328"/>
            <ac:spMk id="14" creationId="{AC865924-64C8-4C5A-8B83-90B3EE39A26C}"/>
          </ac:spMkLst>
        </pc:spChg>
        <pc:spChg chg="add mod">
          <ac:chgData name="Hans Gelissen (DHL SSC Maastricht)" userId="1afa8510-4eed-4b73-a29e-678838cd8acd" providerId="ADAL" clId="{B3B9A9FE-3004-43DC-97A3-BA416ED15667}" dt="2023-03-28T12:13:28.690" v="6723"/>
          <ac:spMkLst>
            <pc:docMk/>
            <pc:sldMk cId="57680118" sldId="328"/>
            <ac:spMk id="15" creationId="{0017E8E3-E5B8-4CEA-8CFE-FF48A07FB23C}"/>
          </ac:spMkLst>
        </pc:spChg>
        <pc:spChg chg="add mod">
          <ac:chgData name="Hans Gelissen (DHL SSC Maastricht)" userId="1afa8510-4eed-4b73-a29e-678838cd8acd" providerId="ADAL" clId="{B3B9A9FE-3004-43DC-97A3-BA416ED15667}" dt="2023-03-28T12:13:28.690" v="6723"/>
          <ac:spMkLst>
            <pc:docMk/>
            <pc:sldMk cId="57680118" sldId="328"/>
            <ac:spMk id="16" creationId="{237DA2B9-BD29-4D86-B794-E2E237120132}"/>
          </ac:spMkLst>
        </pc:spChg>
        <pc:spChg chg="add mod">
          <ac:chgData name="Hans Gelissen (DHL SSC Maastricht)" userId="1afa8510-4eed-4b73-a29e-678838cd8acd" providerId="ADAL" clId="{B3B9A9FE-3004-43DC-97A3-BA416ED15667}" dt="2023-03-28T12:13:28.690" v="6723"/>
          <ac:spMkLst>
            <pc:docMk/>
            <pc:sldMk cId="57680118" sldId="328"/>
            <ac:spMk id="17" creationId="{6D9115E7-61FA-4DEA-9055-8862A0465A0F}"/>
          </ac:spMkLst>
        </pc:spChg>
        <pc:grpChg chg="add mod">
          <ac:chgData name="Hans Gelissen (DHL SSC Maastricht)" userId="1afa8510-4eed-4b73-a29e-678838cd8acd" providerId="ADAL" clId="{B3B9A9FE-3004-43DC-97A3-BA416ED15667}" dt="2023-03-28T12:13:28.690" v="6723"/>
          <ac:grpSpMkLst>
            <pc:docMk/>
            <pc:sldMk cId="57680118" sldId="328"/>
            <ac:grpSpMk id="5" creationId="{A1035E0E-23BF-4005-B08B-75D0378D04AF}"/>
          </ac:grpSpMkLst>
        </pc:grpChg>
        <pc:picChg chg="mod">
          <ac:chgData name="Hans Gelissen (DHL SSC Maastricht)" userId="1afa8510-4eed-4b73-a29e-678838cd8acd" providerId="ADAL" clId="{B3B9A9FE-3004-43DC-97A3-BA416ED15667}" dt="2023-03-28T12:13:28.690" v="6723"/>
          <ac:picMkLst>
            <pc:docMk/>
            <pc:sldMk cId="57680118" sldId="328"/>
            <ac:picMk id="6" creationId="{344EC8AA-F590-435A-AA89-78F1E53BC4D7}"/>
          </ac:picMkLst>
        </pc:picChg>
      </pc:sldChg>
      <pc:sldMasterChg chg="modSldLayout">
        <pc:chgData name="Hans Gelissen (DHL SSC Maastricht)" userId="1afa8510-4eed-4b73-a29e-678838cd8acd" providerId="ADAL" clId="{B3B9A9FE-3004-43DC-97A3-BA416ED15667}" dt="2023-03-28T11:34:42.789" v="6201" actId="1076"/>
        <pc:sldMasterMkLst>
          <pc:docMk/>
          <pc:sldMasterMk cId="31158695" sldId="2147483765"/>
        </pc:sldMasterMkLst>
        <pc:sldLayoutChg chg="addSp delSp modSp mod">
          <pc:chgData name="Hans Gelissen (DHL SSC Maastricht)" userId="1afa8510-4eed-4b73-a29e-678838cd8acd" providerId="ADAL" clId="{B3B9A9FE-3004-43DC-97A3-BA416ED15667}" dt="2023-03-27T14:45:25.411" v="4735"/>
          <pc:sldLayoutMkLst>
            <pc:docMk/>
            <pc:sldMasterMk cId="31158695" sldId="2147483765"/>
            <pc:sldLayoutMk cId="3456633064" sldId="2147483740"/>
          </pc:sldLayoutMkLst>
          <pc:picChg chg="del">
            <ac:chgData name="Hans Gelissen (DHL SSC Maastricht)" userId="1afa8510-4eed-4b73-a29e-678838cd8acd" providerId="ADAL" clId="{B3B9A9FE-3004-43DC-97A3-BA416ED15667}" dt="2023-03-27T14:45:25.098" v="4734" actId="478"/>
            <ac:picMkLst>
              <pc:docMk/>
              <pc:sldMasterMk cId="31158695" sldId="2147483765"/>
              <pc:sldLayoutMk cId="3456633064" sldId="2147483740"/>
              <ac:picMk id="13" creationId="{2B1BD734-7379-4346-88DF-5BB68C76BF87}"/>
            </ac:picMkLst>
          </pc:picChg>
          <pc:picChg chg="add mod">
            <ac:chgData name="Hans Gelissen (DHL SSC Maastricht)" userId="1afa8510-4eed-4b73-a29e-678838cd8acd" providerId="ADAL" clId="{B3B9A9FE-3004-43DC-97A3-BA416ED15667}" dt="2023-03-27T14:45:25.411" v="4735"/>
            <ac:picMkLst>
              <pc:docMk/>
              <pc:sldMasterMk cId="31158695" sldId="2147483765"/>
              <pc:sldLayoutMk cId="3456633064" sldId="2147483740"/>
              <ac:picMk id="14" creationId="{D60703F2-1E52-4173-B4A7-4503D6E81756}"/>
            </ac:picMkLst>
          </pc:picChg>
        </pc:sldLayoutChg>
        <pc:sldLayoutChg chg="modSp mod">
          <pc:chgData name="Hans Gelissen (DHL SSC Maastricht)" userId="1afa8510-4eed-4b73-a29e-678838cd8acd" providerId="ADAL" clId="{B3B9A9FE-3004-43DC-97A3-BA416ED15667}" dt="2023-03-27T14:45:09.139" v="4733"/>
          <pc:sldLayoutMkLst>
            <pc:docMk/>
            <pc:sldMasterMk cId="31158695" sldId="2147483765"/>
            <pc:sldLayoutMk cId="3995632658" sldId="2147483818"/>
          </pc:sldLayoutMkLst>
          <pc:picChg chg="mod">
            <ac:chgData name="Hans Gelissen (DHL SSC Maastricht)" userId="1afa8510-4eed-4b73-a29e-678838cd8acd" providerId="ADAL" clId="{B3B9A9FE-3004-43DC-97A3-BA416ED15667}" dt="2023-03-27T14:45:09.139" v="4733"/>
            <ac:picMkLst>
              <pc:docMk/>
              <pc:sldMasterMk cId="31158695" sldId="2147483765"/>
              <pc:sldLayoutMk cId="3995632658" sldId="2147483818"/>
              <ac:picMk id="13" creationId="{2B1BD734-7379-4346-88DF-5BB68C76BF87}"/>
            </ac:picMkLst>
          </pc:picChg>
        </pc:sldLayoutChg>
        <pc:sldLayoutChg chg="addSp delSp modSp mod">
          <pc:chgData name="Hans Gelissen (DHL SSC Maastricht)" userId="1afa8510-4eed-4b73-a29e-678838cd8acd" providerId="ADAL" clId="{B3B9A9FE-3004-43DC-97A3-BA416ED15667}" dt="2023-03-28T11:34:42.789" v="6201" actId="1076"/>
          <pc:sldLayoutMkLst>
            <pc:docMk/>
            <pc:sldMasterMk cId="31158695" sldId="2147483765"/>
            <pc:sldLayoutMk cId="2012589445" sldId="2147484032"/>
          </pc:sldLayoutMkLst>
          <pc:spChg chg="add mod">
            <ac:chgData name="Hans Gelissen (DHL SSC Maastricht)" userId="1afa8510-4eed-4b73-a29e-678838cd8acd" providerId="ADAL" clId="{B3B9A9FE-3004-43DC-97A3-BA416ED15667}" dt="2023-03-27T15:06:19.620" v="5170" actId="1076"/>
            <ac:spMkLst>
              <pc:docMk/>
              <pc:sldMasterMk cId="31158695" sldId="2147483765"/>
              <pc:sldLayoutMk cId="2012589445" sldId="2147484032"/>
              <ac:spMk id="2" creationId="{F7859AF2-3AEB-4D97-AD0A-06675ED678AD}"/>
            </ac:spMkLst>
          </pc:spChg>
          <pc:spChg chg="add mod">
            <ac:chgData name="Hans Gelissen (DHL SSC Maastricht)" userId="1afa8510-4eed-4b73-a29e-678838cd8acd" providerId="ADAL" clId="{B3B9A9FE-3004-43DC-97A3-BA416ED15667}" dt="2023-03-28T11:34:42.789" v="6201" actId="1076"/>
            <ac:spMkLst>
              <pc:docMk/>
              <pc:sldMasterMk cId="31158695" sldId="2147483765"/>
              <pc:sldLayoutMk cId="2012589445" sldId="2147484032"/>
              <ac:spMk id="13" creationId="{E5CD1B9A-57A9-48A3-9DCB-AA10FF62AC80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5:06:16.029" v="5169" actId="478"/>
            <ac:spMkLst>
              <pc:docMk/>
              <pc:sldMasterMk cId="31158695" sldId="2147483765"/>
              <pc:sldLayoutMk cId="2012589445" sldId="2147484032"/>
              <ac:spMk id="20" creationId="{00000000-0000-0000-0000-000000000000}"/>
            </ac:spMkLst>
          </pc:spChg>
          <pc:picChg chg="mod">
            <ac:chgData name="Hans Gelissen (DHL SSC Maastricht)" userId="1afa8510-4eed-4b73-a29e-678838cd8acd" providerId="ADAL" clId="{B3B9A9FE-3004-43DC-97A3-BA416ED15667}" dt="2023-03-27T15:05:45.612" v="5138" actId="29295"/>
            <ac:picMkLst>
              <pc:docMk/>
              <pc:sldMasterMk cId="31158695" sldId="2147483765"/>
              <pc:sldLayoutMk cId="2012589445" sldId="2147484032"/>
              <ac:picMk id="14" creationId="{D60703F2-1E52-4173-B4A7-4503D6E81756}"/>
            </ac:picMkLst>
          </pc:picChg>
        </pc:sldLayoutChg>
      </pc:sldMasterChg>
      <pc:sldMasterChg chg="modSldLayout">
        <pc:chgData name="Hans Gelissen (DHL SSC Maastricht)" userId="1afa8510-4eed-4b73-a29e-678838cd8acd" providerId="ADAL" clId="{B3B9A9FE-3004-43DC-97A3-BA416ED15667}" dt="2023-03-27T15:01:25.680" v="5104"/>
        <pc:sldMasterMkLst>
          <pc:docMk/>
          <pc:sldMasterMk cId="3057125872" sldId="2147483795"/>
        </pc:sldMasterMkLst>
        <pc:sldLayoutChg chg="addSp delSp modSp">
          <pc:chgData name="Hans Gelissen (DHL SSC Maastricht)" userId="1afa8510-4eed-4b73-a29e-678838cd8acd" providerId="ADAL" clId="{B3B9A9FE-3004-43DC-97A3-BA416ED15667}" dt="2023-03-27T15:00:58.853" v="5098" actId="21"/>
          <pc:sldLayoutMkLst>
            <pc:docMk/>
            <pc:sldMasterMk cId="3057125872" sldId="2147483795"/>
            <pc:sldLayoutMk cId="2568452987" sldId="2147483944"/>
          </pc:sldLayoutMkLst>
          <pc:picChg chg="add del mod">
            <ac:chgData name="Hans Gelissen (DHL SSC Maastricht)" userId="1afa8510-4eed-4b73-a29e-678838cd8acd" providerId="ADAL" clId="{B3B9A9FE-3004-43DC-97A3-BA416ED15667}" dt="2023-03-27T15:00:21.887" v="5093" actId="1076"/>
            <ac:picMkLst>
              <pc:docMk/>
              <pc:sldMasterMk cId="3057125872" sldId="2147483795"/>
              <pc:sldLayoutMk cId="2568452987" sldId="2147483944"/>
              <ac:picMk id="8196" creationId="{81300818-F83F-4F28-89A7-6A1DAF44D646}"/>
            </ac:picMkLst>
          </pc:picChg>
          <pc:picChg chg="add del mod">
            <ac:chgData name="Hans Gelissen (DHL SSC Maastricht)" userId="1afa8510-4eed-4b73-a29e-678838cd8acd" providerId="ADAL" clId="{B3B9A9FE-3004-43DC-97A3-BA416ED15667}" dt="2023-03-27T15:00:25.309" v="5094" actId="478"/>
            <ac:picMkLst>
              <pc:docMk/>
              <pc:sldMasterMk cId="3057125872" sldId="2147483795"/>
              <pc:sldLayoutMk cId="2568452987" sldId="2147483944"/>
              <ac:picMk id="9218" creationId="{48A81EAA-7FF5-4DD8-91C8-CD54268BCC71}"/>
            </ac:picMkLst>
          </pc:picChg>
          <pc:picChg chg="add del">
            <ac:chgData name="Hans Gelissen (DHL SSC Maastricht)" userId="1afa8510-4eed-4b73-a29e-678838cd8acd" providerId="ADAL" clId="{B3B9A9FE-3004-43DC-97A3-BA416ED15667}" dt="2023-03-27T15:00:58.853" v="5098" actId="21"/>
            <ac:picMkLst>
              <pc:docMk/>
              <pc:sldMasterMk cId="3057125872" sldId="2147483795"/>
              <pc:sldLayoutMk cId="2568452987" sldId="2147483944"/>
              <ac:picMk id="9220" creationId="{76D31396-ACE9-4851-8D96-63078C92A499}"/>
            </ac:picMkLst>
          </pc:picChg>
        </pc:sldLayoutChg>
        <pc:sldLayoutChg chg="addSp delSp modSp mod">
          <pc:chgData name="Hans Gelissen (DHL SSC Maastricht)" userId="1afa8510-4eed-4b73-a29e-678838cd8acd" providerId="ADAL" clId="{B3B9A9FE-3004-43DC-97A3-BA416ED15667}" dt="2023-03-27T15:01:25.680" v="5104"/>
          <pc:sldLayoutMkLst>
            <pc:docMk/>
            <pc:sldMasterMk cId="3057125872" sldId="2147483795"/>
            <pc:sldLayoutMk cId="3547548167" sldId="2147484031"/>
          </pc:sldLayoutMkLst>
          <pc:picChg chg="add mod">
            <ac:chgData name="Hans Gelissen (DHL SSC Maastricht)" userId="1afa8510-4eed-4b73-a29e-678838cd8acd" providerId="ADAL" clId="{B3B9A9FE-3004-43DC-97A3-BA416ED15667}" dt="2023-03-27T15:01:25.680" v="5104"/>
            <ac:picMkLst>
              <pc:docMk/>
              <pc:sldMasterMk cId="3057125872" sldId="2147483795"/>
              <pc:sldLayoutMk cId="3547548167" sldId="2147484031"/>
              <ac:picMk id="7" creationId="{E15AE0CA-4DE5-4930-BAC1-9ABA4B02F595}"/>
            </ac:picMkLst>
          </pc:picChg>
          <pc:picChg chg="del">
            <ac:chgData name="Hans Gelissen (DHL SSC Maastricht)" userId="1afa8510-4eed-4b73-a29e-678838cd8acd" providerId="ADAL" clId="{B3B9A9FE-3004-43DC-97A3-BA416ED15667}" dt="2023-03-27T15:00:56.262" v="5097" actId="478"/>
            <ac:picMkLst>
              <pc:docMk/>
              <pc:sldMasterMk cId="3057125872" sldId="2147483795"/>
              <pc:sldLayoutMk cId="3547548167" sldId="2147484031"/>
              <ac:picMk id="13314" creationId="{56BC8694-75DC-435B-9304-099B83C03C13}"/>
            </ac:picMkLst>
          </pc:picChg>
        </pc:sldLayoutChg>
      </pc:sldMasterChg>
      <pc:sldMasterChg chg="modSldLayout">
        <pc:chgData name="Hans Gelissen (DHL SSC Maastricht)" userId="1afa8510-4eed-4b73-a29e-678838cd8acd" providerId="ADAL" clId="{B3B9A9FE-3004-43DC-97A3-BA416ED15667}" dt="2023-03-29T07:17:15.536" v="7036" actId="207"/>
        <pc:sldMasterMkLst>
          <pc:docMk/>
          <pc:sldMasterMk cId="1868986140" sldId="2147483797"/>
        </pc:sldMasterMkLst>
        <pc:sldLayoutChg chg="modSp mod">
          <pc:chgData name="Hans Gelissen (DHL SSC Maastricht)" userId="1afa8510-4eed-4b73-a29e-678838cd8acd" providerId="ADAL" clId="{B3B9A9FE-3004-43DC-97A3-BA416ED15667}" dt="2023-03-29T07:16:50.755" v="7035" actId="1076"/>
          <pc:sldLayoutMkLst>
            <pc:docMk/>
            <pc:sldMasterMk cId="1868986140" sldId="2147483797"/>
            <pc:sldLayoutMk cId="1943396673" sldId="2147483817"/>
          </pc:sldLayoutMkLst>
          <pc:spChg chg="mod">
            <ac:chgData name="Hans Gelissen (DHL SSC Maastricht)" userId="1afa8510-4eed-4b73-a29e-678838cd8acd" providerId="ADAL" clId="{B3B9A9FE-3004-43DC-97A3-BA416ED15667}" dt="2023-03-29T07:16:32.846" v="7032" actId="1076"/>
            <ac:spMkLst>
              <pc:docMk/>
              <pc:sldMasterMk cId="1868986140" sldId="2147483797"/>
              <pc:sldLayoutMk cId="1943396673" sldId="2147483817"/>
              <ac:spMk id="8" creationId="{44129AD2-E0F3-4D9C-9F90-CC5CF8600EC5}"/>
            </ac:spMkLst>
          </pc:spChg>
          <pc:spChg chg="mod">
            <ac:chgData name="Hans Gelissen (DHL SSC Maastricht)" userId="1afa8510-4eed-4b73-a29e-678838cd8acd" providerId="ADAL" clId="{B3B9A9FE-3004-43DC-97A3-BA416ED15667}" dt="2023-03-29T07:16:37.349" v="7033" actId="1076"/>
            <ac:spMkLst>
              <pc:docMk/>
              <pc:sldMasterMk cId="1868986140" sldId="2147483797"/>
              <pc:sldLayoutMk cId="1943396673" sldId="2147483817"/>
              <ac:spMk id="12" creationId="{DD2800E9-B245-4BF2-A06F-459F6B4DF8EC}"/>
            </ac:spMkLst>
          </pc:spChg>
          <pc:spChg chg="mod">
            <ac:chgData name="Hans Gelissen (DHL SSC Maastricht)" userId="1afa8510-4eed-4b73-a29e-678838cd8acd" providerId="ADAL" clId="{B3B9A9FE-3004-43DC-97A3-BA416ED15667}" dt="2023-03-29T07:16:50.755" v="7035" actId="1076"/>
            <ac:spMkLst>
              <pc:docMk/>
              <pc:sldMasterMk cId="1868986140" sldId="2147483797"/>
              <pc:sldLayoutMk cId="1943396673" sldId="2147483817"/>
              <ac:spMk id="14" creationId="{BEDB912A-94C7-48E7-9C7D-6933F5A16D89}"/>
            </ac:spMkLst>
          </pc:spChg>
          <pc:spChg chg="mod">
            <ac:chgData name="Hans Gelissen (DHL SSC Maastricht)" userId="1afa8510-4eed-4b73-a29e-678838cd8acd" providerId="ADAL" clId="{B3B9A9FE-3004-43DC-97A3-BA416ED15667}" dt="2023-03-29T07:16:48.334" v="7034" actId="207"/>
            <ac:spMkLst>
              <pc:docMk/>
              <pc:sldMasterMk cId="1868986140" sldId="2147483797"/>
              <pc:sldLayoutMk cId="1943396673" sldId="2147483817"/>
              <ac:spMk id="18" creationId="{87DC52E1-61B4-41C6-9C1B-78B53F41A182}"/>
            </ac:spMkLst>
          </pc:spChg>
          <pc:spChg chg="mod">
            <ac:chgData name="Hans Gelissen (DHL SSC Maastricht)" userId="1afa8510-4eed-4b73-a29e-678838cd8acd" providerId="ADAL" clId="{B3B9A9FE-3004-43DC-97A3-BA416ED15667}" dt="2023-03-29T07:16:48.334" v="7034" actId="207"/>
            <ac:spMkLst>
              <pc:docMk/>
              <pc:sldMasterMk cId="1868986140" sldId="2147483797"/>
              <pc:sldLayoutMk cId="1943396673" sldId="2147483817"/>
              <ac:spMk id="22" creationId="{5D33661A-E879-4955-BAB9-AA7B3C955E42}"/>
            </ac:spMkLst>
          </pc:spChg>
          <pc:spChg chg="mod">
            <ac:chgData name="Hans Gelissen (DHL SSC Maastricht)" userId="1afa8510-4eed-4b73-a29e-678838cd8acd" providerId="ADAL" clId="{B3B9A9FE-3004-43DC-97A3-BA416ED15667}" dt="2023-03-29T07:16:48.334" v="7034" actId="207"/>
            <ac:spMkLst>
              <pc:docMk/>
              <pc:sldMasterMk cId="1868986140" sldId="2147483797"/>
              <pc:sldLayoutMk cId="1943396673" sldId="2147483817"/>
              <ac:spMk id="23" creationId="{694DBE2C-2418-448B-A0C4-52EECB64EBA6}"/>
            </ac:spMkLst>
          </pc:spChg>
        </pc:sldLayoutChg>
        <pc:sldLayoutChg chg="modSp">
          <pc:chgData name="Hans Gelissen (DHL SSC Maastricht)" userId="1afa8510-4eed-4b73-a29e-678838cd8acd" providerId="ADAL" clId="{B3B9A9FE-3004-43DC-97A3-BA416ED15667}" dt="2023-03-29T07:17:15.536" v="7036" actId="207"/>
          <pc:sldLayoutMkLst>
            <pc:docMk/>
            <pc:sldMasterMk cId="1868986140" sldId="2147483797"/>
            <pc:sldLayoutMk cId="2070522211" sldId="2147483819"/>
          </pc:sldLayoutMkLst>
          <pc:spChg chg="mod">
            <ac:chgData name="Hans Gelissen (DHL SSC Maastricht)" userId="1afa8510-4eed-4b73-a29e-678838cd8acd" providerId="ADAL" clId="{B3B9A9FE-3004-43DC-97A3-BA416ED15667}" dt="2023-03-29T07:17:15.536" v="7036" actId="207"/>
            <ac:spMkLst>
              <pc:docMk/>
              <pc:sldMasterMk cId="1868986140" sldId="2147483797"/>
              <pc:sldLayoutMk cId="2070522211" sldId="2147483819"/>
              <ac:spMk id="18" creationId="{87DC52E1-61B4-41C6-9C1B-78B53F41A182}"/>
            </ac:spMkLst>
          </pc:spChg>
          <pc:spChg chg="mod">
            <ac:chgData name="Hans Gelissen (DHL SSC Maastricht)" userId="1afa8510-4eed-4b73-a29e-678838cd8acd" providerId="ADAL" clId="{B3B9A9FE-3004-43DC-97A3-BA416ED15667}" dt="2023-03-29T07:17:15.536" v="7036" actId="207"/>
            <ac:spMkLst>
              <pc:docMk/>
              <pc:sldMasterMk cId="1868986140" sldId="2147483797"/>
              <pc:sldLayoutMk cId="2070522211" sldId="2147483819"/>
              <ac:spMk id="22" creationId="{5D33661A-E879-4955-BAB9-AA7B3C955E42}"/>
            </ac:spMkLst>
          </pc:spChg>
          <pc:spChg chg="mod">
            <ac:chgData name="Hans Gelissen (DHL SSC Maastricht)" userId="1afa8510-4eed-4b73-a29e-678838cd8acd" providerId="ADAL" clId="{B3B9A9FE-3004-43DC-97A3-BA416ED15667}" dt="2023-03-29T07:17:15.536" v="7036" actId="207"/>
            <ac:spMkLst>
              <pc:docMk/>
              <pc:sldMasterMk cId="1868986140" sldId="2147483797"/>
              <pc:sldLayoutMk cId="2070522211" sldId="2147483819"/>
              <ac:spMk id="23" creationId="{694DBE2C-2418-448B-A0C4-52EECB64EBA6}"/>
            </ac:spMkLst>
          </pc:spChg>
        </pc:sldLayoutChg>
      </pc:sldMasterChg>
      <pc:sldMasterChg chg="modSldLayout">
        <pc:chgData name="Hans Gelissen (DHL SSC Maastricht)" userId="1afa8510-4eed-4b73-a29e-678838cd8acd" providerId="ADAL" clId="{B3B9A9FE-3004-43DC-97A3-BA416ED15667}" dt="2023-03-29T07:11:50.450" v="7011" actId="1076"/>
        <pc:sldMasterMkLst>
          <pc:docMk/>
          <pc:sldMasterMk cId="2722686442" sldId="2147484013"/>
        </pc:sldMasterMkLst>
        <pc:sldLayoutChg chg="addSp delSp modSp mod">
          <pc:chgData name="Hans Gelissen (DHL SSC Maastricht)" userId="1afa8510-4eed-4b73-a29e-678838cd8acd" providerId="ADAL" clId="{B3B9A9FE-3004-43DC-97A3-BA416ED15667}" dt="2023-03-29T07:06:00.109" v="6973" actId="207"/>
          <pc:sldLayoutMkLst>
            <pc:docMk/>
            <pc:sldMasterMk cId="2722686442" sldId="2147484013"/>
            <pc:sldLayoutMk cId="3268675541" sldId="2147484028"/>
          </pc:sldLayoutMkLst>
          <pc:spChg chg="add del">
            <ac:chgData name="Hans Gelissen (DHL SSC Maastricht)" userId="1afa8510-4eed-4b73-a29e-678838cd8acd" providerId="ADAL" clId="{B3B9A9FE-3004-43DC-97A3-BA416ED15667}" dt="2023-03-27T09:46:47.914" v="26" actId="11529"/>
            <ac:spMkLst>
              <pc:docMk/>
              <pc:sldMasterMk cId="2722686442" sldId="2147484013"/>
              <pc:sldLayoutMk cId="3268675541" sldId="2147484028"/>
              <ac:spMk id="2" creationId="{A6A4BE43-60F5-4BB1-8A33-D689FB7F137F}"/>
            </ac:spMkLst>
          </pc:spChg>
          <pc:spChg chg="add del mod">
            <ac:chgData name="Hans Gelissen (DHL SSC Maastricht)" userId="1afa8510-4eed-4b73-a29e-678838cd8acd" providerId="ADAL" clId="{B3B9A9FE-3004-43DC-97A3-BA416ED15667}" dt="2023-03-27T09:47:03.613" v="29" actId="478"/>
            <ac:spMkLst>
              <pc:docMk/>
              <pc:sldMasterMk cId="2722686442" sldId="2147484013"/>
              <pc:sldLayoutMk cId="3268675541" sldId="2147484028"/>
              <ac:spMk id="3" creationId="{B5354559-85FF-43FC-8C74-21B27A086A38}"/>
            </ac:spMkLst>
          </pc:spChg>
          <pc:spChg chg="mod ord">
            <ac:chgData name="Hans Gelissen (DHL SSC Maastricht)" userId="1afa8510-4eed-4b73-a29e-678838cd8acd" providerId="ADAL" clId="{B3B9A9FE-3004-43DC-97A3-BA416ED15667}" dt="2023-03-29T07:06:00.109" v="6973" actId="207"/>
            <ac:spMkLst>
              <pc:docMk/>
              <pc:sldMasterMk cId="2722686442" sldId="2147484013"/>
              <pc:sldLayoutMk cId="3268675541" sldId="2147484028"/>
              <ac:spMk id="6" creationId="{7378D8CD-C3E3-4637-8184-7FC938EE9CFF}"/>
            </ac:spMkLst>
          </pc:spChg>
          <pc:spChg chg="add mod ord">
            <ac:chgData name="Hans Gelissen (DHL SSC Maastricht)" userId="1afa8510-4eed-4b73-a29e-678838cd8acd" providerId="ADAL" clId="{B3B9A9FE-3004-43DC-97A3-BA416ED15667}" dt="2023-03-28T12:47:55.034" v="6971" actId="13244"/>
            <ac:spMkLst>
              <pc:docMk/>
              <pc:sldMasterMk cId="2722686442" sldId="2147484013"/>
              <pc:sldLayoutMk cId="3268675541" sldId="2147484028"/>
              <ac:spMk id="10" creationId="{19FCFA18-B561-4716-AA7A-234D93CC1B70}"/>
            </ac:spMkLst>
          </pc:spChg>
          <pc:spChg chg="ord">
            <ac:chgData name="Hans Gelissen (DHL SSC Maastricht)" userId="1afa8510-4eed-4b73-a29e-678838cd8acd" providerId="ADAL" clId="{B3B9A9FE-3004-43DC-97A3-BA416ED15667}" dt="2023-03-28T09:23:50.175" v="5229" actId="166"/>
            <ac:spMkLst>
              <pc:docMk/>
              <pc:sldMasterMk cId="2722686442" sldId="2147484013"/>
              <pc:sldLayoutMk cId="3268675541" sldId="2147484028"/>
              <ac:spMk id="33" creationId="{5B6B688A-4321-4967-ADCE-3DD62CCF28D1}"/>
            </ac:spMkLst>
          </pc:spChg>
          <pc:spChg chg="ord">
            <ac:chgData name="Hans Gelissen (DHL SSC Maastricht)" userId="1afa8510-4eed-4b73-a29e-678838cd8acd" providerId="ADAL" clId="{B3B9A9FE-3004-43DC-97A3-BA416ED15667}" dt="2023-03-28T09:23:50.175" v="5229" actId="166"/>
            <ac:spMkLst>
              <pc:docMk/>
              <pc:sldMasterMk cId="2722686442" sldId="2147484013"/>
              <pc:sldLayoutMk cId="3268675541" sldId="2147484028"/>
              <ac:spMk id="34" creationId="{10A46619-F1F2-43A8-85D6-A1D7F402C17E}"/>
            </ac:spMkLst>
          </pc:spChg>
          <pc:spChg chg="ord">
            <ac:chgData name="Hans Gelissen (DHL SSC Maastricht)" userId="1afa8510-4eed-4b73-a29e-678838cd8acd" providerId="ADAL" clId="{B3B9A9FE-3004-43DC-97A3-BA416ED15667}" dt="2023-03-28T09:23:50.175" v="5229" actId="166"/>
            <ac:spMkLst>
              <pc:docMk/>
              <pc:sldMasterMk cId="2722686442" sldId="2147484013"/>
              <pc:sldLayoutMk cId="3268675541" sldId="2147484028"/>
              <ac:spMk id="35" creationId="{A04A0385-DE7C-4017-A042-7DF11670E515}"/>
            </ac:spMkLst>
          </pc:spChg>
          <pc:spChg chg="mod ord">
            <ac:chgData name="Hans Gelissen (DHL SSC Maastricht)" userId="1afa8510-4eed-4b73-a29e-678838cd8acd" providerId="ADAL" clId="{B3B9A9FE-3004-43DC-97A3-BA416ED15667}" dt="2023-03-28T09:23:50.175" v="5229" actId="166"/>
            <ac:spMkLst>
              <pc:docMk/>
              <pc:sldMasterMk cId="2722686442" sldId="2147484013"/>
              <pc:sldLayoutMk cId="3268675541" sldId="2147484028"/>
              <ac:spMk id="37" creationId="{1F9277E1-AD60-4D2D-BE69-54968C565961}"/>
            </ac:spMkLst>
          </pc:spChg>
        </pc:sldLayoutChg>
        <pc:sldLayoutChg chg="addSp modSp mod">
          <pc:chgData name="Hans Gelissen (DHL SSC Maastricht)" userId="1afa8510-4eed-4b73-a29e-678838cd8acd" providerId="ADAL" clId="{B3B9A9FE-3004-43DC-97A3-BA416ED15667}" dt="2023-03-28T12:48:02.167" v="6972" actId="13244"/>
          <pc:sldLayoutMkLst>
            <pc:docMk/>
            <pc:sldMasterMk cId="2722686442" sldId="2147484013"/>
            <pc:sldLayoutMk cId="3755589933" sldId="2147484029"/>
          </pc:sldLayoutMkLst>
          <pc:spChg chg="ord">
            <ac:chgData name="Hans Gelissen (DHL SSC Maastricht)" userId="1afa8510-4eed-4b73-a29e-678838cd8acd" providerId="ADAL" clId="{B3B9A9FE-3004-43DC-97A3-BA416ED15667}" dt="2023-03-28T09:24:07.054" v="5232" actId="166"/>
            <ac:spMkLst>
              <pc:docMk/>
              <pc:sldMasterMk cId="2722686442" sldId="2147484013"/>
              <pc:sldLayoutMk cId="3755589933" sldId="2147484029"/>
              <ac:spMk id="5" creationId="{11CD8C8C-63CF-4943-89D3-B5BCA0F16C98}"/>
            </ac:spMkLst>
          </pc:spChg>
          <pc:spChg chg="ord">
            <ac:chgData name="Hans Gelissen (DHL SSC Maastricht)" userId="1afa8510-4eed-4b73-a29e-678838cd8acd" providerId="ADAL" clId="{B3B9A9FE-3004-43DC-97A3-BA416ED15667}" dt="2023-03-28T09:24:07.054" v="5232" actId="166"/>
            <ac:spMkLst>
              <pc:docMk/>
              <pc:sldMasterMk cId="2722686442" sldId="2147484013"/>
              <pc:sldLayoutMk cId="3755589933" sldId="2147484029"/>
              <ac:spMk id="6" creationId="{77FBCCC6-2047-406D-B33D-317698474BB6}"/>
            </ac:spMkLst>
          </pc:spChg>
          <pc:spChg chg="ord">
            <ac:chgData name="Hans Gelissen (DHL SSC Maastricht)" userId="1afa8510-4eed-4b73-a29e-678838cd8acd" providerId="ADAL" clId="{B3B9A9FE-3004-43DC-97A3-BA416ED15667}" dt="2023-03-28T09:24:07.054" v="5232" actId="166"/>
            <ac:spMkLst>
              <pc:docMk/>
              <pc:sldMasterMk cId="2722686442" sldId="2147484013"/>
              <pc:sldLayoutMk cId="3755589933" sldId="2147484029"/>
              <ac:spMk id="7" creationId="{12D982B6-0289-439C-A43F-7FF6B3744AD9}"/>
            </ac:spMkLst>
          </pc:spChg>
          <pc:spChg chg="ord">
            <ac:chgData name="Hans Gelissen (DHL SSC Maastricht)" userId="1afa8510-4eed-4b73-a29e-678838cd8acd" providerId="ADAL" clId="{B3B9A9FE-3004-43DC-97A3-BA416ED15667}" dt="2023-03-28T09:24:07.054" v="5232" actId="166"/>
            <ac:spMkLst>
              <pc:docMk/>
              <pc:sldMasterMk cId="2722686442" sldId="2147484013"/>
              <pc:sldLayoutMk cId="3755589933" sldId="2147484029"/>
              <ac:spMk id="8" creationId="{FEB8FEBE-B61F-4667-AB15-3E01E9EFF369}"/>
            </ac:spMkLst>
          </pc:spChg>
          <pc:spChg chg="add mod ord">
            <ac:chgData name="Hans Gelissen (DHL SSC Maastricht)" userId="1afa8510-4eed-4b73-a29e-678838cd8acd" providerId="ADAL" clId="{B3B9A9FE-3004-43DC-97A3-BA416ED15667}" dt="2023-03-28T12:48:02.167" v="6972" actId="13244"/>
            <ac:spMkLst>
              <pc:docMk/>
              <pc:sldMasterMk cId="2722686442" sldId="2147484013"/>
              <pc:sldLayoutMk cId="3755589933" sldId="2147484029"/>
              <ac:spMk id="14" creationId="{AFAD29E6-DFE9-4673-920C-6E26545088E6}"/>
            </ac:spMkLst>
          </pc:spChg>
          <pc:spChg chg="ord">
            <ac:chgData name="Hans Gelissen (DHL SSC Maastricht)" userId="1afa8510-4eed-4b73-a29e-678838cd8acd" providerId="ADAL" clId="{B3B9A9FE-3004-43DC-97A3-BA416ED15667}" dt="2023-03-28T09:23:59.997" v="5231" actId="166"/>
            <ac:spMkLst>
              <pc:docMk/>
              <pc:sldMasterMk cId="2722686442" sldId="2147484013"/>
              <pc:sldLayoutMk cId="3755589933" sldId="2147484029"/>
              <ac:spMk id="16" creationId="{543B43F8-9408-4DE6-ADB1-0F55458A9A22}"/>
            </ac:spMkLst>
          </pc:spChg>
          <pc:spChg chg="ord">
            <ac:chgData name="Hans Gelissen (DHL SSC Maastricht)" userId="1afa8510-4eed-4b73-a29e-678838cd8acd" providerId="ADAL" clId="{B3B9A9FE-3004-43DC-97A3-BA416ED15667}" dt="2023-03-28T09:23:59.997" v="5231" actId="166"/>
            <ac:spMkLst>
              <pc:docMk/>
              <pc:sldMasterMk cId="2722686442" sldId="2147484013"/>
              <pc:sldLayoutMk cId="3755589933" sldId="2147484029"/>
              <ac:spMk id="17" creationId="{94772D6F-1FC4-4476-A44A-08C36474BFAC}"/>
            </ac:spMkLst>
          </pc:spChg>
          <pc:spChg chg="ord">
            <ac:chgData name="Hans Gelissen (DHL SSC Maastricht)" userId="1afa8510-4eed-4b73-a29e-678838cd8acd" providerId="ADAL" clId="{B3B9A9FE-3004-43DC-97A3-BA416ED15667}" dt="2023-03-28T09:23:59.997" v="5231" actId="166"/>
            <ac:spMkLst>
              <pc:docMk/>
              <pc:sldMasterMk cId="2722686442" sldId="2147484013"/>
              <pc:sldLayoutMk cId="3755589933" sldId="2147484029"/>
              <ac:spMk id="18" creationId="{512809E2-9DA5-447E-955E-34FB70D95FD4}"/>
            </ac:spMkLst>
          </pc:spChg>
          <pc:spChg chg="ord">
            <ac:chgData name="Hans Gelissen (DHL SSC Maastricht)" userId="1afa8510-4eed-4b73-a29e-678838cd8acd" providerId="ADAL" clId="{B3B9A9FE-3004-43DC-97A3-BA416ED15667}" dt="2023-03-28T09:23:59.997" v="5231" actId="166"/>
            <ac:spMkLst>
              <pc:docMk/>
              <pc:sldMasterMk cId="2722686442" sldId="2147484013"/>
              <pc:sldLayoutMk cId="3755589933" sldId="2147484029"/>
              <ac:spMk id="19" creationId="{B7A3AD81-254E-4701-8E10-052F58E25B96}"/>
            </ac:spMkLst>
          </pc:spChg>
          <pc:spChg chg="mod ord">
            <ac:chgData name="Hans Gelissen (DHL SSC Maastricht)" userId="1afa8510-4eed-4b73-a29e-678838cd8acd" providerId="ADAL" clId="{B3B9A9FE-3004-43DC-97A3-BA416ED15667}" dt="2023-03-28T09:23:59.997" v="5231" actId="166"/>
            <ac:spMkLst>
              <pc:docMk/>
              <pc:sldMasterMk cId="2722686442" sldId="2147484013"/>
              <pc:sldLayoutMk cId="3755589933" sldId="2147484029"/>
              <ac:spMk id="21" creationId="{90FA61AE-BB1F-440B-B9B9-EEF289294A6B}"/>
            </ac:spMkLst>
          </pc:spChg>
          <pc:picChg chg="ord">
            <ac:chgData name="Hans Gelissen (DHL SSC Maastricht)" userId="1afa8510-4eed-4b73-a29e-678838cd8acd" providerId="ADAL" clId="{B3B9A9FE-3004-43DC-97A3-BA416ED15667}" dt="2023-03-28T09:24:07.054" v="5232" actId="166"/>
            <ac:picMkLst>
              <pc:docMk/>
              <pc:sldMasterMk cId="2722686442" sldId="2147484013"/>
              <pc:sldLayoutMk cId="3755589933" sldId="2147484029"/>
              <ac:picMk id="13" creationId="{2B1BD734-7379-4346-88DF-5BB68C76BF87}"/>
            </ac:picMkLst>
          </pc:picChg>
        </pc:sldLayoutChg>
        <pc:sldLayoutChg chg="addSp delSp modSp mod">
          <pc:chgData name="Hans Gelissen (DHL SSC Maastricht)" userId="1afa8510-4eed-4b73-a29e-678838cd8acd" providerId="ADAL" clId="{B3B9A9FE-3004-43DC-97A3-BA416ED15667}" dt="2023-03-29T07:11:50.450" v="7011" actId="1076"/>
          <pc:sldLayoutMkLst>
            <pc:docMk/>
            <pc:sldMasterMk cId="2722686442" sldId="2147484013"/>
            <pc:sldLayoutMk cId="3955269639" sldId="2147484030"/>
          </pc:sldLayoutMkLst>
          <pc:spChg chg="del">
            <ac:chgData name="Hans Gelissen (DHL SSC Maastricht)" userId="1afa8510-4eed-4b73-a29e-678838cd8acd" providerId="ADAL" clId="{B3B9A9FE-3004-43DC-97A3-BA416ED15667}" dt="2023-03-27T11:15:58.615" v="500" actId="478"/>
            <ac:spMkLst>
              <pc:docMk/>
              <pc:sldMasterMk cId="2722686442" sldId="2147484013"/>
              <pc:sldLayoutMk cId="3955269639" sldId="2147484030"/>
              <ac:spMk id="6" creationId="{7378D8CD-C3E3-4637-8184-7FC938EE9CFF}"/>
            </ac:spMkLst>
          </pc:spChg>
          <pc:spChg chg="mod">
            <ac:chgData name="Hans Gelissen (DHL SSC Maastricht)" userId="1afa8510-4eed-4b73-a29e-678838cd8acd" providerId="ADAL" clId="{B3B9A9FE-3004-43DC-97A3-BA416ED15667}" dt="2023-03-28T09:24:24.202" v="5234" actId="166"/>
            <ac:spMkLst>
              <pc:docMk/>
              <pc:sldMasterMk cId="2722686442" sldId="2147484013"/>
              <pc:sldLayoutMk cId="3955269639" sldId="2147484030"/>
              <ac:spMk id="11" creationId="{C478DBB3-8CBA-44B0-8448-554392206DAD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7:22.287" v="6977" actId="1076"/>
            <ac:spMkLst>
              <pc:docMk/>
              <pc:sldMasterMk cId="2722686442" sldId="2147484013"/>
              <pc:sldLayoutMk cId="3955269639" sldId="2147484030"/>
              <ac:spMk id="12" creationId="{0A7B1646-CB6A-49BC-BAC8-7FBCBF7501E0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09.883" v="549" actId="478"/>
            <ac:spMkLst>
              <pc:docMk/>
              <pc:sldMasterMk cId="2722686442" sldId="2147484013"/>
              <pc:sldLayoutMk cId="3955269639" sldId="2147484030"/>
              <ac:spMk id="13" creationId="{E50F345E-1F8F-4A8C-8B95-EAFA23B37A34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09.883" v="549" actId="478"/>
            <ac:spMkLst>
              <pc:docMk/>
              <pc:sldMasterMk cId="2722686442" sldId="2147484013"/>
              <pc:sldLayoutMk cId="3955269639" sldId="2147484030"/>
              <ac:spMk id="14" creationId="{E9FB72AA-62C8-47C0-8960-83A23F92C13E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09.883" v="549" actId="478"/>
            <ac:spMkLst>
              <pc:docMk/>
              <pc:sldMasterMk cId="2722686442" sldId="2147484013"/>
              <pc:sldLayoutMk cId="3955269639" sldId="2147484030"/>
              <ac:spMk id="15" creationId="{0BD30E6B-54A8-4A0A-8932-D7DA97F01479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09.883" v="549" actId="478"/>
            <ac:spMkLst>
              <pc:docMk/>
              <pc:sldMasterMk cId="2722686442" sldId="2147484013"/>
              <pc:sldLayoutMk cId="3955269639" sldId="2147484030"/>
              <ac:spMk id="16" creationId="{9E0AE739-C2B5-4D30-881D-B1A8491ABDC8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7:56.800" v="546" actId="478"/>
            <ac:spMkLst>
              <pc:docMk/>
              <pc:sldMasterMk cId="2722686442" sldId="2147484013"/>
              <pc:sldLayoutMk cId="3955269639" sldId="2147484030"/>
              <ac:spMk id="17" creationId="{85336EBD-262E-4C8A-960A-8A5B10A819D5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01.407" v="547" actId="478"/>
            <ac:spMkLst>
              <pc:docMk/>
              <pc:sldMasterMk cId="2722686442" sldId="2147484013"/>
              <pc:sldLayoutMk cId="3955269639" sldId="2147484030"/>
              <ac:spMk id="18" creationId="{4222AAEF-CAAC-449A-AB57-4A6309F48570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8T09:24:24.202" v="5234" actId="166"/>
            <ac:spMkLst>
              <pc:docMk/>
              <pc:sldMasterMk cId="2722686442" sldId="2147484013"/>
              <pc:sldLayoutMk cId="3955269639" sldId="2147484030"/>
              <ac:spMk id="19" creationId="{E59BC9C9-B4B8-4E00-BB35-5683181D89F3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05.739" v="548" actId="478"/>
            <ac:spMkLst>
              <pc:docMk/>
              <pc:sldMasterMk cId="2722686442" sldId="2147484013"/>
              <pc:sldLayoutMk cId="3955269639" sldId="2147484030"/>
              <ac:spMk id="20" creationId="{F18FA208-E7B3-4B1C-9A4C-5912BCD020DA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20.073" v="551" actId="478"/>
            <ac:spMkLst>
              <pc:docMk/>
              <pc:sldMasterMk cId="2722686442" sldId="2147484013"/>
              <pc:sldLayoutMk cId="3955269639" sldId="2147484030"/>
              <ac:spMk id="21" creationId="{0F335924-C6B9-4E66-97D9-B39C757E6F57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6:54.588" v="6976" actId="1076"/>
            <ac:spMkLst>
              <pc:docMk/>
              <pc:sldMasterMk cId="2722686442" sldId="2147484013"/>
              <pc:sldLayoutMk cId="3955269639" sldId="2147484030"/>
              <ac:spMk id="22" creationId="{287ABBBB-A57D-4A54-BAD2-B01717BC5AC4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7:37.410" v="6979" actId="1076"/>
            <ac:spMkLst>
              <pc:docMk/>
              <pc:sldMasterMk cId="2722686442" sldId="2147484013"/>
              <pc:sldLayoutMk cId="3955269639" sldId="2147484030"/>
              <ac:spMk id="23" creationId="{04C26FED-6380-41EC-A08A-BEFD6C5AF9A0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14.669" v="550" actId="478"/>
            <ac:spMkLst>
              <pc:docMk/>
              <pc:sldMasterMk cId="2722686442" sldId="2147484013"/>
              <pc:sldLayoutMk cId="3955269639" sldId="2147484030"/>
              <ac:spMk id="24" creationId="{BFA0DE7C-FF4A-4DED-9A3A-FAA1D473C333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14.669" v="550" actId="478"/>
            <ac:spMkLst>
              <pc:docMk/>
              <pc:sldMasterMk cId="2722686442" sldId="2147484013"/>
              <pc:sldLayoutMk cId="3955269639" sldId="2147484030"/>
              <ac:spMk id="25" creationId="{0426A718-F3AF-45E1-AF6D-3A92FF7C0DD6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20.073" v="551" actId="478"/>
            <ac:spMkLst>
              <pc:docMk/>
              <pc:sldMasterMk cId="2722686442" sldId="2147484013"/>
              <pc:sldLayoutMk cId="3955269639" sldId="2147484030"/>
              <ac:spMk id="26" creationId="{406499F4-D116-4F54-9795-C6C79E555948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8:21.163" v="6992" actId="1076"/>
            <ac:spMkLst>
              <pc:docMk/>
              <pc:sldMasterMk cId="2722686442" sldId="2147484013"/>
              <pc:sldLayoutMk cId="3955269639" sldId="2147484030"/>
              <ac:spMk id="27" creationId="{7CF0A2AB-9AF1-4C86-94DF-62626354E3A4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6:41.213" v="6975" actId="1076"/>
            <ac:spMkLst>
              <pc:docMk/>
              <pc:sldMasterMk cId="2722686442" sldId="2147484013"/>
              <pc:sldLayoutMk cId="3955269639" sldId="2147484030"/>
              <ac:spMk id="28" creationId="{B354EF95-C5D8-4FDB-A961-F82D4B26B737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8:10.993" v="6989" actId="1076"/>
            <ac:spMkLst>
              <pc:docMk/>
              <pc:sldMasterMk cId="2722686442" sldId="2147484013"/>
              <pc:sldLayoutMk cId="3955269639" sldId="2147484030"/>
              <ac:spMk id="29" creationId="{85E61EA8-4AAC-475E-A3A2-5D9E0D3F4431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6:54.588" v="6976" actId="1076"/>
            <ac:spMkLst>
              <pc:docMk/>
              <pc:sldMasterMk cId="2722686442" sldId="2147484013"/>
              <pc:sldLayoutMk cId="3955269639" sldId="2147484030"/>
              <ac:spMk id="30" creationId="{CE7232A1-128D-4D8B-B0F2-518ABEC354E4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8:17.148" v="6990" actId="1076"/>
            <ac:spMkLst>
              <pc:docMk/>
              <pc:sldMasterMk cId="2722686442" sldId="2147484013"/>
              <pc:sldLayoutMk cId="3955269639" sldId="2147484030"/>
              <ac:spMk id="31" creationId="{3A4DD1CE-5504-4377-A3FD-162E2DECF1B5}"/>
            </ac:spMkLst>
          </pc:spChg>
          <pc:spChg chg="del">
            <ac:chgData name="Hans Gelissen (DHL SSC Maastricht)" userId="1afa8510-4eed-4b73-a29e-678838cd8acd" providerId="ADAL" clId="{B3B9A9FE-3004-43DC-97A3-BA416ED15667}" dt="2023-03-27T11:16:00.001" v="501" actId="478"/>
            <ac:spMkLst>
              <pc:docMk/>
              <pc:sldMasterMk cId="2722686442" sldId="2147484013"/>
              <pc:sldLayoutMk cId="3955269639" sldId="2147484030"/>
              <ac:spMk id="33" creationId="{5B6B688A-4321-4967-ADCE-3DD62CCF28D1}"/>
            </ac:spMkLst>
          </pc:spChg>
          <pc:spChg chg="del">
            <ac:chgData name="Hans Gelissen (DHL SSC Maastricht)" userId="1afa8510-4eed-4b73-a29e-678838cd8acd" providerId="ADAL" clId="{B3B9A9FE-3004-43DC-97A3-BA416ED15667}" dt="2023-03-27T11:16:01.225" v="502" actId="478"/>
            <ac:spMkLst>
              <pc:docMk/>
              <pc:sldMasterMk cId="2722686442" sldId="2147484013"/>
              <pc:sldLayoutMk cId="3955269639" sldId="2147484030"/>
              <ac:spMk id="34" creationId="{10A46619-F1F2-43A8-85D6-A1D7F402C17E}"/>
            </ac:spMkLst>
          </pc:spChg>
          <pc:spChg chg="del">
            <ac:chgData name="Hans Gelissen (DHL SSC Maastricht)" userId="1afa8510-4eed-4b73-a29e-678838cd8acd" providerId="ADAL" clId="{B3B9A9FE-3004-43DC-97A3-BA416ED15667}" dt="2023-03-27T11:16:02.644" v="503" actId="478"/>
            <ac:spMkLst>
              <pc:docMk/>
              <pc:sldMasterMk cId="2722686442" sldId="2147484013"/>
              <pc:sldLayoutMk cId="3955269639" sldId="2147484030"/>
              <ac:spMk id="35" creationId="{A04A0385-DE7C-4017-A042-7DF11670E515}"/>
            </ac:spMkLst>
          </pc:spChg>
          <pc:spChg chg="mod">
            <ac:chgData name="Hans Gelissen (DHL SSC Maastricht)" userId="1afa8510-4eed-4b73-a29e-678838cd8acd" providerId="ADAL" clId="{B3B9A9FE-3004-43DC-97A3-BA416ED15667}" dt="2023-03-28T09:24:24.202" v="5234" actId="166"/>
            <ac:spMkLst>
              <pc:docMk/>
              <pc:sldMasterMk cId="2722686442" sldId="2147484013"/>
              <pc:sldLayoutMk cId="3955269639" sldId="2147484030"/>
              <ac:spMk id="36" creationId="{AD590678-8D03-4720-9986-71EBEAE6C458}"/>
            </ac:spMkLst>
          </pc:spChg>
          <pc:spChg chg="del">
            <ac:chgData name="Hans Gelissen (DHL SSC Maastricht)" userId="1afa8510-4eed-4b73-a29e-678838cd8acd" providerId="ADAL" clId="{B3B9A9FE-3004-43DC-97A3-BA416ED15667}" dt="2023-03-27T11:15:56.319" v="499" actId="478"/>
            <ac:spMkLst>
              <pc:docMk/>
              <pc:sldMasterMk cId="2722686442" sldId="2147484013"/>
              <pc:sldLayoutMk cId="3955269639" sldId="2147484030"/>
              <ac:spMk id="37" creationId="{1F9277E1-AD60-4D2D-BE69-54968C565961}"/>
            </ac:spMkLst>
          </pc:spChg>
          <pc:spChg chg="del mod topLvl">
            <ac:chgData name="Hans Gelissen (DHL SSC Maastricht)" userId="1afa8510-4eed-4b73-a29e-678838cd8acd" providerId="ADAL" clId="{B3B9A9FE-3004-43DC-97A3-BA416ED15667}" dt="2023-03-27T11:27:47.750" v="715" actId="478"/>
            <ac:spMkLst>
              <pc:docMk/>
              <pc:sldMasterMk cId="2722686442" sldId="2147484013"/>
              <pc:sldLayoutMk cId="3955269639" sldId="2147484030"/>
              <ac:spMk id="38" creationId="{7A66D988-2151-4329-8C08-6F69A5983CD3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8:00.859" v="6985" actId="1076"/>
            <ac:spMkLst>
              <pc:docMk/>
              <pc:sldMasterMk cId="2722686442" sldId="2147484013"/>
              <pc:sldLayoutMk cId="3955269639" sldId="2147484030"/>
              <ac:spMk id="39" creationId="{F4C37A8C-9C13-403D-98A5-ED3EBCC2A3EB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8:26.728" v="6994" actId="1076"/>
            <ac:spMkLst>
              <pc:docMk/>
              <pc:sldMasterMk cId="2722686442" sldId="2147484013"/>
              <pc:sldLayoutMk cId="3955269639" sldId="2147484030"/>
              <ac:spMk id="40" creationId="{25C9D10F-2D43-4D07-BEB8-A18337211313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7:32.700" v="6978" actId="1076"/>
            <ac:spMkLst>
              <pc:docMk/>
              <pc:sldMasterMk cId="2722686442" sldId="2147484013"/>
              <pc:sldLayoutMk cId="3955269639" sldId="2147484030"/>
              <ac:spMk id="41" creationId="{81C23BE8-A85B-4D04-A303-F22692644051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8T09:24:24.202" v="5234" actId="166"/>
            <ac:spMkLst>
              <pc:docMk/>
              <pc:sldMasterMk cId="2722686442" sldId="2147484013"/>
              <pc:sldLayoutMk cId="3955269639" sldId="2147484030"/>
              <ac:spMk id="42" creationId="{15935F59-7540-4EB1-9F1A-A8A38EAF3EFF}"/>
            </ac:spMkLst>
          </pc:spChg>
          <pc:spChg chg="del mod topLvl">
            <ac:chgData name="Hans Gelissen (DHL SSC Maastricht)" userId="1afa8510-4eed-4b73-a29e-678838cd8acd" providerId="ADAL" clId="{B3B9A9FE-3004-43DC-97A3-BA416ED15667}" dt="2023-03-27T11:32:21.356" v="777" actId="478"/>
            <ac:spMkLst>
              <pc:docMk/>
              <pc:sldMasterMk cId="2722686442" sldId="2147484013"/>
              <pc:sldLayoutMk cId="3955269639" sldId="2147484030"/>
              <ac:spMk id="43" creationId="{C9F79382-A490-4347-BD3A-C811126212BD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8T09:24:24.202" v="5234" actId="166"/>
            <ac:spMkLst>
              <pc:docMk/>
              <pc:sldMasterMk cId="2722686442" sldId="2147484013"/>
              <pc:sldLayoutMk cId="3955269639" sldId="2147484030"/>
              <ac:spMk id="44" creationId="{AE96ABC9-943B-494C-BDD3-29D11BFD2FCD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7:55.295" v="6984" actId="1076"/>
            <ac:spMkLst>
              <pc:docMk/>
              <pc:sldMasterMk cId="2722686442" sldId="2147484013"/>
              <pc:sldLayoutMk cId="3955269639" sldId="2147484030"/>
              <ac:spMk id="45" creationId="{1940E72F-F248-42F2-A038-151EFC63B08F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8T09:24:24.202" v="5234" actId="166"/>
            <ac:spMkLst>
              <pc:docMk/>
              <pc:sldMasterMk cId="2722686442" sldId="2147484013"/>
              <pc:sldLayoutMk cId="3955269639" sldId="2147484030"/>
              <ac:spMk id="46" creationId="{92798883-BFFF-4991-9CAA-00CB1E41ABA2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20.073" v="551" actId="478"/>
            <ac:spMkLst>
              <pc:docMk/>
              <pc:sldMasterMk cId="2722686442" sldId="2147484013"/>
              <pc:sldLayoutMk cId="3955269639" sldId="2147484030"/>
              <ac:spMk id="47" creationId="{CF19900E-AA59-4BD8-BED9-5B3A8B1B7B74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8:23.966" v="6993" actId="1076"/>
            <ac:spMkLst>
              <pc:docMk/>
              <pc:sldMasterMk cId="2722686442" sldId="2147484013"/>
              <pc:sldLayoutMk cId="3955269639" sldId="2147484030"/>
              <ac:spMk id="48" creationId="{2D2C5879-3C55-4DC0-B03C-2430D0C5D706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6:41.213" v="6975" actId="1076"/>
            <ac:spMkLst>
              <pc:docMk/>
              <pc:sldMasterMk cId="2722686442" sldId="2147484013"/>
              <pc:sldLayoutMk cId="3955269639" sldId="2147484030"/>
              <ac:spMk id="49" creationId="{42B63977-035E-46C4-AC03-909EE08B0910}"/>
            </ac:spMkLst>
          </pc:spChg>
          <pc:spChg chg="del mod topLvl">
            <ac:chgData name="Hans Gelissen (DHL SSC Maastricht)" userId="1afa8510-4eed-4b73-a29e-678838cd8acd" providerId="ADAL" clId="{B3B9A9FE-3004-43DC-97A3-BA416ED15667}" dt="2023-03-27T11:26:44.080" v="695" actId="478"/>
            <ac:spMkLst>
              <pc:docMk/>
              <pc:sldMasterMk cId="2722686442" sldId="2147484013"/>
              <pc:sldLayoutMk cId="3955269639" sldId="2147484030"/>
              <ac:spMk id="50" creationId="{62B25D5A-E766-4459-B691-ACC1CA2CB9CF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6:54.588" v="6976" actId="1076"/>
            <ac:spMkLst>
              <pc:docMk/>
              <pc:sldMasterMk cId="2722686442" sldId="2147484013"/>
              <pc:sldLayoutMk cId="3955269639" sldId="2147484030"/>
              <ac:spMk id="51" creationId="{33313B44-0106-48DD-9E07-D2E149359D3F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8:07.947" v="6988" actId="1076"/>
            <ac:spMkLst>
              <pc:docMk/>
              <pc:sldMasterMk cId="2722686442" sldId="2147484013"/>
              <pc:sldLayoutMk cId="3955269639" sldId="2147484030"/>
              <ac:spMk id="52" creationId="{66D5D31B-C202-4A74-94A2-3B66200FE5C1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8:19.310" v="6991" actId="1076"/>
            <ac:spMkLst>
              <pc:docMk/>
              <pc:sldMasterMk cId="2722686442" sldId="2147484013"/>
              <pc:sldLayoutMk cId="3955269639" sldId="2147484030"/>
              <ac:spMk id="53" creationId="{15AC990D-42E9-4702-BE40-2980E3869393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8:05.138" v="6987" actId="1076"/>
            <ac:spMkLst>
              <pc:docMk/>
              <pc:sldMasterMk cId="2722686442" sldId="2147484013"/>
              <pc:sldLayoutMk cId="3955269639" sldId="2147484030"/>
              <ac:spMk id="54" creationId="{EED895DA-BB9E-41E5-849F-1E1219C5ADB8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8:30.537" v="6995" actId="1076"/>
            <ac:spMkLst>
              <pc:docMk/>
              <pc:sldMasterMk cId="2722686442" sldId="2147484013"/>
              <pc:sldLayoutMk cId="3955269639" sldId="2147484030"/>
              <ac:spMk id="55" creationId="{8EF7759F-047A-476B-881B-E1E25C0EB9D2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06:41.213" v="6975" actId="1076"/>
            <ac:spMkLst>
              <pc:docMk/>
              <pc:sldMasterMk cId="2722686442" sldId="2147484013"/>
              <pc:sldLayoutMk cId="3955269639" sldId="2147484030"/>
              <ac:spMk id="56" creationId="{D230B41B-193B-48F2-9BFE-09D1C6306E5B}"/>
            </ac:spMkLst>
          </pc:spChg>
          <pc:spChg chg="mod topLvl">
            <ac:chgData name="Hans Gelissen (DHL SSC Maastricht)" userId="1afa8510-4eed-4b73-a29e-678838cd8acd" providerId="ADAL" clId="{B3B9A9FE-3004-43DC-97A3-BA416ED15667}" dt="2023-03-29T07:10:00.244" v="7007" actId="1076"/>
            <ac:spMkLst>
              <pc:docMk/>
              <pc:sldMasterMk cId="2722686442" sldId="2147484013"/>
              <pc:sldLayoutMk cId="3955269639" sldId="2147484030"/>
              <ac:spMk id="57" creationId="{4CFA64B8-EE13-40EB-B93E-18A8E9FA30F0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14.669" v="550" actId="478"/>
            <ac:spMkLst>
              <pc:docMk/>
              <pc:sldMasterMk cId="2722686442" sldId="2147484013"/>
              <pc:sldLayoutMk cId="3955269639" sldId="2147484030"/>
              <ac:spMk id="58" creationId="{7FFF5B94-AC14-4346-9E6A-2FCC4868AE02}"/>
            </ac:spMkLst>
          </pc:spChg>
          <pc:spChg chg="add mod">
            <ac:chgData name="Hans Gelissen (DHL SSC Maastricht)" userId="1afa8510-4eed-4b73-a29e-678838cd8acd" providerId="ADAL" clId="{B3B9A9FE-3004-43DC-97A3-BA416ED15667}" dt="2023-03-28T09:24:11.147" v="5233"/>
            <ac:spMkLst>
              <pc:docMk/>
              <pc:sldMasterMk cId="2722686442" sldId="2147484013"/>
              <pc:sldLayoutMk cId="3955269639" sldId="2147484030"/>
              <ac:spMk id="58" creationId="{C2FBE1E5-51E3-4916-BD9B-6CE59EF4F0E8}"/>
            </ac:spMkLst>
          </pc:spChg>
          <pc:spChg chg="del mod">
            <ac:chgData name="Hans Gelissen (DHL SSC Maastricht)" userId="1afa8510-4eed-4b73-a29e-678838cd8acd" providerId="ADAL" clId="{B3B9A9FE-3004-43DC-97A3-BA416ED15667}" dt="2023-03-27T11:18:14.669" v="550" actId="478"/>
            <ac:spMkLst>
              <pc:docMk/>
              <pc:sldMasterMk cId="2722686442" sldId="2147484013"/>
              <pc:sldLayoutMk cId="3955269639" sldId="2147484030"/>
              <ac:spMk id="59" creationId="{4B4175EC-924B-4CDB-A0A3-338299EBD1DD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9:54.654" v="7006" actId="1076"/>
            <ac:spMkLst>
              <pc:docMk/>
              <pc:sldMasterMk cId="2722686442" sldId="2147484013"/>
              <pc:sldLayoutMk cId="3955269639" sldId="2147484030"/>
              <ac:spMk id="60" creationId="{DC338880-A006-4A14-B205-694EE9C91695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9:54.654" v="7006" actId="1076"/>
            <ac:spMkLst>
              <pc:docMk/>
              <pc:sldMasterMk cId="2722686442" sldId="2147484013"/>
              <pc:sldLayoutMk cId="3955269639" sldId="2147484030"/>
              <ac:spMk id="61" creationId="{4BC2AB74-B2BB-499C-8696-DE5C2C43E3CF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7:32.700" v="6978" actId="1076"/>
            <ac:spMkLst>
              <pc:docMk/>
              <pc:sldMasterMk cId="2722686442" sldId="2147484013"/>
              <pc:sldLayoutMk cId="3955269639" sldId="2147484030"/>
              <ac:spMk id="62" creationId="{FCA0FFD6-6573-4CD8-8321-B2DFFE62BE1E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7:32.700" v="6978" actId="1076"/>
            <ac:spMkLst>
              <pc:docMk/>
              <pc:sldMasterMk cId="2722686442" sldId="2147484013"/>
              <pc:sldLayoutMk cId="3955269639" sldId="2147484030"/>
              <ac:spMk id="63" creationId="{A56E40A5-706D-4626-ACA4-D99B453E739F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7:22.287" v="6977" actId="1076"/>
            <ac:spMkLst>
              <pc:docMk/>
              <pc:sldMasterMk cId="2722686442" sldId="2147484013"/>
              <pc:sldLayoutMk cId="3955269639" sldId="2147484030"/>
              <ac:spMk id="64" creationId="{3DFBE54F-D8B9-4592-AB47-6B7F9B7D7088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7:22.287" v="6977" actId="1076"/>
            <ac:spMkLst>
              <pc:docMk/>
              <pc:sldMasterMk cId="2722686442" sldId="2147484013"/>
              <pc:sldLayoutMk cId="3955269639" sldId="2147484030"/>
              <ac:spMk id="65" creationId="{92EC2A0B-AA98-468B-A44B-EFAEC6418092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6:41.213" v="6975" actId="1076"/>
            <ac:spMkLst>
              <pc:docMk/>
              <pc:sldMasterMk cId="2722686442" sldId="2147484013"/>
              <pc:sldLayoutMk cId="3955269639" sldId="2147484030"/>
              <ac:spMk id="66" creationId="{B5BD4833-9D9B-4F72-961A-AD68F7A957B7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6:41.213" v="6975" actId="1076"/>
            <ac:spMkLst>
              <pc:docMk/>
              <pc:sldMasterMk cId="2722686442" sldId="2147484013"/>
              <pc:sldLayoutMk cId="3955269639" sldId="2147484030"/>
              <ac:spMk id="67" creationId="{8DDE5A79-B066-4343-9D26-F43545FFE17C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6:54.588" v="6976" actId="1076"/>
            <ac:spMkLst>
              <pc:docMk/>
              <pc:sldMasterMk cId="2722686442" sldId="2147484013"/>
              <pc:sldLayoutMk cId="3955269639" sldId="2147484030"/>
              <ac:spMk id="68" creationId="{99BFD5C5-51D6-4B5D-811E-39A20A057922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6:54.588" v="6976" actId="1076"/>
            <ac:spMkLst>
              <pc:docMk/>
              <pc:sldMasterMk cId="2722686442" sldId="2147484013"/>
              <pc:sldLayoutMk cId="3955269639" sldId="2147484030"/>
              <ac:spMk id="69" creationId="{568C17CA-755F-446C-9CC4-F4E7C1514384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11:50.450" v="7011" actId="1076"/>
            <ac:spMkLst>
              <pc:docMk/>
              <pc:sldMasterMk cId="2722686442" sldId="2147484013"/>
              <pc:sldLayoutMk cId="3955269639" sldId="2147484030"/>
              <ac:spMk id="70" creationId="{02D6D773-13E3-4565-9D85-FEFF00243877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7:32.700" v="6978" actId="1076"/>
            <ac:spMkLst>
              <pc:docMk/>
              <pc:sldMasterMk cId="2722686442" sldId="2147484013"/>
              <pc:sldLayoutMk cId="3955269639" sldId="2147484030"/>
              <ac:spMk id="71" creationId="{C0D67C9E-7AF7-488D-B988-1AF373BD7E57}"/>
            </ac:spMkLst>
          </pc:spChg>
          <pc:spChg chg="add del mod">
            <ac:chgData name="Hans Gelissen (DHL SSC Maastricht)" userId="1afa8510-4eed-4b73-a29e-678838cd8acd" providerId="ADAL" clId="{B3B9A9FE-3004-43DC-97A3-BA416ED15667}" dt="2023-03-27T11:24:14.810" v="663"/>
            <ac:spMkLst>
              <pc:docMk/>
              <pc:sldMasterMk cId="2722686442" sldId="2147484013"/>
              <pc:sldLayoutMk cId="3955269639" sldId="2147484030"/>
              <ac:spMk id="72" creationId="{AE3DCDA1-BF03-4777-9580-2B37DF743DA8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7:22.287" v="6977" actId="1076"/>
            <ac:spMkLst>
              <pc:docMk/>
              <pc:sldMasterMk cId="2722686442" sldId="2147484013"/>
              <pc:sldLayoutMk cId="3955269639" sldId="2147484030"/>
              <ac:spMk id="73" creationId="{A869EE34-9FB5-43CA-948A-BE260AC92CB7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6:54.588" v="6976" actId="1076"/>
            <ac:spMkLst>
              <pc:docMk/>
              <pc:sldMasterMk cId="2722686442" sldId="2147484013"/>
              <pc:sldLayoutMk cId="3955269639" sldId="2147484030"/>
              <ac:spMk id="74" creationId="{3CFEE98C-0151-4635-B499-268B69AEE7DC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6:41.213" v="6975" actId="1076"/>
            <ac:spMkLst>
              <pc:docMk/>
              <pc:sldMasterMk cId="2722686442" sldId="2147484013"/>
              <pc:sldLayoutMk cId="3955269639" sldId="2147484030"/>
              <ac:spMk id="75" creationId="{0E5F35A7-B8DB-4125-A90F-A5B21BC860CB}"/>
            </ac:spMkLst>
          </pc:spChg>
          <pc:spChg chg="add mod">
            <ac:chgData name="Hans Gelissen (DHL SSC Maastricht)" userId="1afa8510-4eed-4b73-a29e-678838cd8acd" providerId="ADAL" clId="{B3B9A9FE-3004-43DC-97A3-BA416ED15667}" dt="2023-03-28T09:24:24.202" v="5234" actId="166"/>
            <ac:spMkLst>
              <pc:docMk/>
              <pc:sldMasterMk cId="2722686442" sldId="2147484013"/>
              <pc:sldLayoutMk cId="3955269639" sldId="2147484030"/>
              <ac:spMk id="76" creationId="{37AD8ADE-46E3-47CC-8E0C-18998F618CDC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6:28.512" v="6974" actId="1076"/>
            <ac:spMkLst>
              <pc:docMk/>
              <pc:sldMasterMk cId="2722686442" sldId="2147484013"/>
              <pc:sldLayoutMk cId="3955269639" sldId="2147484030"/>
              <ac:spMk id="78" creationId="{1E4BA902-2F35-4DC4-9085-CC337F5C25B2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7:32.700" v="6978" actId="1076"/>
            <ac:spMkLst>
              <pc:docMk/>
              <pc:sldMasterMk cId="2722686442" sldId="2147484013"/>
              <pc:sldLayoutMk cId="3955269639" sldId="2147484030"/>
              <ac:spMk id="80" creationId="{568C1C1B-B5FA-4475-AE08-16084E9B8472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7:32.700" v="6978" actId="1076"/>
            <ac:spMkLst>
              <pc:docMk/>
              <pc:sldMasterMk cId="2722686442" sldId="2147484013"/>
              <pc:sldLayoutMk cId="3955269639" sldId="2147484030"/>
              <ac:spMk id="81" creationId="{9485EC79-8030-4D5F-A6F0-192640D9BA3A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7:22.287" v="6977" actId="1076"/>
            <ac:spMkLst>
              <pc:docMk/>
              <pc:sldMasterMk cId="2722686442" sldId="2147484013"/>
              <pc:sldLayoutMk cId="3955269639" sldId="2147484030"/>
              <ac:spMk id="82" creationId="{114060D3-034B-47E3-A288-BC5418B411B5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9:54.654" v="7006" actId="1076"/>
            <ac:spMkLst>
              <pc:docMk/>
              <pc:sldMasterMk cId="2722686442" sldId="2147484013"/>
              <pc:sldLayoutMk cId="3955269639" sldId="2147484030"/>
              <ac:spMk id="83" creationId="{4A5BD4DB-2C4D-43E8-839A-EE36B9219A4C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6:54.588" v="6976" actId="1076"/>
            <ac:spMkLst>
              <pc:docMk/>
              <pc:sldMasterMk cId="2722686442" sldId="2147484013"/>
              <pc:sldLayoutMk cId="3955269639" sldId="2147484030"/>
              <ac:spMk id="84" creationId="{90B95753-9A76-4A4A-A0DA-7B8CA935D426}"/>
            </ac:spMkLst>
          </pc:spChg>
          <pc:spChg chg="add mod">
            <ac:chgData name="Hans Gelissen (DHL SSC Maastricht)" userId="1afa8510-4eed-4b73-a29e-678838cd8acd" providerId="ADAL" clId="{B3B9A9FE-3004-43DC-97A3-BA416ED15667}" dt="2023-03-29T07:06:41.213" v="6975" actId="1076"/>
            <ac:spMkLst>
              <pc:docMk/>
              <pc:sldMasterMk cId="2722686442" sldId="2147484013"/>
              <pc:sldLayoutMk cId="3955269639" sldId="2147484030"/>
              <ac:spMk id="85" creationId="{764C3636-BD60-405C-B3C7-F9DBA0A595C3}"/>
            </ac:spMkLst>
          </pc:spChg>
          <pc:grpChg chg="add del mod">
            <ac:chgData name="Hans Gelissen (DHL SSC Maastricht)" userId="1afa8510-4eed-4b73-a29e-678838cd8acd" providerId="ADAL" clId="{B3B9A9FE-3004-43DC-97A3-BA416ED15667}" dt="2023-03-27T11:25:41.312" v="680" actId="165"/>
            <ac:grpSpMkLst>
              <pc:docMk/>
              <pc:sldMasterMk cId="2722686442" sldId="2147484013"/>
              <pc:sldLayoutMk cId="3955269639" sldId="2147484030"/>
              <ac:grpSpMk id="10" creationId="{1D8F99BA-3186-4CFD-8E26-6EF61A67BA35}"/>
            </ac:grpSpMkLst>
          </pc:grpChg>
          <pc:picChg chg="mod modCrop">
            <ac:chgData name="Hans Gelissen (DHL SSC Maastricht)" userId="1afa8510-4eed-4b73-a29e-678838cd8acd" providerId="ADAL" clId="{B3B9A9FE-3004-43DC-97A3-BA416ED15667}" dt="2023-03-28T09:24:24.202" v="5234" actId="166"/>
            <ac:picMkLst>
              <pc:docMk/>
              <pc:sldMasterMk cId="2722686442" sldId="2147484013"/>
              <pc:sldLayoutMk cId="3955269639" sldId="2147484030"/>
              <ac:picMk id="32" creationId="{1E14698F-2DFE-4ABC-8776-F961CD13BF3C}"/>
            </ac:picMkLst>
          </pc:picChg>
          <pc:picChg chg="add del mod">
            <ac:chgData name="Hans Gelissen (DHL SSC Maastricht)" userId="1afa8510-4eed-4b73-a29e-678838cd8acd" providerId="ADAL" clId="{B3B9A9FE-3004-43DC-97A3-BA416ED15667}" dt="2023-03-27T11:28:06.771" v="718" actId="478"/>
            <ac:picMkLst>
              <pc:docMk/>
              <pc:sldMasterMk cId="2722686442" sldId="2147484013"/>
              <pc:sldLayoutMk cId="3955269639" sldId="2147484030"/>
              <ac:picMk id="77" creationId="{8780E50C-08F1-493A-A702-521C678C8195}"/>
            </ac:picMkLst>
          </pc:picChg>
          <pc:picChg chg="add mod">
            <ac:chgData name="Hans Gelissen (DHL SSC Maastricht)" userId="1afa8510-4eed-4b73-a29e-678838cd8acd" providerId="ADAL" clId="{B3B9A9FE-3004-43DC-97A3-BA416ED15667}" dt="2023-03-29T07:06:28.512" v="6974" actId="1076"/>
            <ac:picMkLst>
              <pc:docMk/>
              <pc:sldMasterMk cId="2722686442" sldId="2147484013"/>
              <pc:sldLayoutMk cId="3955269639" sldId="2147484030"/>
              <ac:picMk id="79" creationId="{7D47235C-7BEA-4D47-B34A-A486AFAA160D}"/>
            </ac:picMkLst>
          </pc:picChg>
        </pc:sldLayoutChg>
      </pc:sldMasterChg>
    </pc:docChg>
  </pc:docChgLst>
  <pc:docChgLst>
    <pc:chgData name="Hans Gelissen (DHL SSC Maastricht)" userId="1afa8510-4eed-4b73-a29e-678838cd8acd" providerId="ADAL" clId="{1DAFC12C-989F-4F83-A534-DCC02FD7D8E1}"/>
    <pc:docChg chg="undo custSel addSld delSld modSld modMainMaster">
      <pc:chgData name="Hans Gelissen (DHL SSC Maastricht)" userId="1afa8510-4eed-4b73-a29e-678838cd8acd" providerId="ADAL" clId="{1DAFC12C-989F-4F83-A534-DCC02FD7D8E1}" dt="2023-04-19T10:16:12.345" v="4320" actId="14100"/>
      <pc:docMkLst>
        <pc:docMk/>
      </pc:docMkLst>
      <pc:sldChg chg="mod modShow modNotesTx">
        <pc:chgData name="Hans Gelissen (DHL SSC Maastricht)" userId="1afa8510-4eed-4b73-a29e-678838cd8acd" providerId="ADAL" clId="{1DAFC12C-989F-4F83-A534-DCC02FD7D8E1}" dt="2023-04-18T13:50:43.403" v="3501" actId="729"/>
        <pc:sldMkLst>
          <pc:docMk/>
          <pc:sldMk cId="3019530908" sldId="290"/>
        </pc:sldMkLst>
      </pc:sldChg>
      <pc:sldChg chg="modSp mod">
        <pc:chgData name="Hans Gelissen (DHL SSC Maastricht)" userId="1afa8510-4eed-4b73-a29e-678838cd8acd" providerId="ADAL" clId="{1DAFC12C-989F-4F83-A534-DCC02FD7D8E1}" dt="2023-04-18T10:51:28.455" v="752" actId="255"/>
        <pc:sldMkLst>
          <pc:docMk/>
          <pc:sldMk cId="2805156081" sldId="293"/>
        </pc:sldMkLst>
        <pc:spChg chg="mod">
          <ac:chgData name="Hans Gelissen (DHL SSC Maastricht)" userId="1afa8510-4eed-4b73-a29e-678838cd8acd" providerId="ADAL" clId="{1DAFC12C-989F-4F83-A534-DCC02FD7D8E1}" dt="2023-04-18T10:51:28.455" v="752" actId="255"/>
          <ac:spMkLst>
            <pc:docMk/>
            <pc:sldMk cId="2805156081" sldId="293"/>
            <ac:spMk id="6" creationId="{9674225D-D6D6-474B-9177-B95FCC14C97B}"/>
          </ac:spMkLst>
        </pc:spChg>
      </pc:sldChg>
      <pc:sldChg chg="modSp mod">
        <pc:chgData name="Hans Gelissen (DHL SSC Maastricht)" userId="1afa8510-4eed-4b73-a29e-678838cd8acd" providerId="ADAL" clId="{1DAFC12C-989F-4F83-A534-DCC02FD7D8E1}" dt="2023-04-18T10:54:15.788" v="846" actId="1076"/>
        <pc:sldMkLst>
          <pc:docMk/>
          <pc:sldMk cId="1135528617" sldId="296"/>
        </pc:sldMkLst>
        <pc:spChg chg="mod">
          <ac:chgData name="Hans Gelissen (DHL SSC Maastricht)" userId="1afa8510-4eed-4b73-a29e-678838cd8acd" providerId="ADAL" clId="{1DAFC12C-989F-4F83-A534-DCC02FD7D8E1}" dt="2023-04-18T10:54:15.788" v="846" actId="1076"/>
          <ac:spMkLst>
            <pc:docMk/>
            <pc:sldMk cId="1135528617" sldId="296"/>
            <ac:spMk id="4" creationId="{F10C7799-15C3-45A7-8D3A-0D155F99E824}"/>
          </ac:spMkLst>
        </pc:spChg>
      </pc:sldChg>
      <pc:sldChg chg="modSp mod">
        <pc:chgData name="Hans Gelissen (DHL SSC Maastricht)" userId="1afa8510-4eed-4b73-a29e-678838cd8acd" providerId="ADAL" clId="{1DAFC12C-989F-4F83-A534-DCC02FD7D8E1}" dt="2023-04-18T10:53:37.164" v="845" actId="20577"/>
        <pc:sldMkLst>
          <pc:docMk/>
          <pc:sldMk cId="881367480" sldId="297"/>
        </pc:sldMkLst>
        <pc:spChg chg="mod">
          <ac:chgData name="Hans Gelissen (DHL SSC Maastricht)" userId="1afa8510-4eed-4b73-a29e-678838cd8acd" providerId="ADAL" clId="{1DAFC12C-989F-4F83-A534-DCC02FD7D8E1}" dt="2023-04-18T10:53:37.164" v="845" actId="20577"/>
          <ac:spMkLst>
            <pc:docMk/>
            <pc:sldMk cId="881367480" sldId="297"/>
            <ac:spMk id="8" creationId="{ECEAB483-8E21-42CC-870F-BE6C52E578DB}"/>
          </ac:spMkLst>
        </pc:spChg>
      </pc:sldChg>
      <pc:sldChg chg="addSp delSp modSp mod">
        <pc:chgData name="Hans Gelissen (DHL SSC Maastricht)" userId="1afa8510-4eed-4b73-a29e-678838cd8acd" providerId="ADAL" clId="{1DAFC12C-989F-4F83-A534-DCC02FD7D8E1}" dt="2023-04-18T13:59:36.458" v="3534" actId="1038"/>
        <pc:sldMkLst>
          <pc:docMk/>
          <pc:sldMk cId="1293387884" sldId="298"/>
        </pc:sldMkLst>
        <pc:spChg chg="mod">
          <ac:chgData name="Hans Gelissen (DHL SSC Maastricht)" userId="1afa8510-4eed-4b73-a29e-678838cd8acd" providerId="ADAL" clId="{1DAFC12C-989F-4F83-A534-DCC02FD7D8E1}" dt="2023-04-18T13:54:00.789" v="3504" actId="1076"/>
          <ac:spMkLst>
            <pc:docMk/>
            <pc:sldMk cId="1293387884" sldId="298"/>
            <ac:spMk id="2" creationId="{861444EB-F7AC-4C40-8F0E-916778EE475D}"/>
          </ac:spMkLst>
        </pc:spChg>
        <pc:spChg chg="mod">
          <ac:chgData name="Hans Gelissen (DHL SSC Maastricht)" userId="1afa8510-4eed-4b73-a29e-678838cd8acd" providerId="ADAL" clId="{1DAFC12C-989F-4F83-A534-DCC02FD7D8E1}" dt="2023-04-18T13:58:04.105" v="3514" actId="1076"/>
          <ac:spMkLst>
            <pc:docMk/>
            <pc:sldMk cId="1293387884" sldId="298"/>
            <ac:spMk id="7" creationId="{7907D7F3-ADC0-476D-9191-FC698776F353}"/>
          </ac:spMkLst>
        </pc:spChg>
        <pc:spChg chg="mod">
          <ac:chgData name="Hans Gelissen (DHL SSC Maastricht)" userId="1afa8510-4eed-4b73-a29e-678838cd8acd" providerId="ADAL" clId="{1DAFC12C-989F-4F83-A534-DCC02FD7D8E1}" dt="2023-04-18T13:58:12.104" v="3517" actId="1076"/>
          <ac:spMkLst>
            <pc:docMk/>
            <pc:sldMk cId="1293387884" sldId="298"/>
            <ac:spMk id="8" creationId="{64B0967B-D574-445A-89C7-B8DD951B1EDF}"/>
          </ac:spMkLst>
        </pc:spChg>
        <pc:picChg chg="add mod">
          <ac:chgData name="Hans Gelissen (DHL SSC Maastricht)" userId="1afa8510-4eed-4b73-a29e-678838cd8acd" providerId="ADAL" clId="{1DAFC12C-989F-4F83-A534-DCC02FD7D8E1}" dt="2023-04-18T13:57:48.982" v="3509" actId="1076"/>
          <ac:picMkLst>
            <pc:docMk/>
            <pc:sldMk cId="1293387884" sldId="298"/>
            <ac:picMk id="1026" creationId="{100ED7C3-18F3-1874-E90A-47B89FA7E8B5}"/>
          </ac:picMkLst>
        </pc:picChg>
        <pc:picChg chg="add del mod">
          <ac:chgData name="Hans Gelissen (DHL SSC Maastricht)" userId="1afa8510-4eed-4b73-a29e-678838cd8acd" providerId="ADAL" clId="{1DAFC12C-989F-4F83-A534-DCC02FD7D8E1}" dt="2023-04-18T13:59:20.324" v="3524" actId="478"/>
          <ac:picMkLst>
            <pc:docMk/>
            <pc:sldMk cId="1293387884" sldId="298"/>
            <ac:picMk id="1028" creationId="{AADE5EA9-2F31-0C64-020B-AC536D5D10A4}"/>
          </ac:picMkLst>
        </pc:picChg>
        <pc:picChg chg="add mod">
          <ac:chgData name="Hans Gelissen (DHL SSC Maastricht)" userId="1afa8510-4eed-4b73-a29e-678838cd8acd" providerId="ADAL" clId="{1DAFC12C-989F-4F83-A534-DCC02FD7D8E1}" dt="2023-04-18T13:59:36.458" v="3534" actId="1038"/>
          <ac:picMkLst>
            <pc:docMk/>
            <pc:sldMk cId="1293387884" sldId="298"/>
            <ac:picMk id="1030" creationId="{17BB8793-79E6-103C-F3F2-A93CF8893059}"/>
          </ac:picMkLst>
        </pc:picChg>
      </pc:sldChg>
      <pc:sldChg chg="addSp delSp modSp">
        <pc:chgData name="Hans Gelissen (DHL SSC Maastricht)" userId="1afa8510-4eed-4b73-a29e-678838cd8acd" providerId="ADAL" clId="{1DAFC12C-989F-4F83-A534-DCC02FD7D8E1}" dt="2023-04-18T14:00:46.796" v="3542" actId="478"/>
        <pc:sldMkLst>
          <pc:docMk/>
          <pc:sldMk cId="1438127617" sldId="299"/>
        </pc:sldMkLst>
        <pc:picChg chg="add del mod">
          <ac:chgData name="Hans Gelissen (DHL SSC Maastricht)" userId="1afa8510-4eed-4b73-a29e-678838cd8acd" providerId="ADAL" clId="{1DAFC12C-989F-4F83-A534-DCC02FD7D8E1}" dt="2023-04-18T14:00:46.796" v="3542" actId="478"/>
          <ac:picMkLst>
            <pc:docMk/>
            <pc:sldMk cId="1438127617" sldId="299"/>
            <ac:picMk id="3" creationId="{2C55FF9B-6099-B055-769E-72CD0DFD3183}"/>
          </ac:picMkLst>
        </pc:picChg>
      </pc:sldChg>
      <pc:sldChg chg="addSp delSp modSp">
        <pc:chgData name="Hans Gelissen (DHL SSC Maastricht)" userId="1afa8510-4eed-4b73-a29e-678838cd8acd" providerId="ADAL" clId="{1DAFC12C-989F-4F83-A534-DCC02FD7D8E1}" dt="2023-04-18T14:00:40.274" v="3541" actId="478"/>
        <pc:sldMkLst>
          <pc:docMk/>
          <pc:sldMk cId="1321327356" sldId="300"/>
        </pc:sldMkLst>
        <pc:picChg chg="add del mod">
          <ac:chgData name="Hans Gelissen (DHL SSC Maastricht)" userId="1afa8510-4eed-4b73-a29e-678838cd8acd" providerId="ADAL" clId="{1DAFC12C-989F-4F83-A534-DCC02FD7D8E1}" dt="2023-04-18T14:00:40.274" v="3541" actId="478"/>
          <ac:picMkLst>
            <pc:docMk/>
            <pc:sldMk cId="1321327356" sldId="300"/>
            <ac:picMk id="3" creationId="{A4C04835-54CB-473D-E57B-DFED57990A0D}"/>
          </ac:picMkLst>
        </pc:picChg>
      </pc:sldChg>
      <pc:sldChg chg="modSp mod">
        <pc:chgData name="Hans Gelissen (DHL SSC Maastricht)" userId="1afa8510-4eed-4b73-a29e-678838cd8acd" providerId="ADAL" clId="{1DAFC12C-989F-4F83-A534-DCC02FD7D8E1}" dt="2023-04-19T09:11:20.137" v="3678" actId="242"/>
        <pc:sldMkLst>
          <pc:docMk/>
          <pc:sldMk cId="2960814601" sldId="302"/>
        </pc:sldMkLst>
        <pc:spChg chg="mod">
          <ac:chgData name="Hans Gelissen (DHL SSC Maastricht)" userId="1afa8510-4eed-4b73-a29e-678838cd8acd" providerId="ADAL" clId="{1DAFC12C-989F-4F83-A534-DCC02FD7D8E1}" dt="2023-04-19T09:11:20.137" v="3678" actId="242"/>
          <ac:spMkLst>
            <pc:docMk/>
            <pc:sldMk cId="2960814601" sldId="302"/>
            <ac:spMk id="3" creationId="{2845D939-7D68-4056-8EB6-EFEBBF033983}"/>
          </ac:spMkLst>
        </pc:spChg>
        <pc:spChg chg="mod">
          <ac:chgData name="Hans Gelissen (DHL SSC Maastricht)" userId="1afa8510-4eed-4b73-a29e-678838cd8acd" providerId="ADAL" clId="{1DAFC12C-989F-4F83-A534-DCC02FD7D8E1}" dt="2023-04-19T09:11:20.137" v="3678" actId="242"/>
          <ac:spMkLst>
            <pc:docMk/>
            <pc:sldMk cId="2960814601" sldId="302"/>
            <ac:spMk id="4" creationId="{47720654-F888-45E1-9242-29948F76B6A7}"/>
          </ac:spMkLst>
        </pc:spChg>
        <pc:spChg chg="mod">
          <ac:chgData name="Hans Gelissen (DHL SSC Maastricht)" userId="1afa8510-4eed-4b73-a29e-678838cd8acd" providerId="ADAL" clId="{1DAFC12C-989F-4F83-A534-DCC02FD7D8E1}" dt="2023-04-19T09:11:20.137" v="3678" actId="242"/>
          <ac:spMkLst>
            <pc:docMk/>
            <pc:sldMk cId="2960814601" sldId="302"/>
            <ac:spMk id="5" creationId="{F0FF4FBE-514E-4D95-97C3-EF9017D48640}"/>
          </ac:spMkLst>
        </pc:spChg>
        <pc:spChg chg="mod">
          <ac:chgData name="Hans Gelissen (DHL SSC Maastricht)" userId="1afa8510-4eed-4b73-a29e-678838cd8acd" providerId="ADAL" clId="{1DAFC12C-989F-4F83-A534-DCC02FD7D8E1}" dt="2023-04-19T09:11:20.137" v="3678" actId="242"/>
          <ac:spMkLst>
            <pc:docMk/>
            <pc:sldMk cId="2960814601" sldId="302"/>
            <ac:spMk id="6" creationId="{B8675208-6A3C-4927-8A05-00F234424240}"/>
          </ac:spMkLst>
        </pc:spChg>
        <pc:spChg chg="mod">
          <ac:chgData name="Hans Gelissen (DHL SSC Maastricht)" userId="1afa8510-4eed-4b73-a29e-678838cd8acd" providerId="ADAL" clId="{1DAFC12C-989F-4F83-A534-DCC02FD7D8E1}" dt="2023-04-19T09:11:20.137" v="3678" actId="242"/>
          <ac:spMkLst>
            <pc:docMk/>
            <pc:sldMk cId="2960814601" sldId="302"/>
            <ac:spMk id="7" creationId="{9296C8DD-965B-4061-8AAE-C34AB1B85AF6}"/>
          </ac:spMkLst>
        </pc:spChg>
        <pc:spChg chg="mod">
          <ac:chgData name="Hans Gelissen (DHL SSC Maastricht)" userId="1afa8510-4eed-4b73-a29e-678838cd8acd" providerId="ADAL" clId="{1DAFC12C-989F-4F83-A534-DCC02FD7D8E1}" dt="2023-04-19T09:11:11.682" v="3677" actId="242"/>
          <ac:spMkLst>
            <pc:docMk/>
            <pc:sldMk cId="2960814601" sldId="302"/>
            <ac:spMk id="9" creationId="{6FE85D52-FFDA-43BA-BFE6-A41AC683ABE7}"/>
          </ac:spMkLst>
        </pc:spChg>
        <pc:spChg chg="mod">
          <ac:chgData name="Hans Gelissen (DHL SSC Maastricht)" userId="1afa8510-4eed-4b73-a29e-678838cd8acd" providerId="ADAL" clId="{1DAFC12C-989F-4F83-A534-DCC02FD7D8E1}" dt="2023-04-19T09:11:20.137" v="3678" actId="242"/>
          <ac:spMkLst>
            <pc:docMk/>
            <pc:sldMk cId="2960814601" sldId="302"/>
            <ac:spMk id="10" creationId="{7EE21BA4-1447-4B72-A5A7-C5A783615955}"/>
          </ac:spMkLst>
        </pc:spChg>
        <pc:spChg chg="mod">
          <ac:chgData name="Hans Gelissen (DHL SSC Maastricht)" userId="1afa8510-4eed-4b73-a29e-678838cd8acd" providerId="ADAL" clId="{1DAFC12C-989F-4F83-A534-DCC02FD7D8E1}" dt="2023-04-19T09:11:20.137" v="3678" actId="242"/>
          <ac:spMkLst>
            <pc:docMk/>
            <pc:sldMk cId="2960814601" sldId="302"/>
            <ac:spMk id="11" creationId="{B42AA35B-2BF3-44CD-8F02-B4231B570CDD}"/>
          </ac:spMkLst>
        </pc:spChg>
        <pc:spChg chg="mod">
          <ac:chgData name="Hans Gelissen (DHL SSC Maastricht)" userId="1afa8510-4eed-4b73-a29e-678838cd8acd" providerId="ADAL" clId="{1DAFC12C-989F-4F83-A534-DCC02FD7D8E1}" dt="2023-04-19T09:11:20.137" v="3678" actId="242"/>
          <ac:spMkLst>
            <pc:docMk/>
            <pc:sldMk cId="2960814601" sldId="302"/>
            <ac:spMk id="12" creationId="{45E0EFC1-46CE-4C41-B7B7-4089F1BA6884}"/>
          </ac:spMkLst>
        </pc:spChg>
      </pc:sldChg>
      <pc:sldChg chg="modSp mod">
        <pc:chgData name="Hans Gelissen (DHL SSC Maastricht)" userId="1afa8510-4eed-4b73-a29e-678838cd8acd" providerId="ADAL" clId="{1DAFC12C-989F-4F83-A534-DCC02FD7D8E1}" dt="2023-04-18T12:56:38.060" v="847" actId="404"/>
        <pc:sldMkLst>
          <pc:docMk/>
          <pc:sldMk cId="3703085558" sldId="315"/>
        </pc:sldMkLst>
        <pc:spChg chg="mod">
          <ac:chgData name="Hans Gelissen (DHL SSC Maastricht)" userId="1afa8510-4eed-4b73-a29e-678838cd8acd" providerId="ADAL" clId="{1DAFC12C-989F-4F83-A534-DCC02FD7D8E1}" dt="2023-04-18T12:56:38.060" v="847" actId="404"/>
          <ac:spMkLst>
            <pc:docMk/>
            <pc:sldMk cId="3703085558" sldId="315"/>
            <ac:spMk id="6" creationId="{BA82EB73-1F99-49CD-9D9E-0460A6A401DC}"/>
          </ac:spMkLst>
        </pc:spChg>
      </pc:sldChg>
      <pc:sldChg chg="mod modClrScheme chgLayout">
        <pc:chgData name="Hans Gelissen (DHL SSC Maastricht)" userId="1afa8510-4eed-4b73-a29e-678838cd8acd" providerId="ADAL" clId="{1DAFC12C-989F-4F83-A534-DCC02FD7D8E1}" dt="2023-04-18T13:02:12.100" v="1005" actId="700"/>
        <pc:sldMkLst>
          <pc:docMk/>
          <pc:sldMk cId="1458011321" sldId="317"/>
        </pc:sldMkLst>
      </pc:sldChg>
      <pc:sldChg chg="modSp mod">
        <pc:chgData name="Hans Gelissen (DHL SSC Maastricht)" userId="1afa8510-4eed-4b73-a29e-678838cd8acd" providerId="ADAL" clId="{1DAFC12C-989F-4F83-A534-DCC02FD7D8E1}" dt="2023-04-18T13:17:01.677" v="1714" actId="20577"/>
        <pc:sldMkLst>
          <pc:docMk/>
          <pc:sldMk cId="3339699968" sldId="318"/>
        </pc:sldMkLst>
        <pc:spChg chg="mod">
          <ac:chgData name="Hans Gelissen (DHL SSC Maastricht)" userId="1afa8510-4eed-4b73-a29e-678838cd8acd" providerId="ADAL" clId="{1DAFC12C-989F-4F83-A534-DCC02FD7D8E1}" dt="2023-04-18T13:15:14.119" v="1595" actId="20577"/>
          <ac:spMkLst>
            <pc:docMk/>
            <pc:sldMk cId="3339699968" sldId="318"/>
            <ac:spMk id="11" creationId="{E4C8E1B1-827D-4A7F-9FBA-06E709AFBA66}"/>
          </ac:spMkLst>
        </pc:spChg>
        <pc:spChg chg="mod">
          <ac:chgData name="Hans Gelissen (DHL SSC Maastricht)" userId="1afa8510-4eed-4b73-a29e-678838cd8acd" providerId="ADAL" clId="{1DAFC12C-989F-4F83-A534-DCC02FD7D8E1}" dt="2023-04-18T13:10:33.589" v="1333" actId="20577"/>
          <ac:spMkLst>
            <pc:docMk/>
            <pc:sldMk cId="3339699968" sldId="318"/>
            <ac:spMk id="13" creationId="{157B60F2-7B1B-4B19-A9ED-7345F3EF8BD7}"/>
          </ac:spMkLst>
        </pc:spChg>
        <pc:spChg chg="mod">
          <ac:chgData name="Hans Gelissen (DHL SSC Maastricht)" userId="1afa8510-4eed-4b73-a29e-678838cd8acd" providerId="ADAL" clId="{1DAFC12C-989F-4F83-A534-DCC02FD7D8E1}" dt="2023-04-18T13:15:33.080" v="1605" actId="20577"/>
          <ac:spMkLst>
            <pc:docMk/>
            <pc:sldMk cId="3339699968" sldId="318"/>
            <ac:spMk id="15" creationId="{22C2C265-4BB5-4B08-88AE-87608CD2D456}"/>
          </ac:spMkLst>
        </pc:spChg>
        <pc:spChg chg="mod">
          <ac:chgData name="Hans Gelissen (DHL SSC Maastricht)" userId="1afa8510-4eed-4b73-a29e-678838cd8acd" providerId="ADAL" clId="{1DAFC12C-989F-4F83-A534-DCC02FD7D8E1}" dt="2023-04-18T13:17:01.677" v="1714" actId="20577"/>
          <ac:spMkLst>
            <pc:docMk/>
            <pc:sldMk cId="3339699968" sldId="318"/>
            <ac:spMk id="17" creationId="{D017B54E-4E4A-4836-927C-0E72B871F080}"/>
          </ac:spMkLst>
        </pc:spChg>
      </pc:sldChg>
      <pc:sldChg chg="modSp mod modClrScheme chgLayout">
        <pc:chgData name="Hans Gelissen (DHL SSC Maastricht)" userId="1afa8510-4eed-4b73-a29e-678838cd8acd" providerId="ADAL" clId="{1DAFC12C-989F-4F83-A534-DCC02FD7D8E1}" dt="2023-04-18T13:02:15.053" v="1007" actId="700"/>
        <pc:sldMkLst>
          <pc:docMk/>
          <pc:sldMk cId="3989320898" sldId="319"/>
        </pc:sldMkLst>
        <pc:spChg chg="mod ord">
          <ac:chgData name="Hans Gelissen (DHL SSC Maastricht)" userId="1afa8510-4eed-4b73-a29e-678838cd8acd" providerId="ADAL" clId="{1DAFC12C-989F-4F83-A534-DCC02FD7D8E1}" dt="2023-04-18T13:02:15.053" v="1007" actId="700"/>
          <ac:spMkLst>
            <pc:docMk/>
            <pc:sldMk cId="3989320898" sldId="319"/>
            <ac:spMk id="5" creationId="{EEC2B079-AF08-4CCE-8B62-C3C73831C513}"/>
          </ac:spMkLst>
        </pc:spChg>
      </pc:sldChg>
      <pc:sldChg chg="modSp mod">
        <pc:chgData name="Hans Gelissen (DHL SSC Maastricht)" userId="1afa8510-4eed-4b73-a29e-678838cd8acd" providerId="ADAL" clId="{1DAFC12C-989F-4F83-A534-DCC02FD7D8E1}" dt="2023-04-18T13:31:09.129" v="2303" actId="20577"/>
        <pc:sldMkLst>
          <pc:docMk/>
          <pc:sldMk cId="2432060605" sldId="322"/>
        </pc:sldMkLst>
        <pc:spChg chg="mod">
          <ac:chgData name="Hans Gelissen (DHL SSC Maastricht)" userId="1afa8510-4eed-4b73-a29e-678838cd8acd" providerId="ADAL" clId="{1DAFC12C-989F-4F83-A534-DCC02FD7D8E1}" dt="2023-04-18T13:00:05.159" v="913" actId="1036"/>
          <ac:spMkLst>
            <pc:docMk/>
            <pc:sldMk cId="2432060605" sldId="322"/>
            <ac:spMk id="7" creationId="{078E61A8-6705-4739-B08B-941DFB48D92B}"/>
          </ac:spMkLst>
        </pc:spChg>
        <pc:spChg chg="mod">
          <ac:chgData name="Hans Gelissen (DHL SSC Maastricht)" userId="1afa8510-4eed-4b73-a29e-678838cd8acd" providerId="ADAL" clId="{1DAFC12C-989F-4F83-A534-DCC02FD7D8E1}" dt="2023-04-18T13:23:34.913" v="1956" actId="20577"/>
          <ac:spMkLst>
            <pc:docMk/>
            <pc:sldMk cId="2432060605" sldId="322"/>
            <ac:spMk id="11" creationId="{FB34973D-C177-4C42-B002-5984D6231036}"/>
          </ac:spMkLst>
        </pc:spChg>
        <pc:spChg chg="mod">
          <ac:chgData name="Hans Gelissen (DHL SSC Maastricht)" userId="1afa8510-4eed-4b73-a29e-678838cd8acd" providerId="ADAL" clId="{1DAFC12C-989F-4F83-A534-DCC02FD7D8E1}" dt="2023-04-18T13:31:09.129" v="2303" actId="20577"/>
          <ac:spMkLst>
            <pc:docMk/>
            <pc:sldMk cId="2432060605" sldId="322"/>
            <ac:spMk id="13" creationId="{58BEE43D-53E1-42BF-BD3B-29E0220569BF}"/>
          </ac:spMkLst>
        </pc:spChg>
        <pc:spChg chg="mod">
          <ac:chgData name="Hans Gelissen (DHL SSC Maastricht)" userId="1afa8510-4eed-4b73-a29e-678838cd8acd" providerId="ADAL" clId="{1DAFC12C-989F-4F83-A534-DCC02FD7D8E1}" dt="2023-04-18T13:24:17.567" v="2053" actId="20577"/>
          <ac:spMkLst>
            <pc:docMk/>
            <pc:sldMk cId="2432060605" sldId="322"/>
            <ac:spMk id="15" creationId="{C134529E-D983-4181-98CF-32143EE2171F}"/>
          </ac:spMkLst>
        </pc:spChg>
        <pc:spChg chg="mod">
          <ac:chgData name="Hans Gelissen (DHL SSC Maastricht)" userId="1afa8510-4eed-4b73-a29e-678838cd8acd" providerId="ADAL" clId="{1DAFC12C-989F-4F83-A534-DCC02FD7D8E1}" dt="2023-04-18T13:28:04.834" v="2165" actId="20577"/>
          <ac:spMkLst>
            <pc:docMk/>
            <pc:sldMk cId="2432060605" sldId="322"/>
            <ac:spMk id="17" creationId="{B22C1241-09FC-440B-B5D9-B8B781CF4E18}"/>
          </ac:spMkLst>
        </pc:spChg>
        <pc:grpChg chg="mod">
          <ac:chgData name="Hans Gelissen (DHL SSC Maastricht)" userId="1afa8510-4eed-4b73-a29e-678838cd8acd" providerId="ADAL" clId="{1DAFC12C-989F-4F83-A534-DCC02FD7D8E1}" dt="2023-04-18T13:00:05.159" v="913" actId="1036"/>
          <ac:grpSpMkLst>
            <pc:docMk/>
            <pc:sldMk cId="2432060605" sldId="322"/>
            <ac:grpSpMk id="5" creationId="{A2DC612C-0D74-4EC8-8AB3-B33F4900FFB2}"/>
          </ac:grpSpMkLst>
        </pc:grpChg>
        <pc:picChg chg="mod">
          <ac:chgData name="Hans Gelissen (DHL SSC Maastricht)" userId="1afa8510-4eed-4b73-a29e-678838cd8acd" providerId="ADAL" clId="{1DAFC12C-989F-4F83-A534-DCC02FD7D8E1}" dt="2023-04-18T13:00:05.159" v="913" actId="1036"/>
          <ac:picMkLst>
            <pc:docMk/>
            <pc:sldMk cId="2432060605" sldId="322"/>
            <ac:picMk id="6" creationId="{8E70C2E9-275A-4716-B9DE-9D45F3459392}"/>
          </ac:picMkLst>
        </pc:picChg>
      </pc:sldChg>
      <pc:sldChg chg="addSp delSp modSp mod">
        <pc:chgData name="Hans Gelissen (DHL SSC Maastricht)" userId="1afa8510-4eed-4b73-a29e-678838cd8acd" providerId="ADAL" clId="{1DAFC12C-989F-4F83-A534-DCC02FD7D8E1}" dt="2023-04-18T13:39:10.390" v="2748" actId="20577"/>
        <pc:sldMkLst>
          <pc:docMk/>
          <pc:sldMk cId="2522071073" sldId="326"/>
        </pc:sldMkLst>
        <pc:spChg chg="add mod">
          <ac:chgData name="Hans Gelissen (DHL SSC Maastricht)" userId="1afa8510-4eed-4b73-a29e-678838cd8acd" providerId="ADAL" clId="{1DAFC12C-989F-4F83-A534-DCC02FD7D8E1}" dt="2023-04-18T13:38:22.990" v="2688" actId="20577"/>
          <ac:spMkLst>
            <pc:docMk/>
            <pc:sldMk cId="2522071073" sldId="326"/>
            <ac:spMk id="2" creationId="{6A2ABE9A-4A5C-7AA6-4874-441CB05B7202}"/>
          </ac:spMkLst>
        </pc:spChg>
        <pc:spChg chg="mod">
          <ac:chgData name="Hans Gelissen (DHL SSC Maastricht)" userId="1afa8510-4eed-4b73-a29e-678838cd8acd" providerId="ADAL" clId="{1DAFC12C-989F-4F83-A534-DCC02FD7D8E1}" dt="2023-04-18T13:34:58.768" v="2400" actId="1076"/>
          <ac:spMkLst>
            <pc:docMk/>
            <pc:sldMk cId="2522071073" sldId="326"/>
            <ac:spMk id="7" creationId="{A82935FE-E5D3-4FBD-A4E6-25B7ACADF8C4}"/>
          </ac:spMkLst>
        </pc:spChg>
        <pc:spChg chg="mod">
          <ac:chgData name="Hans Gelissen (DHL SSC Maastricht)" userId="1afa8510-4eed-4b73-a29e-678838cd8acd" providerId="ADAL" clId="{1DAFC12C-989F-4F83-A534-DCC02FD7D8E1}" dt="2023-04-18T13:34:43.729" v="2397" actId="1076"/>
          <ac:spMkLst>
            <pc:docMk/>
            <pc:sldMk cId="2522071073" sldId="326"/>
            <ac:spMk id="11" creationId="{BF54EA56-307F-4F81-83A2-239808D01350}"/>
          </ac:spMkLst>
        </pc:spChg>
        <pc:spChg chg="del mod">
          <ac:chgData name="Hans Gelissen (DHL SSC Maastricht)" userId="1afa8510-4eed-4b73-a29e-678838cd8acd" providerId="ADAL" clId="{1DAFC12C-989F-4F83-A534-DCC02FD7D8E1}" dt="2023-04-18T13:34:44.792" v="2399"/>
          <ac:spMkLst>
            <pc:docMk/>
            <pc:sldMk cId="2522071073" sldId="326"/>
            <ac:spMk id="13" creationId="{28A2E8C7-3AEE-4945-AE01-CEF8CC0B25E8}"/>
          </ac:spMkLst>
        </pc:spChg>
        <pc:spChg chg="mod">
          <ac:chgData name="Hans Gelissen (DHL SSC Maastricht)" userId="1afa8510-4eed-4b73-a29e-678838cd8acd" providerId="ADAL" clId="{1DAFC12C-989F-4F83-A534-DCC02FD7D8E1}" dt="2023-04-18T13:37:30.814" v="2656" actId="20577"/>
          <ac:spMkLst>
            <pc:docMk/>
            <pc:sldMk cId="2522071073" sldId="326"/>
            <ac:spMk id="15" creationId="{7468CC77-1AB6-47D9-AFEC-ECBEE5B612AA}"/>
          </ac:spMkLst>
        </pc:spChg>
        <pc:spChg chg="mod">
          <ac:chgData name="Hans Gelissen (DHL SSC Maastricht)" userId="1afa8510-4eed-4b73-a29e-678838cd8acd" providerId="ADAL" clId="{1DAFC12C-989F-4F83-A534-DCC02FD7D8E1}" dt="2023-04-18T13:39:10.390" v="2748" actId="20577"/>
          <ac:spMkLst>
            <pc:docMk/>
            <pc:sldMk cId="2522071073" sldId="326"/>
            <ac:spMk id="17" creationId="{FC70B9E3-C7CC-4941-9E80-047162758C33}"/>
          </ac:spMkLst>
        </pc:spChg>
        <pc:grpChg chg="mod">
          <ac:chgData name="Hans Gelissen (DHL SSC Maastricht)" userId="1afa8510-4eed-4b73-a29e-678838cd8acd" providerId="ADAL" clId="{1DAFC12C-989F-4F83-A534-DCC02FD7D8E1}" dt="2023-04-18T13:34:58.768" v="2400" actId="1076"/>
          <ac:grpSpMkLst>
            <pc:docMk/>
            <pc:sldMk cId="2522071073" sldId="326"/>
            <ac:grpSpMk id="5" creationId="{F2B7BF96-E13F-47FF-BD23-028958261BC9}"/>
          </ac:grpSpMkLst>
        </pc:grpChg>
        <pc:picChg chg="mod">
          <ac:chgData name="Hans Gelissen (DHL SSC Maastricht)" userId="1afa8510-4eed-4b73-a29e-678838cd8acd" providerId="ADAL" clId="{1DAFC12C-989F-4F83-A534-DCC02FD7D8E1}" dt="2023-04-18T13:34:58.768" v="2400" actId="1076"/>
          <ac:picMkLst>
            <pc:docMk/>
            <pc:sldMk cId="2522071073" sldId="326"/>
            <ac:picMk id="6" creationId="{06F65C60-7960-4A4F-BF43-EEBC0E263DB1}"/>
          </ac:picMkLst>
        </pc:picChg>
      </pc:sldChg>
      <pc:sldChg chg="modSp mod">
        <pc:chgData name="Hans Gelissen (DHL SSC Maastricht)" userId="1afa8510-4eed-4b73-a29e-678838cd8acd" providerId="ADAL" clId="{1DAFC12C-989F-4F83-A534-DCC02FD7D8E1}" dt="2023-04-18T13:43:17.442" v="2976" actId="20577"/>
        <pc:sldMkLst>
          <pc:docMk/>
          <pc:sldMk cId="2062961482" sldId="327"/>
        </pc:sldMkLst>
        <pc:spChg chg="mod">
          <ac:chgData name="Hans Gelissen (DHL SSC Maastricht)" userId="1afa8510-4eed-4b73-a29e-678838cd8acd" providerId="ADAL" clId="{1DAFC12C-989F-4F83-A534-DCC02FD7D8E1}" dt="2023-04-18T13:00:17.190" v="942" actId="1035"/>
          <ac:spMkLst>
            <pc:docMk/>
            <pc:sldMk cId="2062961482" sldId="327"/>
            <ac:spMk id="7" creationId="{3D4C023F-807C-47EE-A5B3-95041EA20481}"/>
          </ac:spMkLst>
        </pc:spChg>
        <pc:spChg chg="mod">
          <ac:chgData name="Hans Gelissen (DHL SSC Maastricht)" userId="1afa8510-4eed-4b73-a29e-678838cd8acd" providerId="ADAL" clId="{1DAFC12C-989F-4F83-A534-DCC02FD7D8E1}" dt="2023-04-18T13:40:05.356" v="2801" actId="1076"/>
          <ac:spMkLst>
            <pc:docMk/>
            <pc:sldMk cId="2062961482" sldId="327"/>
            <ac:spMk id="11" creationId="{D301BF46-A630-4BFB-91DC-137B0F5F3BE6}"/>
          </ac:spMkLst>
        </pc:spChg>
        <pc:spChg chg="mod">
          <ac:chgData name="Hans Gelissen (DHL SSC Maastricht)" userId="1afa8510-4eed-4b73-a29e-678838cd8acd" providerId="ADAL" clId="{1DAFC12C-989F-4F83-A534-DCC02FD7D8E1}" dt="2023-04-18T13:43:17.442" v="2976" actId="20577"/>
          <ac:spMkLst>
            <pc:docMk/>
            <pc:sldMk cId="2062961482" sldId="327"/>
            <ac:spMk id="13" creationId="{1BF41E8F-F849-4E85-9836-85C1DDCB6755}"/>
          </ac:spMkLst>
        </pc:spChg>
        <pc:spChg chg="mod">
          <ac:chgData name="Hans Gelissen (DHL SSC Maastricht)" userId="1afa8510-4eed-4b73-a29e-678838cd8acd" providerId="ADAL" clId="{1DAFC12C-989F-4F83-A534-DCC02FD7D8E1}" dt="2023-04-18T13:42:39.708" v="2927" actId="20577"/>
          <ac:spMkLst>
            <pc:docMk/>
            <pc:sldMk cId="2062961482" sldId="327"/>
            <ac:spMk id="15" creationId="{3158268E-9E97-4345-98B7-8D1B68F1DBF5}"/>
          </ac:spMkLst>
        </pc:spChg>
        <pc:spChg chg="mod">
          <ac:chgData name="Hans Gelissen (DHL SSC Maastricht)" userId="1afa8510-4eed-4b73-a29e-678838cd8acd" providerId="ADAL" clId="{1DAFC12C-989F-4F83-A534-DCC02FD7D8E1}" dt="2023-04-18T13:42:09.802" v="2867"/>
          <ac:spMkLst>
            <pc:docMk/>
            <pc:sldMk cId="2062961482" sldId="327"/>
            <ac:spMk id="17" creationId="{E452ECBF-3E03-4476-8EF8-514CE634193C}"/>
          </ac:spMkLst>
        </pc:spChg>
        <pc:grpChg chg="mod">
          <ac:chgData name="Hans Gelissen (DHL SSC Maastricht)" userId="1afa8510-4eed-4b73-a29e-678838cd8acd" providerId="ADAL" clId="{1DAFC12C-989F-4F83-A534-DCC02FD7D8E1}" dt="2023-04-18T13:00:17.190" v="942" actId="1035"/>
          <ac:grpSpMkLst>
            <pc:docMk/>
            <pc:sldMk cId="2062961482" sldId="327"/>
            <ac:grpSpMk id="5" creationId="{93C21805-0656-43EE-B48C-B2E1446F42C0}"/>
          </ac:grpSpMkLst>
        </pc:grpChg>
        <pc:picChg chg="mod">
          <ac:chgData name="Hans Gelissen (DHL SSC Maastricht)" userId="1afa8510-4eed-4b73-a29e-678838cd8acd" providerId="ADAL" clId="{1DAFC12C-989F-4F83-A534-DCC02FD7D8E1}" dt="2023-04-18T13:00:17.190" v="942" actId="1035"/>
          <ac:picMkLst>
            <pc:docMk/>
            <pc:sldMk cId="2062961482" sldId="327"/>
            <ac:picMk id="6" creationId="{D8D6F123-1E08-4778-B96A-5A92C7BFEA72}"/>
          </ac:picMkLst>
        </pc:picChg>
      </pc:sldChg>
      <pc:sldChg chg="modSp mod">
        <pc:chgData name="Hans Gelissen (DHL SSC Maastricht)" userId="1afa8510-4eed-4b73-a29e-678838cd8acd" providerId="ADAL" clId="{1DAFC12C-989F-4F83-A534-DCC02FD7D8E1}" dt="2023-04-18T13:48:17.144" v="3499" actId="20577"/>
        <pc:sldMkLst>
          <pc:docMk/>
          <pc:sldMk cId="57680118" sldId="328"/>
        </pc:sldMkLst>
        <pc:spChg chg="mod">
          <ac:chgData name="Hans Gelissen (DHL SSC Maastricht)" userId="1afa8510-4eed-4b73-a29e-678838cd8acd" providerId="ADAL" clId="{1DAFC12C-989F-4F83-A534-DCC02FD7D8E1}" dt="2023-04-18T13:00:36.726" v="1001" actId="1035"/>
          <ac:spMkLst>
            <pc:docMk/>
            <pc:sldMk cId="57680118" sldId="328"/>
            <ac:spMk id="7" creationId="{327F186D-7F3B-40AF-8059-443A5875E4D8}"/>
          </ac:spMkLst>
        </pc:spChg>
        <pc:spChg chg="mod">
          <ac:chgData name="Hans Gelissen (DHL SSC Maastricht)" userId="1afa8510-4eed-4b73-a29e-678838cd8acd" providerId="ADAL" clId="{1DAFC12C-989F-4F83-A534-DCC02FD7D8E1}" dt="2023-04-18T13:45:38.462" v="3114" actId="14100"/>
          <ac:spMkLst>
            <pc:docMk/>
            <pc:sldMk cId="57680118" sldId="328"/>
            <ac:spMk id="11" creationId="{007121F6-C7C9-465F-AF81-51FB40B8F7B2}"/>
          </ac:spMkLst>
        </pc:spChg>
        <pc:spChg chg="mod">
          <ac:chgData name="Hans Gelissen (DHL SSC Maastricht)" userId="1afa8510-4eed-4b73-a29e-678838cd8acd" providerId="ADAL" clId="{1DAFC12C-989F-4F83-A534-DCC02FD7D8E1}" dt="2023-04-18T13:48:17.144" v="3499" actId="20577"/>
          <ac:spMkLst>
            <pc:docMk/>
            <pc:sldMk cId="57680118" sldId="328"/>
            <ac:spMk id="13" creationId="{65B28667-6D33-47DE-85FA-1D79F2EDEB1E}"/>
          </ac:spMkLst>
        </pc:spChg>
        <pc:spChg chg="mod">
          <ac:chgData name="Hans Gelissen (DHL SSC Maastricht)" userId="1afa8510-4eed-4b73-a29e-678838cd8acd" providerId="ADAL" clId="{1DAFC12C-989F-4F83-A534-DCC02FD7D8E1}" dt="2023-04-18T13:46:48.907" v="3252" actId="20577"/>
          <ac:spMkLst>
            <pc:docMk/>
            <pc:sldMk cId="57680118" sldId="328"/>
            <ac:spMk id="15" creationId="{0017E8E3-E5B8-4CEA-8CFE-FF48A07FB23C}"/>
          </ac:spMkLst>
        </pc:spChg>
        <pc:spChg chg="mod">
          <ac:chgData name="Hans Gelissen (DHL SSC Maastricht)" userId="1afa8510-4eed-4b73-a29e-678838cd8acd" providerId="ADAL" clId="{1DAFC12C-989F-4F83-A534-DCC02FD7D8E1}" dt="2023-04-18T13:47:26.242" v="3347" actId="20577"/>
          <ac:spMkLst>
            <pc:docMk/>
            <pc:sldMk cId="57680118" sldId="328"/>
            <ac:spMk id="17" creationId="{6D9115E7-61FA-4DEA-9055-8862A0465A0F}"/>
          </ac:spMkLst>
        </pc:spChg>
        <pc:grpChg chg="mod">
          <ac:chgData name="Hans Gelissen (DHL SSC Maastricht)" userId="1afa8510-4eed-4b73-a29e-678838cd8acd" providerId="ADAL" clId="{1DAFC12C-989F-4F83-A534-DCC02FD7D8E1}" dt="2023-04-18T13:00:36.726" v="1001" actId="1035"/>
          <ac:grpSpMkLst>
            <pc:docMk/>
            <pc:sldMk cId="57680118" sldId="328"/>
            <ac:grpSpMk id="5" creationId="{A1035E0E-23BF-4005-B08B-75D0378D04AF}"/>
          </ac:grpSpMkLst>
        </pc:grpChg>
        <pc:picChg chg="mod">
          <ac:chgData name="Hans Gelissen (DHL SSC Maastricht)" userId="1afa8510-4eed-4b73-a29e-678838cd8acd" providerId="ADAL" clId="{1DAFC12C-989F-4F83-A534-DCC02FD7D8E1}" dt="2023-04-18T13:00:36.726" v="1001" actId="1035"/>
          <ac:picMkLst>
            <pc:docMk/>
            <pc:sldMk cId="57680118" sldId="328"/>
            <ac:picMk id="6" creationId="{344EC8AA-F590-435A-AA89-78F1E53BC4D7}"/>
          </ac:picMkLst>
        </pc:picChg>
      </pc:sldChg>
      <pc:sldChg chg="modSp del mod">
        <pc:chgData name="Hans Gelissen (DHL SSC Maastricht)" userId="1afa8510-4eed-4b73-a29e-678838cd8acd" providerId="ADAL" clId="{1DAFC12C-989F-4F83-A534-DCC02FD7D8E1}" dt="2023-04-18T10:42:39.397" v="166" actId="47"/>
        <pc:sldMkLst>
          <pc:docMk/>
          <pc:sldMk cId="2432827905" sldId="329"/>
        </pc:sldMkLst>
        <pc:spChg chg="mod">
          <ac:chgData name="Hans Gelissen (DHL SSC Maastricht)" userId="1afa8510-4eed-4b73-a29e-678838cd8acd" providerId="ADAL" clId="{1DAFC12C-989F-4F83-A534-DCC02FD7D8E1}" dt="2023-04-18T10:35:33.436" v="53" actId="20577"/>
          <ac:spMkLst>
            <pc:docMk/>
            <pc:sldMk cId="2432827905" sldId="329"/>
            <ac:spMk id="5" creationId="{E1D4398F-7BD7-371F-7810-340617144372}"/>
          </ac:spMkLst>
        </pc:spChg>
      </pc:sldChg>
      <pc:sldChg chg="modSp add del mod modShow">
        <pc:chgData name="Hans Gelissen (DHL SSC Maastricht)" userId="1afa8510-4eed-4b73-a29e-678838cd8acd" providerId="ADAL" clId="{1DAFC12C-989F-4F83-A534-DCC02FD7D8E1}" dt="2023-04-18T10:48:32.526" v="580" actId="47"/>
        <pc:sldMkLst>
          <pc:docMk/>
          <pc:sldMk cId="2321806111" sldId="330"/>
        </pc:sldMkLst>
        <pc:spChg chg="mod">
          <ac:chgData name="Hans Gelissen (DHL SSC Maastricht)" userId="1afa8510-4eed-4b73-a29e-678838cd8acd" providerId="ADAL" clId="{1DAFC12C-989F-4F83-A534-DCC02FD7D8E1}" dt="2023-04-18T10:36:22.738" v="59" actId="20577"/>
          <ac:spMkLst>
            <pc:docMk/>
            <pc:sldMk cId="2321806111" sldId="330"/>
            <ac:spMk id="5" creationId="{E1D4398F-7BD7-371F-7810-340617144372}"/>
          </ac:spMkLst>
        </pc:spChg>
      </pc:sldChg>
      <pc:sldChg chg="addSp delSp modSp new mod modClrScheme chgLayout">
        <pc:chgData name="Hans Gelissen (DHL SSC Maastricht)" userId="1afa8510-4eed-4b73-a29e-678838cd8acd" providerId="ADAL" clId="{1DAFC12C-989F-4F83-A534-DCC02FD7D8E1}" dt="2023-04-18T10:43:26.308" v="230" actId="1076"/>
        <pc:sldMkLst>
          <pc:docMk/>
          <pc:sldMk cId="2243764772" sldId="331"/>
        </pc:sldMkLst>
        <pc:spChg chg="del mod ord">
          <ac:chgData name="Hans Gelissen (DHL SSC Maastricht)" userId="1afa8510-4eed-4b73-a29e-678838cd8acd" providerId="ADAL" clId="{1DAFC12C-989F-4F83-A534-DCC02FD7D8E1}" dt="2023-04-18T10:37:10.568" v="61" actId="700"/>
          <ac:spMkLst>
            <pc:docMk/>
            <pc:sldMk cId="2243764772" sldId="331"/>
            <ac:spMk id="2" creationId="{9ADF0DBC-7198-E689-102C-1446971B57AD}"/>
          </ac:spMkLst>
        </pc:spChg>
        <pc:spChg chg="add del mod ord">
          <ac:chgData name="Hans Gelissen (DHL SSC Maastricht)" userId="1afa8510-4eed-4b73-a29e-678838cd8acd" providerId="ADAL" clId="{1DAFC12C-989F-4F83-A534-DCC02FD7D8E1}" dt="2023-04-18T10:37:16.185" v="62" actId="700"/>
          <ac:spMkLst>
            <pc:docMk/>
            <pc:sldMk cId="2243764772" sldId="331"/>
            <ac:spMk id="3" creationId="{2C97F13F-B059-F1F3-27F9-D0239B5F9B57}"/>
          </ac:spMkLst>
        </pc:spChg>
        <pc:spChg chg="add del mod ord">
          <ac:chgData name="Hans Gelissen (DHL SSC Maastricht)" userId="1afa8510-4eed-4b73-a29e-678838cd8acd" providerId="ADAL" clId="{1DAFC12C-989F-4F83-A534-DCC02FD7D8E1}" dt="2023-04-18T10:37:27.354" v="63" actId="700"/>
          <ac:spMkLst>
            <pc:docMk/>
            <pc:sldMk cId="2243764772" sldId="331"/>
            <ac:spMk id="4" creationId="{55EE7BE9-FE10-C727-DC1F-58FAACCF3F83}"/>
          </ac:spMkLst>
        </pc:spChg>
        <pc:spChg chg="add del mod ord">
          <ac:chgData name="Hans Gelissen (DHL SSC Maastricht)" userId="1afa8510-4eed-4b73-a29e-678838cd8acd" providerId="ADAL" clId="{1DAFC12C-989F-4F83-A534-DCC02FD7D8E1}" dt="2023-04-18T10:37:40.273" v="64" actId="700"/>
          <ac:spMkLst>
            <pc:docMk/>
            <pc:sldMk cId="2243764772" sldId="331"/>
            <ac:spMk id="5" creationId="{6922CC91-035E-B6E9-03B0-C918532E9C1E}"/>
          </ac:spMkLst>
        </pc:spChg>
        <pc:spChg chg="add mod ord">
          <ac:chgData name="Hans Gelissen (DHL SSC Maastricht)" userId="1afa8510-4eed-4b73-a29e-678838cd8acd" providerId="ADAL" clId="{1DAFC12C-989F-4F83-A534-DCC02FD7D8E1}" dt="2023-04-18T10:43:26.308" v="230" actId="1076"/>
          <ac:spMkLst>
            <pc:docMk/>
            <pc:sldMk cId="2243764772" sldId="331"/>
            <ac:spMk id="6" creationId="{9A498622-B694-1932-CE76-670BBA54C07E}"/>
          </ac:spMkLst>
        </pc:spChg>
      </pc:sldChg>
      <pc:sldChg chg="addSp delSp modSp new mod modNotesTx">
        <pc:chgData name="Hans Gelissen (DHL SSC Maastricht)" userId="1afa8510-4eed-4b73-a29e-678838cd8acd" providerId="ADAL" clId="{1DAFC12C-989F-4F83-A534-DCC02FD7D8E1}" dt="2023-04-19T09:03:53.401" v="3583" actId="20577"/>
        <pc:sldMkLst>
          <pc:docMk/>
          <pc:sldMk cId="774294746" sldId="332"/>
        </pc:sldMkLst>
        <pc:spChg chg="mod">
          <ac:chgData name="Hans Gelissen (DHL SSC Maastricht)" userId="1afa8510-4eed-4b73-a29e-678838cd8acd" providerId="ADAL" clId="{1DAFC12C-989F-4F83-A534-DCC02FD7D8E1}" dt="2023-04-18T10:43:17.371" v="225" actId="20577"/>
          <ac:spMkLst>
            <pc:docMk/>
            <pc:sldMk cId="774294746" sldId="332"/>
            <ac:spMk id="2" creationId="{712BB1CD-5763-CB3A-A3AA-5884F2479D15}"/>
          </ac:spMkLst>
        </pc:spChg>
        <pc:spChg chg="mod">
          <ac:chgData name="Hans Gelissen (DHL SSC Maastricht)" userId="1afa8510-4eed-4b73-a29e-678838cd8acd" providerId="ADAL" clId="{1DAFC12C-989F-4F83-A534-DCC02FD7D8E1}" dt="2023-04-18T10:40:05.769" v="120" actId="20577"/>
          <ac:spMkLst>
            <pc:docMk/>
            <pc:sldMk cId="774294746" sldId="332"/>
            <ac:spMk id="3" creationId="{62D61DA8-D22A-A517-B456-9DB282AFC162}"/>
          </ac:spMkLst>
        </pc:spChg>
        <pc:spChg chg="mod">
          <ac:chgData name="Hans Gelissen (DHL SSC Maastricht)" userId="1afa8510-4eed-4b73-a29e-678838cd8acd" providerId="ADAL" clId="{1DAFC12C-989F-4F83-A534-DCC02FD7D8E1}" dt="2023-04-18T10:41:35.428" v="136" actId="5793"/>
          <ac:spMkLst>
            <pc:docMk/>
            <pc:sldMk cId="774294746" sldId="332"/>
            <ac:spMk id="4" creationId="{7B249717-98C3-4DD4-5437-EB3796F26136}"/>
          </ac:spMkLst>
        </pc:spChg>
        <pc:spChg chg="mod">
          <ac:chgData name="Hans Gelissen (DHL SSC Maastricht)" userId="1afa8510-4eed-4b73-a29e-678838cd8acd" providerId="ADAL" clId="{1DAFC12C-989F-4F83-A534-DCC02FD7D8E1}" dt="2023-04-19T09:03:53.401" v="3583" actId="20577"/>
          <ac:spMkLst>
            <pc:docMk/>
            <pc:sldMk cId="774294746" sldId="332"/>
            <ac:spMk id="5" creationId="{53DE6C37-BA55-7E8B-DF64-68D13CE3FBC6}"/>
          </ac:spMkLst>
        </pc:spChg>
        <pc:spChg chg="del">
          <ac:chgData name="Hans Gelissen (DHL SSC Maastricht)" userId="1afa8510-4eed-4b73-a29e-678838cd8acd" providerId="ADAL" clId="{1DAFC12C-989F-4F83-A534-DCC02FD7D8E1}" dt="2023-04-18T10:42:00.344" v="142" actId="478"/>
          <ac:spMkLst>
            <pc:docMk/>
            <pc:sldMk cId="774294746" sldId="332"/>
            <ac:spMk id="6" creationId="{6E7EEE49-E43E-9031-9BDD-7ED99DEE4869}"/>
          </ac:spMkLst>
        </pc:spChg>
        <pc:picChg chg="add mod">
          <ac:chgData name="Hans Gelissen (DHL SSC Maastricht)" userId="1afa8510-4eed-4b73-a29e-678838cd8acd" providerId="ADAL" clId="{1DAFC12C-989F-4F83-A534-DCC02FD7D8E1}" dt="2023-04-18T10:42:29.229" v="165" actId="14100"/>
          <ac:picMkLst>
            <pc:docMk/>
            <pc:sldMk cId="774294746" sldId="332"/>
            <ac:picMk id="7" creationId="{F096799F-5B42-7449-D202-C074F8EE2CAA}"/>
          </ac:picMkLst>
        </pc:picChg>
      </pc:sldChg>
      <pc:sldChg chg="modSp add mod modShow modNotesTx">
        <pc:chgData name="Hans Gelissen (DHL SSC Maastricht)" userId="1afa8510-4eed-4b73-a29e-678838cd8acd" providerId="ADAL" clId="{1DAFC12C-989F-4F83-A534-DCC02FD7D8E1}" dt="2023-04-19T09:05:10.409" v="3616" actId="20577"/>
        <pc:sldMkLst>
          <pc:docMk/>
          <pc:sldMk cId="2072125447" sldId="333"/>
        </pc:sldMkLst>
        <pc:spChg chg="mod">
          <ac:chgData name="Hans Gelissen (DHL SSC Maastricht)" userId="1afa8510-4eed-4b73-a29e-678838cd8acd" providerId="ADAL" clId="{1DAFC12C-989F-4F83-A534-DCC02FD7D8E1}" dt="2023-04-18T10:43:36.447" v="266" actId="20577"/>
          <ac:spMkLst>
            <pc:docMk/>
            <pc:sldMk cId="2072125447" sldId="333"/>
            <ac:spMk id="2" creationId="{712BB1CD-5763-CB3A-A3AA-5884F2479D15}"/>
          </ac:spMkLst>
        </pc:spChg>
        <pc:spChg chg="mod">
          <ac:chgData name="Hans Gelissen (DHL SSC Maastricht)" userId="1afa8510-4eed-4b73-a29e-678838cd8acd" providerId="ADAL" clId="{1DAFC12C-989F-4F83-A534-DCC02FD7D8E1}" dt="2023-04-18T10:45:02.108" v="419" actId="20577"/>
          <ac:spMkLst>
            <pc:docMk/>
            <pc:sldMk cId="2072125447" sldId="333"/>
            <ac:spMk id="3" creationId="{62D61DA8-D22A-A517-B456-9DB282AFC162}"/>
          </ac:spMkLst>
        </pc:spChg>
        <pc:spChg chg="mod">
          <ac:chgData name="Hans Gelissen (DHL SSC Maastricht)" userId="1afa8510-4eed-4b73-a29e-678838cd8acd" providerId="ADAL" clId="{1DAFC12C-989F-4F83-A534-DCC02FD7D8E1}" dt="2023-04-18T10:45:05.554" v="423" actId="20577"/>
          <ac:spMkLst>
            <pc:docMk/>
            <pc:sldMk cId="2072125447" sldId="333"/>
            <ac:spMk id="4" creationId="{7B249717-98C3-4DD4-5437-EB3796F26136}"/>
          </ac:spMkLst>
        </pc:spChg>
        <pc:spChg chg="mod">
          <ac:chgData name="Hans Gelissen (DHL SSC Maastricht)" userId="1afa8510-4eed-4b73-a29e-678838cd8acd" providerId="ADAL" clId="{1DAFC12C-989F-4F83-A534-DCC02FD7D8E1}" dt="2023-04-19T09:05:10.409" v="3616" actId="20577"/>
          <ac:spMkLst>
            <pc:docMk/>
            <pc:sldMk cId="2072125447" sldId="333"/>
            <ac:spMk id="5" creationId="{53DE6C37-BA55-7E8B-DF64-68D13CE3FBC6}"/>
          </ac:spMkLst>
        </pc:spChg>
      </pc:sldChg>
      <pc:sldChg chg="add del">
        <pc:chgData name="Hans Gelissen (DHL SSC Maastricht)" userId="1afa8510-4eed-4b73-a29e-678838cd8acd" providerId="ADAL" clId="{1DAFC12C-989F-4F83-A534-DCC02FD7D8E1}" dt="2023-04-18T14:00:09.309" v="3536"/>
        <pc:sldMkLst>
          <pc:docMk/>
          <pc:sldMk cId="118462602" sldId="334"/>
        </pc:sldMkLst>
      </pc:sldChg>
      <pc:sldChg chg="add del">
        <pc:chgData name="Hans Gelissen (DHL SSC Maastricht)" userId="1afa8510-4eed-4b73-a29e-678838cd8acd" providerId="ADAL" clId="{1DAFC12C-989F-4F83-A534-DCC02FD7D8E1}" dt="2023-04-18T13:43:28.880" v="2977" actId="47"/>
        <pc:sldMkLst>
          <pc:docMk/>
          <pc:sldMk cId="1428872198" sldId="334"/>
        </pc:sldMkLst>
      </pc:sldChg>
      <pc:sldChg chg="addSp delSp modSp new mod modClrScheme chgLayout">
        <pc:chgData name="Hans Gelissen (DHL SSC Maastricht)" userId="1afa8510-4eed-4b73-a29e-678838cd8acd" providerId="ADAL" clId="{1DAFC12C-989F-4F83-A534-DCC02FD7D8E1}" dt="2023-04-19T10:16:12.345" v="4320" actId="14100"/>
        <pc:sldMkLst>
          <pc:docMk/>
          <pc:sldMk cId="2102271174" sldId="334"/>
        </pc:sldMkLst>
        <pc:spChg chg="mod ord">
          <ac:chgData name="Hans Gelissen (DHL SSC Maastricht)" userId="1afa8510-4eed-4b73-a29e-678838cd8acd" providerId="ADAL" clId="{1DAFC12C-989F-4F83-A534-DCC02FD7D8E1}" dt="2023-04-19T10:16:12.345" v="4320" actId="14100"/>
          <ac:spMkLst>
            <pc:docMk/>
            <pc:sldMk cId="2102271174" sldId="334"/>
            <ac:spMk id="2" creationId="{67F3CAA9-8755-6A64-72B3-59AF298CE50E}"/>
          </ac:spMkLst>
        </pc:spChg>
        <pc:spChg chg="del">
          <ac:chgData name="Hans Gelissen (DHL SSC Maastricht)" userId="1afa8510-4eed-4b73-a29e-678838cd8acd" providerId="ADAL" clId="{1DAFC12C-989F-4F83-A534-DCC02FD7D8E1}" dt="2023-04-19T09:09:10.769" v="3664" actId="478"/>
          <ac:spMkLst>
            <pc:docMk/>
            <pc:sldMk cId="2102271174" sldId="334"/>
            <ac:spMk id="3" creationId="{18022FB6-B42C-9784-EB5D-5B130E084C6F}"/>
          </ac:spMkLst>
        </pc:spChg>
        <pc:spChg chg="add del mod">
          <ac:chgData name="Hans Gelissen (DHL SSC Maastricht)" userId="1afa8510-4eed-4b73-a29e-678838cd8acd" providerId="ADAL" clId="{1DAFC12C-989F-4F83-A534-DCC02FD7D8E1}" dt="2023-04-19T10:00:04.408" v="4256" actId="478"/>
          <ac:spMkLst>
            <pc:docMk/>
            <pc:sldMk cId="2102271174" sldId="334"/>
            <ac:spMk id="5" creationId="{74BB6020-057C-9467-81CE-E5B66C9C002B}"/>
          </ac:spMkLst>
        </pc:spChg>
        <pc:spChg chg="add del mod ord">
          <ac:chgData name="Hans Gelissen (DHL SSC Maastricht)" userId="1afa8510-4eed-4b73-a29e-678838cd8acd" providerId="ADAL" clId="{1DAFC12C-989F-4F83-A534-DCC02FD7D8E1}" dt="2023-04-19T09:17:59.520" v="3851" actId="700"/>
          <ac:spMkLst>
            <pc:docMk/>
            <pc:sldMk cId="2102271174" sldId="334"/>
            <ac:spMk id="6" creationId="{A7784D03-B809-A6F6-86DA-5D3FF65384FA}"/>
          </ac:spMkLst>
        </pc:spChg>
        <pc:spChg chg="add del mod ord">
          <ac:chgData name="Hans Gelissen (DHL SSC Maastricht)" userId="1afa8510-4eed-4b73-a29e-678838cd8acd" providerId="ADAL" clId="{1DAFC12C-989F-4F83-A534-DCC02FD7D8E1}" dt="2023-04-19T09:18:45.886" v="3852" actId="931"/>
          <ac:spMkLst>
            <pc:docMk/>
            <pc:sldMk cId="2102271174" sldId="334"/>
            <ac:spMk id="7" creationId="{C35B22F4-CF1D-39A1-1945-7B7F9B3700F7}"/>
          </ac:spMkLst>
        </pc:spChg>
        <pc:spChg chg="add del mod ord">
          <ac:chgData name="Hans Gelissen (DHL SSC Maastricht)" userId="1afa8510-4eed-4b73-a29e-678838cd8acd" providerId="ADAL" clId="{1DAFC12C-989F-4F83-A534-DCC02FD7D8E1}" dt="2023-04-19T09:19:22.346" v="3860" actId="700"/>
          <ac:spMkLst>
            <pc:docMk/>
            <pc:sldMk cId="2102271174" sldId="334"/>
            <ac:spMk id="8" creationId="{0DA5615B-6786-45C7-54FB-96FE41FF214C}"/>
          </ac:spMkLst>
        </pc:spChg>
        <pc:spChg chg="add del mod">
          <ac:chgData name="Hans Gelissen (DHL SSC Maastricht)" userId="1afa8510-4eed-4b73-a29e-678838cd8acd" providerId="ADAL" clId="{1DAFC12C-989F-4F83-A534-DCC02FD7D8E1}" dt="2023-04-19T09:19:22.346" v="3860" actId="700"/>
          <ac:spMkLst>
            <pc:docMk/>
            <pc:sldMk cId="2102271174" sldId="334"/>
            <ac:spMk id="12" creationId="{28E0AB91-BBB2-DB7B-8CCB-0F76B3F2E3BE}"/>
          </ac:spMkLst>
        </pc:spChg>
        <pc:spChg chg="add del mod ord">
          <ac:chgData name="Hans Gelissen (DHL SSC Maastricht)" userId="1afa8510-4eed-4b73-a29e-678838cd8acd" providerId="ADAL" clId="{1DAFC12C-989F-4F83-A534-DCC02FD7D8E1}" dt="2023-04-19T09:19:27.649" v="3861" actId="478"/>
          <ac:spMkLst>
            <pc:docMk/>
            <pc:sldMk cId="2102271174" sldId="334"/>
            <ac:spMk id="14" creationId="{2DD99504-FB3C-DF56-4C19-C4AD0D70712D}"/>
          </ac:spMkLst>
        </pc:spChg>
        <pc:spChg chg="add mod">
          <ac:chgData name="Hans Gelissen (DHL SSC Maastricht)" userId="1afa8510-4eed-4b73-a29e-678838cd8acd" providerId="ADAL" clId="{1DAFC12C-989F-4F83-A534-DCC02FD7D8E1}" dt="2023-04-19T10:02:08.806" v="4271" actId="1037"/>
          <ac:spMkLst>
            <pc:docMk/>
            <pc:sldMk cId="2102271174" sldId="334"/>
            <ac:spMk id="22" creationId="{B9B6D880-889E-BDDB-79F1-77EB8DE2E8EB}"/>
          </ac:spMkLst>
        </pc:spChg>
        <pc:spChg chg="add mod">
          <ac:chgData name="Hans Gelissen (DHL SSC Maastricht)" userId="1afa8510-4eed-4b73-a29e-678838cd8acd" providerId="ADAL" clId="{1DAFC12C-989F-4F83-A534-DCC02FD7D8E1}" dt="2023-04-19T10:02:08.806" v="4271" actId="1037"/>
          <ac:spMkLst>
            <pc:docMk/>
            <pc:sldMk cId="2102271174" sldId="334"/>
            <ac:spMk id="23" creationId="{DF43D761-DF83-B10D-3341-6FD49883C596}"/>
          </ac:spMkLst>
        </pc:spChg>
        <pc:spChg chg="add mod">
          <ac:chgData name="Hans Gelissen (DHL SSC Maastricht)" userId="1afa8510-4eed-4b73-a29e-678838cd8acd" providerId="ADAL" clId="{1DAFC12C-989F-4F83-A534-DCC02FD7D8E1}" dt="2023-04-19T10:02:08.806" v="4271" actId="1037"/>
          <ac:spMkLst>
            <pc:docMk/>
            <pc:sldMk cId="2102271174" sldId="334"/>
            <ac:spMk id="24" creationId="{A5BCDBF6-CF9F-3717-473F-6D71848EF594}"/>
          </ac:spMkLst>
        </pc:spChg>
        <pc:spChg chg="add mod">
          <ac:chgData name="Hans Gelissen (DHL SSC Maastricht)" userId="1afa8510-4eed-4b73-a29e-678838cd8acd" providerId="ADAL" clId="{1DAFC12C-989F-4F83-A534-DCC02FD7D8E1}" dt="2023-04-19T10:02:08.806" v="4271" actId="1037"/>
          <ac:spMkLst>
            <pc:docMk/>
            <pc:sldMk cId="2102271174" sldId="334"/>
            <ac:spMk id="25" creationId="{5203064E-6EE7-94DB-CD91-DC6AC1AE563A}"/>
          </ac:spMkLst>
        </pc:spChg>
        <pc:spChg chg="add mod">
          <ac:chgData name="Hans Gelissen (DHL SSC Maastricht)" userId="1afa8510-4eed-4b73-a29e-678838cd8acd" providerId="ADAL" clId="{1DAFC12C-989F-4F83-A534-DCC02FD7D8E1}" dt="2023-04-19T10:02:08.806" v="4271" actId="1037"/>
          <ac:spMkLst>
            <pc:docMk/>
            <pc:sldMk cId="2102271174" sldId="334"/>
            <ac:spMk id="26" creationId="{0613DBDD-CA0E-C0A3-D8DD-5A4486462789}"/>
          </ac:spMkLst>
        </pc:spChg>
        <pc:spChg chg="add mod">
          <ac:chgData name="Hans Gelissen (DHL SSC Maastricht)" userId="1afa8510-4eed-4b73-a29e-678838cd8acd" providerId="ADAL" clId="{1DAFC12C-989F-4F83-A534-DCC02FD7D8E1}" dt="2023-04-19T10:02:08.806" v="4271" actId="1037"/>
          <ac:spMkLst>
            <pc:docMk/>
            <pc:sldMk cId="2102271174" sldId="334"/>
            <ac:spMk id="27" creationId="{FA499E11-8DA0-7847-9256-6B86945DCDBA}"/>
          </ac:spMkLst>
        </pc:spChg>
        <pc:spChg chg="add mod">
          <ac:chgData name="Hans Gelissen (DHL SSC Maastricht)" userId="1afa8510-4eed-4b73-a29e-678838cd8acd" providerId="ADAL" clId="{1DAFC12C-989F-4F83-A534-DCC02FD7D8E1}" dt="2023-04-19T10:02:08.806" v="4271" actId="1037"/>
          <ac:spMkLst>
            <pc:docMk/>
            <pc:sldMk cId="2102271174" sldId="334"/>
            <ac:spMk id="28" creationId="{97F39C92-49A7-01AF-AE05-DE99C082A947}"/>
          </ac:spMkLst>
        </pc:spChg>
        <pc:spChg chg="add mod">
          <ac:chgData name="Hans Gelissen (DHL SSC Maastricht)" userId="1afa8510-4eed-4b73-a29e-678838cd8acd" providerId="ADAL" clId="{1DAFC12C-989F-4F83-A534-DCC02FD7D8E1}" dt="2023-04-19T10:02:08.806" v="4271" actId="1037"/>
          <ac:spMkLst>
            <pc:docMk/>
            <pc:sldMk cId="2102271174" sldId="334"/>
            <ac:spMk id="29" creationId="{08CDDB09-4C7C-7F76-2ECA-11E715A8017B}"/>
          </ac:spMkLst>
        </pc:spChg>
        <pc:spChg chg="add mod">
          <ac:chgData name="Hans Gelissen (DHL SSC Maastricht)" userId="1afa8510-4eed-4b73-a29e-678838cd8acd" providerId="ADAL" clId="{1DAFC12C-989F-4F83-A534-DCC02FD7D8E1}" dt="2023-04-19T10:02:08.806" v="4271" actId="1037"/>
          <ac:spMkLst>
            <pc:docMk/>
            <pc:sldMk cId="2102271174" sldId="334"/>
            <ac:spMk id="30" creationId="{7F5C102B-8896-5612-9E6B-661393586B48}"/>
          </ac:spMkLst>
        </pc:spChg>
        <pc:spChg chg="add del mod ord">
          <ac:chgData name="Hans Gelissen (DHL SSC Maastricht)" userId="1afa8510-4eed-4b73-a29e-678838cd8acd" providerId="ADAL" clId="{1DAFC12C-989F-4F83-A534-DCC02FD7D8E1}" dt="2023-04-19T10:01:28.552" v="4261" actId="700"/>
          <ac:spMkLst>
            <pc:docMk/>
            <pc:sldMk cId="2102271174" sldId="334"/>
            <ac:spMk id="31" creationId="{BCFE0826-7B04-CBE2-76D9-1B4FA3DB5454}"/>
          </ac:spMkLst>
        </pc:spChg>
        <pc:spChg chg="add del mod ord">
          <ac:chgData name="Hans Gelissen (DHL SSC Maastricht)" userId="1afa8510-4eed-4b73-a29e-678838cd8acd" providerId="ADAL" clId="{1DAFC12C-989F-4F83-A534-DCC02FD7D8E1}" dt="2023-04-19T10:01:27.800" v="4260" actId="700"/>
          <ac:spMkLst>
            <pc:docMk/>
            <pc:sldMk cId="2102271174" sldId="334"/>
            <ac:spMk id="32" creationId="{165EB317-DD31-F37C-618D-96C343EBABCA}"/>
          </ac:spMkLst>
        </pc:spChg>
        <pc:picChg chg="add mod">
          <ac:chgData name="Hans Gelissen (DHL SSC Maastricht)" userId="1afa8510-4eed-4b73-a29e-678838cd8acd" providerId="ADAL" clId="{1DAFC12C-989F-4F83-A534-DCC02FD7D8E1}" dt="2023-04-19T10:02:08.806" v="4271" actId="1037"/>
          <ac:picMkLst>
            <pc:docMk/>
            <pc:sldMk cId="2102271174" sldId="334"/>
            <ac:picMk id="4" creationId="{6031737D-CFEB-8035-6691-7009B12B4D74}"/>
          </ac:picMkLst>
        </pc:picChg>
        <pc:picChg chg="add del mod modCrop">
          <ac:chgData name="Hans Gelissen (DHL SSC Maastricht)" userId="1afa8510-4eed-4b73-a29e-678838cd8acd" providerId="ADAL" clId="{1DAFC12C-989F-4F83-A534-DCC02FD7D8E1}" dt="2023-04-19T09:19:08.954" v="3856" actId="21"/>
          <ac:picMkLst>
            <pc:docMk/>
            <pc:sldMk cId="2102271174" sldId="334"/>
            <ac:picMk id="10" creationId="{5FFABAC3-7460-EC20-96CC-D33378D055A8}"/>
          </ac:picMkLst>
        </pc:picChg>
        <pc:picChg chg="add mod">
          <ac:chgData name="Hans Gelissen (DHL SSC Maastricht)" userId="1afa8510-4eed-4b73-a29e-678838cd8acd" providerId="ADAL" clId="{1DAFC12C-989F-4F83-A534-DCC02FD7D8E1}" dt="2023-04-19T10:02:08.806" v="4271" actId="1037"/>
          <ac:picMkLst>
            <pc:docMk/>
            <pc:sldMk cId="2102271174" sldId="334"/>
            <ac:picMk id="13" creationId="{E6381278-D228-6E5A-B4A1-DD0711DFC702}"/>
          </ac:picMkLst>
        </pc:picChg>
        <pc:picChg chg="add mod">
          <ac:chgData name="Hans Gelissen (DHL SSC Maastricht)" userId="1afa8510-4eed-4b73-a29e-678838cd8acd" providerId="ADAL" clId="{1DAFC12C-989F-4F83-A534-DCC02FD7D8E1}" dt="2023-04-19T10:02:08.806" v="4271" actId="1037"/>
          <ac:picMkLst>
            <pc:docMk/>
            <pc:sldMk cId="2102271174" sldId="334"/>
            <ac:picMk id="15" creationId="{2F485C25-B579-9392-3B22-C58812B6C425}"/>
          </ac:picMkLst>
        </pc:picChg>
        <pc:picChg chg="add mod">
          <ac:chgData name="Hans Gelissen (DHL SSC Maastricht)" userId="1afa8510-4eed-4b73-a29e-678838cd8acd" providerId="ADAL" clId="{1DAFC12C-989F-4F83-A534-DCC02FD7D8E1}" dt="2023-04-19T10:02:08.806" v="4271" actId="1037"/>
          <ac:picMkLst>
            <pc:docMk/>
            <pc:sldMk cId="2102271174" sldId="334"/>
            <ac:picMk id="16" creationId="{7473E8EE-6B8C-FECF-A62A-114C0CBA67A7}"/>
          </ac:picMkLst>
        </pc:picChg>
        <pc:picChg chg="add mod">
          <ac:chgData name="Hans Gelissen (DHL SSC Maastricht)" userId="1afa8510-4eed-4b73-a29e-678838cd8acd" providerId="ADAL" clId="{1DAFC12C-989F-4F83-A534-DCC02FD7D8E1}" dt="2023-04-19T10:02:08.806" v="4271" actId="1037"/>
          <ac:picMkLst>
            <pc:docMk/>
            <pc:sldMk cId="2102271174" sldId="334"/>
            <ac:picMk id="17" creationId="{83EA744C-42C5-7234-BDC1-E905F9C7B0A1}"/>
          </ac:picMkLst>
        </pc:picChg>
        <pc:picChg chg="add mod">
          <ac:chgData name="Hans Gelissen (DHL SSC Maastricht)" userId="1afa8510-4eed-4b73-a29e-678838cd8acd" providerId="ADAL" clId="{1DAFC12C-989F-4F83-A534-DCC02FD7D8E1}" dt="2023-04-19T10:02:08.806" v="4271" actId="1037"/>
          <ac:picMkLst>
            <pc:docMk/>
            <pc:sldMk cId="2102271174" sldId="334"/>
            <ac:picMk id="18" creationId="{461016E5-AC2F-71C2-CF08-8CAA0FBEBB26}"/>
          </ac:picMkLst>
        </pc:picChg>
        <pc:picChg chg="add mod">
          <ac:chgData name="Hans Gelissen (DHL SSC Maastricht)" userId="1afa8510-4eed-4b73-a29e-678838cd8acd" providerId="ADAL" clId="{1DAFC12C-989F-4F83-A534-DCC02FD7D8E1}" dt="2023-04-19T10:02:08.806" v="4271" actId="1037"/>
          <ac:picMkLst>
            <pc:docMk/>
            <pc:sldMk cId="2102271174" sldId="334"/>
            <ac:picMk id="19" creationId="{CB9F40F0-5A17-221C-57F2-922D29061592}"/>
          </ac:picMkLst>
        </pc:picChg>
        <pc:picChg chg="add mod">
          <ac:chgData name="Hans Gelissen (DHL SSC Maastricht)" userId="1afa8510-4eed-4b73-a29e-678838cd8acd" providerId="ADAL" clId="{1DAFC12C-989F-4F83-A534-DCC02FD7D8E1}" dt="2023-04-19T10:02:08.806" v="4271" actId="1037"/>
          <ac:picMkLst>
            <pc:docMk/>
            <pc:sldMk cId="2102271174" sldId="334"/>
            <ac:picMk id="20" creationId="{4897DE91-4421-12B8-3349-B82BB960760C}"/>
          </ac:picMkLst>
        </pc:picChg>
        <pc:picChg chg="add mod">
          <ac:chgData name="Hans Gelissen (DHL SSC Maastricht)" userId="1afa8510-4eed-4b73-a29e-678838cd8acd" providerId="ADAL" clId="{1DAFC12C-989F-4F83-A534-DCC02FD7D8E1}" dt="2023-04-19T10:02:08.806" v="4271" actId="1037"/>
          <ac:picMkLst>
            <pc:docMk/>
            <pc:sldMk cId="2102271174" sldId="334"/>
            <ac:picMk id="21" creationId="{160EB894-DAC9-7DFB-81D9-2085DDCEA69B}"/>
          </ac:picMkLst>
        </pc:picChg>
        <pc:picChg chg="add del mod">
          <ac:chgData name="Hans Gelissen (DHL SSC Maastricht)" userId="1afa8510-4eed-4b73-a29e-678838cd8acd" providerId="ADAL" clId="{1DAFC12C-989F-4F83-A534-DCC02FD7D8E1}" dt="2023-04-19T09:16:12.545" v="3849" actId="478"/>
          <ac:picMkLst>
            <pc:docMk/>
            <pc:sldMk cId="2102271174" sldId="334"/>
            <ac:picMk id="1026" creationId="{0F5807A3-C4FD-956D-2389-742AC045A6B5}"/>
          </ac:picMkLst>
        </pc:picChg>
      </pc:sldChg>
      <pc:sldChg chg="addSp delSp modSp add del mod">
        <pc:chgData name="Hans Gelissen (DHL SSC Maastricht)" userId="1afa8510-4eed-4b73-a29e-678838cd8acd" providerId="ADAL" clId="{1DAFC12C-989F-4F83-A534-DCC02FD7D8E1}" dt="2023-04-19T10:00:51.527" v="4257" actId="47"/>
        <pc:sldMkLst>
          <pc:docMk/>
          <pc:sldMk cId="1808889019" sldId="335"/>
        </pc:sldMkLst>
        <pc:spChg chg="del">
          <ac:chgData name="Hans Gelissen (DHL SSC Maastricht)" userId="1afa8510-4eed-4b73-a29e-678838cd8acd" providerId="ADAL" clId="{1DAFC12C-989F-4F83-A534-DCC02FD7D8E1}" dt="2023-04-19T09:19:43.231" v="3867" actId="478"/>
          <ac:spMkLst>
            <pc:docMk/>
            <pc:sldMk cId="1808889019" sldId="335"/>
            <ac:spMk id="5" creationId="{74BB6020-057C-9467-81CE-E5B66C9C002B}"/>
          </ac:spMkLst>
        </pc:spChg>
        <pc:spChg chg="del">
          <ac:chgData name="Hans Gelissen (DHL SSC Maastricht)" userId="1afa8510-4eed-4b73-a29e-678838cd8acd" providerId="ADAL" clId="{1DAFC12C-989F-4F83-A534-DCC02FD7D8E1}" dt="2023-04-19T09:19:41.555" v="3866" actId="478"/>
          <ac:spMkLst>
            <pc:docMk/>
            <pc:sldMk cId="1808889019" sldId="335"/>
            <ac:spMk id="8" creationId="{0DA5615B-6786-45C7-54FB-96FE41FF214C}"/>
          </ac:spMkLst>
        </pc:spChg>
        <pc:spChg chg="add del mod">
          <ac:chgData name="Hans Gelissen (DHL SSC Maastricht)" userId="1afa8510-4eed-4b73-a29e-678838cd8acd" providerId="ADAL" clId="{1DAFC12C-989F-4F83-A534-DCC02FD7D8E1}" dt="2023-04-19T09:25:20.721" v="3916" actId="931"/>
          <ac:spMkLst>
            <pc:docMk/>
            <pc:sldMk cId="1808889019" sldId="335"/>
            <ac:spMk id="9" creationId="{F707D8E5-E5B7-C5A3-5C0B-530531B63CED}"/>
          </ac:spMkLst>
        </pc:spChg>
        <pc:spChg chg="del">
          <ac:chgData name="Hans Gelissen (DHL SSC Maastricht)" userId="1afa8510-4eed-4b73-a29e-678838cd8acd" providerId="ADAL" clId="{1DAFC12C-989F-4F83-A534-DCC02FD7D8E1}" dt="2023-04-19T09:23:15.693" v="3900" actId="931"/>
          <ac:spMkLst>
            <pc:docMk/>
            <pc:sldMk cId="1808889019" sldId="335"/>
            <ac:spMk id="12" creationId="{28E0AB91-BBB2-DB7B-8CCB-0F76B3F2E3BE}"/>
          </ac:spMkLst>
        </pc:spChg>
        <pc:spChg chg="add del mod">
          <ac:chgData name="Hans Gelissen (DHL SSC Maastricht)" userId="1afa8510-4eed-4b73-a29e-678838cd8acd" providerId="ADAL" clId="{1DAFC12C-989F-4F83-A534-DCC02FD7D8E1}" dt="2023-04-19T09:27:00.710" v="3951" actId="931"/>
          <ac:spMkLst>
            <pc:docMk/>
            <pc:sldMk cId="1808889019" sldId="335"/>
            <ac:spMk id="15" creationId="{D09EA3F5-CC57-CFD2-4AF9-F8C0EB771AC2}"/>
          </ac:spMkLst>
        </pc:spChg>
        <pc:spChg chg="add del mod">
          <ac:chgData name="Hans Gelissen (DHL SSC Maastricht)" userId="1afa8510-4eed-4b73-a29e-678838cd8acd" providerId="ADAL" clId="{1DAFC12C-989F-4F83-A534-DCC02FD7D8E1}" dt="2023-04-19T09:29:40.442" v="4021" actId="931"/>
          <ac:spMkLst>
            <pc:docMk/>
            <pc:sldMk cId="1808889019" sldId="335"/>
            <ac:spMk id="19" creationId="{AC2A1028-66DA-FF4B-9474-1A16F361015B}"/>
          </ac:spMkLst>
        </pc:spChg>
        <pc:spChg chg="add del mod">
          <ac:chgData name="Hans Gelissen (DHL SSC Maastricht)" userId="1afa8510-4eed-4b73-a29e-678838cd8acd" providerId="ADAL" clId="{1DAFC12C-989F-4F83-A534-DCC02FD7D8E1}" dt="2023-04-19T09:50:58.199" v="4030" actId="931"/>
          <ac:spMkLst>
            <pc:docMk/>
            <pc:sldMk cId="1808889019" sldId="335"/>
            <ac:spMk id="23" creationId="{6EAA7FC4-9CFD-7B73-A428-D9D74023D0FE}"/>
          </ac:spMkLst>
        </pc:spChg>
        <pc:spChg chg="add del mod">
          <ac:chgData name="Hans Gelissen (DHL SSC Maastricht)" userId="1afa8510-4eed-4b73-a29e-678838cd8acd" providerId="ADAL" clId="{1DAFC12C-989F-4F83-A534-DCC02FD7D8E1}" dt="2023-04-19T09:52:25.404" v="4038" actId="931"/>
          <ac:spMkLst>
            <pc:docMk/>
            <pc:sldMk cId="1808889019" sldId="335"/>
            <ac:spMk id="27" creationId="{53E1FE60-CD03-BBEA-5314-D84863B7834D}"/>
          </ac:spMkLst>
        </pc:spChg>
        <pc:spChg chg="add del mod">
          <ac:chgData name="Hans Gelissen (DHL SSC Maastricht)" userId="1afa8510-4eed-4b73-a29e-678838cd8acd" providerId="ADAL" clId="{1DAFC12C-989F-4F83-A534-DCC02FD7D8E1}" dt="2023-04-19T09:53:50.612" v="4045" actId="931"/>
          <ac:spMkLst>
            <pc:docMk/>
            <pc:sldMk cId="1808889019" sldId="335"/>
            <ac:spMk id="31" creationId="{EE69F612-0DB5-5369-0105-D32E5487BAAA}"/>
          </ac:spMkLst>
        </pc:spChg>
        <pc:spChg chg="add mod">
          <ac:chgData name="Hans Gelissen (DHL SSC Maastricht)" userId="1afa8510-4eed-4b73-a29e-678838cd8acd" providerId="ADAL" clId="{1DAFC12C-989F-4F83-A534-DCC02FD7D8E1}" dt="2023-04-19T09:53:54.898" v="4048" actId="21"/>
          <ac:spMkLst>
            <pc:docMk/>
            <pc:sldMk cId="1808889019" sldId="335"/>
            <ac:spMk id="35" creationId="{95BA5A3A-2A4D-0C17-9CDC-E47618F39B4A}"/>
          </ac:spMkLst>
        </pc:spChg>
        <pc:picChg chg="del">
          <ac:chgData name="Hans Gelissen (DHL SSC Maastricht)" userId="1afa8510-4eed-4b73-a29e-678838cd8acd" providerId="ADAL" clId="{1DAFC12C-989F-4F83-A534-DCC02FD7D8E1}" dt="2023-04-19T09:19:39.315" v="3864" actId="478"/>
          <ac:picMkLst>
            <pc:docMk/>
            <pc:sldMk cId="1808889019" sldId="335"/>
            <ac:picMk id="4" creationId="{6031737D-CFEB-8035-6691-7009B12B4D74}"/>
          </ac:picMkLst>
        </pc:picChg>
        <pc:picChg chg="add del mod modCrop">
          <ac:chgData name="Hans Gelissen (DHL SSC Maastricht)" userId="1afa8510-4eed-4b73-a29e-678838cd8acd" providerId="ADAL" clId="{1DAFC12C-989F-4F83-A534-DCC02FD7D8E1}" dt="2023-04-19T09:23:36.104" v="3906" actId="21"/>
          <ac:picMkLst>
            <pc:docMk/>
            <pc:sldMk cId="1808889019" sldId="335"/>
            <ac:picMk id="6" creationId="{3DA33D13-F5D7-081C-7A86-D2052449A92F}"/>
          </ac:picMkLst>
        </pc:picChg>
        <pc:picChg chg="add del mod">
          <ac:chgData name="Hans Gelissen (DHL SSC Maastricht)" userId="1afa8510-4eed-4b73-a29e-678838cd8acd" providerId="ADAL" clId="{1DAFC12C-989F-4F83-A534-DCC02FD7D8E1}" dt="2023-04-19T09:25:25.010" v="3918" actId="21"/>
          <ac:picMkLst>
            <pc:docMk/>
            <pc:sldMk cId="1808889019" sldId="335"/>
            <ac:picMk id="11" creationId="{10BB7DAA-54DB-8F12-A1B2-3730E7F6E935}"/>
          </ac:picMkLst>
        </pc:picChg>
        <pc:picChg chg="del">
          <ac:chgData name="Hans Gelissen (DHL SSC Maastricht)" userId="1afa8510-4eed-4b73-a29e-678838cd8acd" providerId="ADAL" clId="{1DAFC12C-989F-4F83-A534-DCC02FD7D8E1}" dt="2023-04-19T09:19:40.343" v="3865" actId="478"/>
          <ac:picMkLst>
            <pc:docMk/>
            <pc:sldMk cId="1808889019" sldId="335"/>
            <ac:picMk id="13" creationId="{E6381278-D228-6E5A-B4A1-DD0711DFC702}"/>
          </ac:picMkLst>
        </pc:picChg>
        <pc:picChg chg="add del mod modCrop">
          <ac:chgData name="Hans Gelissen (DHL SSC Maastricht)" userId="1afa8510-4eed-4b73-a29e-678838cd8acd" providerId="ADAL" clId="{1DAFC12C-989F-4F83-A534-DCC02FD7D8E1}" dt="2023-04-19T09:27:14.386" v="3955" actId="21"/>
          <ac:picMkLst>
            <pc:docMk/>
            <pc:sldMk cId="1808889019" sldId="335"/>
            <ac:picMk id="17" creationId="{32E6F2F7-12E4-D9DA-F284-25CD19E74928}"/>
          </ac:picMkLst>
        </pc:picChg>
        <pc:picChg chg="add del mod modCrop">
          <ac:chgData name="Hans Gelissen (DHL SSC Maastricht)" userId="1afa8510-4eed-4b73-a29e-678838cd8acd" providerId="ADAL" clId="{1DAFC12C-989F-4F83-A534-DCC02FD7D8E1}" dt="2023-04-19T09:29:57.749" v="4027" actId="21"/>
          <ac:picMkLst>
            <pc:docMk/>
            <pc:sldMk cId="1808889019" sldId="335"/>
            <ac:picMk id="21" creationId="{14D4CF93-E12F-6C61-EEDF-31E9DF5D64F8}"/>
          </ac:picMkLst>
        </pc:picChg>
        <pc:picChg chg="add del mod modCrop">
          <ac:chgData name="Hans Gelissen (DHL SSC Maastricht)" userId="1afa8510-4eed-4b73-a29e-678838cd8acd" providerId="ADAL" clId="{1DAFC12C-989F-4F83-A534-DCC02FD7D8E1}" dt="2023-04-19T09:51:11.014" v="4034" actId="21"/>
          <ac:picMkLst>
            <pc:docMk/>
            <pc:sldMk cId="1808889019" sldId="335"/>
            <ac:picMk id="25" creationId="{A0ECDE1C-6C6B-6907-2BAB-5C53580448EA}"/>
          </ac:picMkLst>
        </pc:picChg>
        <pc:picChg chg="add del mod modCrop">
          <ac:chgData name="Hans Gelissen (DHL SSC Maastricht)" userId="1afa8510-4eed-4b73-a29e-678838cd8acd" providerId="ADAL" clId="{1DAFC12C-989F-4F83-A534-DCC02FD7D8E1}" dt="2023-04-19T09:52:45.104" v="4042" actId="21"/>
          <ac:picMkLst>
            <pc:docMk/>
            <pc:sldMk cId="1808889019" sldId="335"/>
            <ac:picMk id="29" creationId="{22F4EC01-A0CD-BF05-5ECF-56FD0F3F0B92}"/>
          </ac:picMkLst>
        </pc:picChg>
        <pc:picChg chg="add del mod">
          <ac:chgData name="Hans Gelissen (DHL SSC Maastricht)" userId="1afa8510-4eed-4b73-a29e-678838cd8acd" providerId="ADAL" clId="{1DAFC12C-989F-4F83-A534-DCC02FD7D8E1}" dt="2023-04-19T09:53:54.898" v="4048" actId="21"/>
          <ac:picMkLst>
            <pc:docMk/>
            <pc:sldMk cId="1808889019" sldId="335"/>
            <ac:picMk id="33" creationId="{A72E95F9-BF4B-C216-7C30-403AE8589312}"/>
          </ac:picMkLst>
        </pc:picChg>
      </pc:sldChg>
      <pc:sldChg chg="modSp add del">
        <pc:chgData name="Hans Gelissen (DHL SSC Maastricht)" userId="1afa8510-4eed-4b73-a29e-678838cd8acd" providerId="ADAL" clId="{1DAFC12C-989F-4F83-A534-DCC02FD7D8E1}" dt="2023-04-19T10:09:35.293" v="4290" actId="47"/>
        <pc:sldMkLst>
          <pc:docMk/>
          <pc:sldMk cId="1908739083" sldId="335"/>
        </pc:sldMkLst>
        <pc:picChg chg="mod">
          <ac:chgData name="Hans Gelissen (DHL SSC Maastricht)" userId="1afa8510-4eed-4b73-a29e-678838cd8acd" providerId="ADAL" clId="{1DAFC12C-989F-4F83-A534-DCC02FD7D8E1}" dt="2023-04-19T10:05:51.074" v="4277"/>
          <ac:picMkLst>
            <pc:docMk/>
            <pc:sldMk cId="1908739083" sldId="335"/>
            <ac:picMk id="13" creationId="{E6381278-D228-6E5A-B4A1-DD0711DFC702}"/>
          </ac:picMkLst>
        </pc:picChg>
        <pc:picChg chg="mod">
          <ac:chgData name="Hans Gelissen (DHL SSC Maastricht)" userId="1afa8510-4eed-4b73-a29e-678838cd8acd" providerId="ADAL" clId="{1DAFC12C-989F-4F83-A534-DCC02FD7D8E1}" dt="2023-04-19T10:05:47.515" v="4276"/>
          <ac:picMkLst>
            <pc:docMk/>
            <pc:sldMk cId="1908739083" sldId="335"/>
            <ac:picMk id="15" creationId="{2F485C25-B579-9392-3B22-C58812B6C425}"/>
          </ac:picMkLst>
        </pc:picChg>
        <pc:picChg chg="mod">
          <ac:chgData name="Hans Gelissen (DHL SSC Maastricht)" userId="1afa8510-4eed-4b73-a29e-678838cd8acd" providerId="ADAL" clId="{1DAFC12C-989F-4F83-A534-DCC02FD7D8E1}" dt="2023-04-19T10:06:04.572" v="4278"/>
          <ac:picMkLst>
            <pc:docMk/>
            <pc:sldMk cId="1908739083" sldId="335"/>
            <ac:picMk id="16" creationId="{7473E8EE-6B8C-FECF-A62A-114C0CBA67A7}"/>
          </ac:picMkLst>
        </pc:picChg>
        <pc:picChg chg="mod">
          <ac:chgData name="Hans Gelissen (DHL SSC Maastricht)" userId="1afa8510-4eed-4b73-a29e-678838cd8acd" providerId="ADAL" clId="{1DAFC12C-989F-4F83-A534-DCC02FD7D8E1}" dt="2023-04-19T10:06:18.493" v="4280"/>
          <ac:picMkLst>
            <pc:docMk/>
            <pc:sldMk cId="1908739083" sldId="335"/>
            <ac:picMk id="17" creationId="{83EA744C-42C5-7234-BDC1-E905F9C7B0A1}"/>
          </ac:picMkLst>
        </pc:picChg>
        <pc:picChg chg="mod">
          <ac:chgData name="Hans Gelissen (DHL SSC Maastricht)" userId="1afa8510-4eed-4b73-a29e-678838cd8acd" providerId="ADAL" clId="{1DAFC12C-989F-4F83-A534-DCC02FD7D8E1}" dt="2023-04-19T10:06:12.723" v="4279"/>
          <ac:picMkLst>
            <pc:docMk/>
            <pc:sldMk cId="1908739083" sldId="335"/>
            <ac:picMk id="18" creationId="{461016E5-AC2F-71C2-CF08-8CAA0FBEBB26}"/>
          </ac:picMkLst>
        </pc:picChg>
        <pc:picChg chg="mod">
          <ac:chgData name="Hans Gelissen (DHL SSC Maastricht)" userId="1afa8510-4eed-4b73-a29e-678838cd8acd" providerId="ADAL" clId="{1DAFC12C-989F-4F83-A534-DCC02FD7D8E1}" dt="2023-04-19T10:06:45.321" v="4281"/>
          <ac:picMkLst>
            <pc:docMk/>
            <pc:sldMk cId="1908739083" sldId="335"/>
            <ac:picMk id="19" creationId="{CB9F40F0-5A17-221C-57F2-922D29061592}"/>
          </ac:picMkLst>
        </pc:picChg>
        <pc:picChg chg="mod">
          <ac:chgData name="Hans Gelissen (DHL SSC Maastricht)" userId="1afa8510-4eed-4b73-a29e-678838cd8acd" providerId="ADAL" clId="{1DAFC12C-989F-4F83-A534-DCC02FD7D8E1}" dt="2023-04-19T10:06:55.547" v="4282"/>
          <ac:picMkLst>
            <pc:docMk/>
            <pc:sldMk cId="1908739083" sldId="335"/>
            <ac:picMk id="20" creationId="{4897DE91-4421-12B8-3349-B82BB960760C}"/>
          </ac:picMkLst>
        </pc:picChg>
        <pc:picChg chg="mod">
          <ac:chgData name="Hans Gelissen (DHL SSC Maastricht)" userId="1afa8510-4eed-4b73-a29e-678838cd8acd" providerId="ADAL" clId="{1DAFC12C-989F-4F83-A534-DCC02FD7D8E1}" dt="2023-04-19T10:07:09.163" v="4283"/>
          <ac:picMkLst>
            <pc:docMk/>
            <pc:sldMk cId="1908739083" sldId="335"/>
            <ac:picMk id="21" creationId="{160EB894-DAC9-7DFB-81D9-2085DDCEA69B}"/>
          </ac:picMkLst>
        </pc:picChg>
      </pc:sldChg>
      <pc:sldChg chg="add del">
        <pc:chgData name="Hans Gelissen (DHL SSC Maastricht)" userId="1afa8510-4eed-4b73-a29e-678838cd8acd" providerId="ADAL" clId="{1DAFC12C-989F-4F83-A534-DCC02FD7D8E1}" dt="2023-04-18T13:43:28.880" v="2977" actId="47"/>
        <pc:sldMkLst>
          <pc:docMk/>
          <pc:sldMk cId="4294489774" sldId="335"/>
        </pc:sldMkLst>
      </pc:sldChg>
      <pc:sldChg chg="add del">
        <pc:chgData name="Hans Gelissen (DHL SSC Maastricht)" userId="1afa8510-4eed-4b73-a29e-678838cd8acd" providerId="ADAL" clId="{1DAFC12C-989F-4F83-A534-DCC02FD7D8E1}" dt="2023-04-19T10:07:36.647" v="4285" actId="47"/>
        <pc:sldMkLst>
          <pc:docMk/>
          <pc:sldMk cId="1115916637" sldId="336"/>
        </pc:sldMkLst>
      </pc:sldChg>
      <pc:sldChg chg="modSp add del">
        <pc:chgData name="Hans Gelissen (DHL SSC Maastricht)" userId="1afa8510-4eed-4b73-a29e-678838cd8acd" providerId="ADAL" clId="{1DAFC12C-989F-4F83-A534-DCC02FD7D8E1}" dt="2023-04-19T10:10:36.781" v="4291" actId="47"/>
        <pc:sldMkLst>
          <pc:docMk/>
          <pc:sldMk cId="1492136657" sldId="336"/>
        </pc:sldMkLst>
        <pc:picChg chg="mod">
          <ac:chgData name="Hans Gelissen (DHL SSC Maastricht)" userId="1afa8510-4eed-4b73-a29e-678838cd8acd" providerId="ADAL" clId="{1DAFC12C-989F-4F83-A534-DCC02FD7D8E1}" dt="2023-04-19T10:09:33.045" v="4289"/>
          <ac:picMkLst>
            <pc:docMk/>
            <pc:sldMk cId="1492136657" sldId="336"/>
            <ac:picMk id="4" creationId="{6031737D-CFEB-8035-6691-7009B12B4D74}"/>
          </ac:picMkLst>
        </pc:picChg>
        <pc:picChg chg="mod">
          <ac:chgData name="Hans Gelissen (DHL SSC Maastricht)" userId="1afa8510-4eed-4b73-a29e-678838cd8acd" providerId="ADAL" clId="{1DAFC12C-989F-4F83-A534-DCC02FD7D8E1}" dt="2023-04-19T10:09:33.045" v="4289"/>
          <ac:picMkLst>
            <pc:docMk/>
            <pc:sldMk cId="1492136657" sldId="336"/>
            <ac:picMk id="13" creationId="{E6381278-D228-6E5A-B4A1-DD0711DFC702}"/>
          </ac:picMkLst>
        </pc:picChg>
        <pc:picChg chg="mod">
          <ac:chgData name="Hans Gelissen (DHL SSC Maastricht)" userId="1afa8510-4eed-4b73-a29e-678838cd8acd" providerId="ADAL" clId="{1DAFC12C-989F-4F83-A534-DCC02FD7D8E1}" dt="2023-04-19T10:09:33.045" v="4289"/>
          <ac:picMkLst>
            <pc:docMk/>
            <pc:sldMk cId="1492136657" sldId="336"/>
            <ac:picMk id="15" creationId="{2F485C25-B579-9392-3B22-C58812B6C425}"/>
          </ac:picMkLst>
        </pc:picChg>
        <pc:picChg chg="mod">
          <ac:chgData name="Hans Gelissen (DHL SSC Maastricht)" userId="1afa8510-4eed-4b73-a29e-678838cd8acd" providerId="ADAL" clId="{1DAFC12C-989F-4F83-A534-DCC02FD7D8E1}" dt="2023-04-19T10:09:33.045" v="4289"/>
          <ac:picMkLst>
            <pc:docMk/>
            <pc:sldMk cId="1492136657" sldId="336"/>
            <ac:picMk id="16" creationId="{7473E8EE-6B8C-FECF-A62A-114C0CBA67A7}"/>
          </ac:picMkLst>
        </pc:picChg>
        <pc:picChg chg="mod">
          <ac:chgData name="Hans Gelissen (DHL SSC Maastricht)" userId="1afa8510-4eed-4b73-a29e-678838cd8acd" providerId="ADAL" clId="{1DAFC12C-989F-4F83-A534-DCC02FD7D8E1}" dt="2023-04-19T10:09:33.045" v="4289"/>
          <ac:picMkLst>
            <pc:docMk/>
            <pc:sldMk cId="1492136657" sldId="336"/>
            <ac:picMk id="17" creationId="{83EA744C-42C5-7234-BDC1-E905F9C7B0A1}"/>
          </ac:picMkLst>
        </pc:picChg>
        <pc:picChg chg="mod">
          <ac:chgData name="Hans Gelissen (DHL SSC Maastricht)" userId="1afa8510-4eed-4b73-a29e-678838cd8acd" providerId="ADAL" clId="{1DAFC12C-989F-4F83-A534-DCC02FD7D8E1}" dt="2023-04-19T10:09:33.045" v="4289"/>
          <ac:picMkLst>
            <pc:docMk/>
            <pc:sldMk cId="1492136657" sldId="336"/>
            <ac:picMk id="18" creationId="{461016E5-AC2F-71C2-CF08-8CAA0FBEBB26}"/>
          </ac:picMkLst>
        </pc:picChg>
        <pc:picChg chg="mod">
          <ac:chgData name="Hans Gelissen (DHL SSC Maastricht)" userId="1afa8510-4eed-4b73-a29e-678838cd8acd" providerId="ADAL" clId="{1DAFC12C-989F-4F83-A534-DCC02FD7D8E1}" dt="2023-04-19T10:09:33.045" v="4289"/>
          <ac:picMkLst>
            <pc:docMk/>
            <pc:sldMk cId="1492136657" sldId="336"/>
            <ac:picMk id="19" creationId="{CB9F40F0-5A17-221C-57F2-922D29061592}"/>
          </ac:picMkLst>
        </pc:picChg>
        <pc:picChg chg="mod">
          <ac:chgData name="Hans Gelissen (DHL SSC Maastricht)" userId="1afa8510-4eed-4b73-a29e-678838cd8acd" providerId="ADAL" clId="{1DAFC12C-989F-4F83-A534-DCC02FD7D8E1}" dt="2023-04-19T10:09:33.045" v="4289"/>
          <ac:picMkLst>
            <pc:docMk/>
            <pc:sldMk cId="1492136657" sldId="336"/>
            <ac:picMk id="20" creationId="{4897DE91-4421-12B8-3349-B82BB960760C}"/>
          </ac:picMkLst>
        </pc:picChg>
        <pc:picChg chg="mod">
          <ac:chgData name="Hans Gelissen (DHL SSC Maastricht)" userId="1afa8510-4eed-4b73-a29e-678838cd8acd" providerId="ADAL" clId="{1DAFC12C-989F-4F83-A534-DCC02FD7D8E1}" dt="2023-04-19T10:09:33.045" v="4289"/>
          <ac:picMkLst>
            <pc:docMk/>
            <pc:sldMk cId="1492136657" sldId="336"/>
            <ac:picMk id="21" creationId="{160EB894-DAC9-7DFB-81D9-2085DDCEA69B}"/>
          </ac:picMkLst>
        </pc:picChg>
      </pc:sldChg>
      <pc:sldMasterChg chg="delSldLayout">
        <pc:chgData name="Hans Gelissen (DHL SSC Maastricht)" userId="1afa8510-4eed-4b73-a29e-678838cd8acd" providerId="ADAL" clId="{1DAFC12C-989F-4F83-A534-DCC02FD7D8E1}" dt="2023-04-18T13:43:28.880" v="2977" actId="47"/>
        <pc:sldMasterMkLst>
          <pc:docMk/>
          <pc:sldMasterMk cId="31158695" sldId="2147483765"/>
        </pc:sldMasterMkLst>
        <pc:sldLayoutChg chg="del">
          <pc:chgData name="Hans Gelissen (DHL SSC Maastricht)" userId="1afa8510-4eed-4b73-a29e-678838cd8acd" providerId="ADAL" clId="{1DAFC12C-989F-4F83-A534-DCC02FD7D8E1}" dt="2023-04-18T13:43:28.880" v="2977" actId="47"/>
          <pc:sldLayoutMkLst>
            <pc:docMk/>
            <pc:sldMasterMk cId="31158695" sldId="2147483765"/>
            <pc:sldLayoutMk cId="1379181406" sldId="2147484036"/>
          </pc:sldLayoutMkLst>
        </pc:sldLayoutChg>
        <pc:sldLayoutChg chg="del">
          <pc:chgData name="Hans Gelissen (DHL SSC Maastricht)" userId="1afa8510-4eed-4b73-a29e-678838cd8acd" providerId="ADAL" clId="{1DAFC12C-989F-4F83-A534-DCC02FD7D8E1}" dt="2023-04-18T13:43:28.880" v="2977" actId="47"/>
          <pc:sldLayoutMkLst>
            <pc:docMk/>
            <pc:sldMasterMk cId="31158695" sldId="2147483765"/>
            <pc:sldLayoutMk cId="50071968" sldId="2147484037"/>
          </pc:sldLayoutMkLst>
        </pc:sldLayoutChg>
      </pc:sldMasterChg>
      <pc:sldMasterChg chg="modSldLayout">
        <pc:chgData name="Hans Gelissen (DHL SSC Maastricht)" userId="1afa8510-4eed-4b73-a29e-678838cd8acd" providerId="ADAL" clId="{1DAFC12C-989F-4F83-A534-DCC02FD7D8E1}" dt="2023-04-18T14:05:31.857" v="3545" actId="14100"/>
        <pc:sldMasterMkLst>
          <pc:docMk/>
          <pc:sldMasterMk cId="2150040083" sldId="2147484015"/>
        </pc:sldMasterMkLst>
        <pc:sldLayoutChg chg="modSp">
          <pc:chgData name="Hans Gelissen (DHL SSC Maastricht)" userId="1afa8510-4eed-4b73-a29e-678838cd8acd" providerId="ADAL" clId="{1DAFC12C-989F-4F83-A534-DCC02FD7D8E1}" dt="2023-04-18T14:05:31.857" v="3545" actId="14100"/>
          <pc:sldLayoutMkLst>
            <pc:docMk/>
            <pc:sldMasterMk cId="2150040083" sldId="2147484015"/>
            <pc:sldLayoutMk cId="2210235025" sldId="2147484016"/>
          </pc:sldLayoutMkLst>
          <pc:picChg chg="mod">
            <ac:chgData name="Hans Gelissen (DHL SSC Maastricht)" userId="1afa8510-4eed-4b73-a29e-678838cd8acd" providerId="ADAL" clId="{1DAFC12C-989F-4F83-A534-DCC02FD7D8E1}" dt="2023-04-18T14:05:31.857" v="3545" actId="14100"/>
            <ac:picMkLst>
              <pc:docMk/>
              <pc:sldMasterMk cId="2150040083" sldId="2147484015"/>
              <pc:sldLayoutMk cId="2210235025" sldId="2147484016"/>
              <ac:picMk id="1026" creationId="{DD31DB22-34D2-415B-AAF3-98308CE2E561}"/>
            </ac:picMkLst>
          </pc:picChg>
        </pc:sldLayoutChg>
      </pc:sldMasterChg>
    </pc:docChg>
  </pc:docChgLst>
  <pc:docChgLst>
    <pc:chgData name="Hans Gelissen (DHL SSC Maastricht)" userId="1afa8510-4eed-4b73-a29e-678838cd8acd" providerId="ADAL" clId="{EE43E865-CFC6-463A-84F5-A0B7D3FF71A7}"/>
    <pc:docChg chg="undo custSel addSld delSld modSld sldOrd modMainMaster">
      <pc:chgData name="Hans Gelissen (DHL SSC Maastricht)" userId="1afa8510-4eed-4b73-a29e-678838cd8acd" providerId="ADAL" clId="{EE43E865-CFC6-463A-84F5-A0B7D3FF71A7}" dt="2023-04-18T10:02:14.683" v="1096" actId="1038"/>
      <pc:docMkLst>
        <pc:docMk/>
      </pc:docMkLst>
      <pc:sldChg chg="modSp mod">
        <pc:chgData name="Hans Gelissen (DHL SSC Maastricht)" userId="1afa8510-4eed-4b73-a29e-678838cd8acd" providerId="ADAL" clId="{EE43E865-CFC6-463A-84F5-A0B7D3FF71A7}" dt="2023-04-18T08:19:36.871" v="56" actId="20577"/>
        <pc:sldMkLst>
          <pc:docMk/>
          <pc:sldMk cId="2338473233" sldId="258"/>
        </pc:sldMkLst>
        <pc:spChg chg="mod">
          <ac:chgData name="Hans Gelissen (DHL SSC Maastricht)" userId="1afa8510-4eed-4b73-a29e-678838cd8acd" providerId="ADAL" clId="{EE43E865-CFC6-463A-84F5-A0B7D3FF71A7}" dt="2023-04-18T08:19:36.871" v="56" actId="20577"/>
          <ac:spMkLst>
            <pc:docMk/>
            <pc:sldMk cId="2338473233" sldId="258"/>
            <ac:spMk id="3" creationId="{6D6E7CE4-2A7C-47FD-AE9E-86763B9D3163}"/>
          </ac:spMkLst>
        </pc:spChg>
      </pc:sldChg>
      <pc:sldChg chg="addSp delSp modSp mod ord modClrScheme chgLayout">
        <pc:chgData name="Hans Gelissen (DHL SSC Maastricht)" userId="1afa8510-4eed-4b73-a29e-678838cd8acd" providerId="ADAL" clId="{EE43E865-CFC6-463A-84F5-A0B7D3FF71A7}" dt="2023-04-18T09:56:24.041" v="1037" actId="404"/>
        <pc:sldMkLst>
          <pc:docMk/>
          <pc:sldMk cId="2219543139" sldId="284"/>
        </pc:sldMkLst>
        <pc:spChg chg="add del mod ord">
          <ac:chgData name="Hans Gelissen (DHL SSC Maastricht)" userId="1afa8510-4eed-4b73-a29e-678838cd8acd" providerId="ADAL" clId="{EE43E865-CFC6-463A-84F5-A0B7D3FF71A7}" dt="2023-04-18T08:20:28.701" v="58" actId="700"/>
          <ac:spMkLst>
            <pc:docMk/>
            <pc:sldMk cId="2219543139" sldId="284"/>
            <ac:spMk id="2" creationId="{1D4ECCF1-FB22-FC82-E9A6-24F1A120CF2C}"/>
          </ac:spMkLst>
        </pc:spChg>
        <pc:spChg chg="mod ord">
          <ac:chgData name="Hans Gelissen (DHL SSC Maastricht)" userId="1afa8510-4eed-4b73-a29e-678838cd8acd" providerId="ADAL" clId="{EE43E865-CFC6-463A-84F5-A0B7D3FF71A7}" dt="2023-04-18T09:56:15.629" v="1035" actId="404"/>
          <ac:spMkLst>
            <pc:docMk/>
            <pc:sldMk cId="2219543139" sldId="284"/>
            <ac:spMk id="3" creationId="{E9505191-D401-4B1F-A0FD-9DA8DF3EA35C}"/>
          </ac:spMkLst>
        </pc:spChg>
        <pc:spChg chg="mod ord">
          <ac:chgData name="Hans Gelissen (DHL SSC Maastricht)" userId="1afa8510-4eed-4b73-a29e-678838cd8acd" providerId="ADAL" clId="{EE43E865-CFC6-463A-84F5-A0B7D3FF71A7}" dt="2023-04-18T09:56:15.629" v="1035" actId="404"/>
          <ac:spMkLst>
            <pc:docMk/>
            <pc:sldMk cId="2219543139" sldId="284"/>
            <ac:spMk id="4" creationId="{CF6CC01A-D8F6-4AE1-A79C-B9423066DA29}"/>
          </ac:spMkLst>
        </pc:spChg>
        <pc:spChg chg="mod ord">
          <ac:chgData name="Hans Gelissen (DHL SSC Maastricht)" userId="1afa8510-4eed-4b73-a29e-678838cd8acd" providerId="ADAL" clId="{EE43E865-CFC6-463A-84F5-A0B7D3FF71A7}" dt="2023-04-18T09:56:15.629" v="1035" actId="404"/>
          <ac:spMkLst>
            <pc:docMk/>
            <pc:sldMk cId="2219543139" sldId="284"/>
            <ac:spMk id="5" creationId="{530A048D-D80F-4F76-9FB5-FE1C09E5CE0D}"/>
          </ac:spMkLst>
        </pc:spChg>
        <pc:spChg chg="add del mod ord">
          <ac:chgData name="Hans Gelissen (DHL SSC Maastricht)" userId="1afa8510-4eed-4b73-a29e-678838cd8acd" providerId="ADAL" clId="{EE43E865-CFC6-463A-84F5-A0B7D3FF71A7}" dt="2023-04-18T08:20:59.125" v="60" actId="700"/>
          <ac:spMkLst>
            <pc:docMk/>
            <pc:sldMk cId="2219543139" sldId="284"/>
            <ac:spMk id="6" creationId="{59655FC4-548E-C4AA-7EBD-B65702E99006}"/>
          </ac:spMkLst>
        </pc:spChg>
        <pc:spChg chg="add del mod ord">
          <ac:chgData name="Hans Gelissen (DHL SSC Maastricht)" userId="1afa8510-4eed-4b73-a29e-678838cd8acd" providerId="ADAL" clId="{EE43E865-CFC6-463A-84F5-A0B7D3FF71A7}" dt="2023-04-18T08:22:19.544" v="64" actId="700"/>
          <ac:spMkLst>
            <pc:docMk/>
            <pc:sldMk cId="2219543139" sldId="284"/>
            <ac:spMk id="7" creationId="{E3F9B729-7BA9-9311-463C-3BFBFC656540}"/>
          </ac:spMkLst>
        </pc:spChg>
        <pc:spChg chg="add del mod ord">
          <ac:chgData name="Hans Gelissen (DHL SSC Maastricht)" userId="1afa8510-4eed-4b73-a29e-678838cd8acd" providerId="ADAL" clId="{EE43E865-CFC6-463A-84F5-A0B7D3FF71A7}" dt="2023-04-18T08:22:19.125" v="63" actId="700"/>
          <ac:spMkLst>
            <pc:docMk/>
            <pc:sldMk cId="2219543139" sldId="284"/>
            <ac:spMk id="8" creationId="{C8363BCD-BFCA-23EB-ED06-D1B5DD379008}"/>
          </ac:spMkLst>
        </pc:spChg>
        <pc:spChg chg="add del mod ord">
          <ac:chgData name="Hans Gelissen (DHL SSC Maastricht)" userId="1afa8510-4eed-4b73-a29e-678838cd8acd" providerId="ADAL" clId="{EE43E865-CFC6-463A-84F5-A0B7D3FF71A7}" dt="2023-04-18T08:37:40.660" v="66" actId="931"/>
          <ac:spMkLst>
            <pc:docMk/>
            <pc:sldMk cId="2219543139" sldId="284"/>
            <ac:spMk id="9" creationId="{0F9E1E51-AB1D-FF3E-C0E1-78799DD80EF6}"/>
          </ac:spMkLst>
        </pc:spChg>
        <pc:spChg chg="mod ord">
          <ac:chgData name="Hans Gelissen (DHL SSC Maastricht)" userId="1afa8510-4eed-4b73-a29e-678838cd8acd" providerId="ADAL" clId="{EE43E865-CFC6-463A-84F5-A0B7D3FF71A7}" dt="2023-04-18T09:56:24.041" v="1037" actId="404"/>
          <ac:spMkLst>
            <pc:docMk/>
            <pc:sldMk cId="2219543139" sldId="284"/>
            <ac:spMk id="13" creationId="{FA76B5CC-DC49-478B-863A-771D8690CCD5}"/>
          </ac:spMkLst>
        </pc:spChg>
        <pc:spChg chg="add del mod">
          <ac:chgData name="Hans Gelissen (DHL SSC Maastricht)" userId="1afa8510-4eed-4b73-a29e-678838cd8acd" providerId="ADAL" clId="{EE43E865-CFC6-463A-84F5-A0B7D3FF71A7}" dt="2023-04-18T08:38:11.402" v="69" actId="931"/>
          <ac:spMkLst>
            <pc:docMk/>
            <pc:sldMk cId="2219543139" sldId="284"/>
            <ac:spMk id="14" creationId="{3431C356-F7B0-E077-D24C-DC7AA8DD69B6}"/>
          </ac:spMkLst>
        </pc:spChg>
        <pc:spChg chg="add del mod">
          <ac:chgData name="Hans Gelissen (DHL SSC Maastricht)" userId="1afa8510-4eed-4b73-a29e-678838cd8acd" providerId="ADAL" clId="{EE43E865-CFC6-463A-84F5-A0B7D3FF71A7}" dt="2023-04-18T08:42:09.480" v="79" actId="700"/>
          <ac:spMkLst>
            <pc:docMk/>
            <pc:sldMk cId="2219543139" sldId="284"/>
            <ac:spMk id="18" creationId="{DF686830-11FB-C6A5-6021-669A7E533DF3}"/>
          </ac:spMkLst>
        </pc:spChg>
        <pc:picChg chg="add del mod modCrop">
          <ac:chgData name="Hans Gelissen (DHL SSC Maastricht)" userId="1afa8510-4eed-4b73-a29e-678838cd8acd" providerId="ADAL" clId="{EE43E865-CFC6-463A-84F5-A0B7D3FF71A7}" dt="2023-04-18T08:37:58.737" v="68" actId="21"/>
          <ac:picMkLst>
            <pc:docMk/>
            <pc:sldMk cId="2219543139" sldId="284"/>
            <ac:picMk id="11" creationId="{0A09A1AD-214F-B3DC-26A7-AA153292C153}"/>
          </ac:picMkLst>
        </pc:picChg>
        <pc:picChg chg="add del mod modCrop">
          <ac:chgData name="Hans Gelissen (DHL SSC Maastricht)" userId="1afa8510-4eed-4b73-a29e-678838cd8acd" providerId="ADAL" clId="{EE43E865-CFC6-463A-84F5-A0B7D3FF71A7}" dt="2023-04-18T08:38:48.401" v="78" actId="21"/>
          <ac:picMkLst>
            <pc:docMk/>
            <pc:sldMk cId="2219543139" sldId="284"/>
            <ac:picMk id="16" creationId="{280E84A6-94D7-4964-8559-2270EC953A26}"/>
          </ac:picMkLst>
        </pc:picChg>
      </pc:sldChg>
      <pc:sldChg chg="delCm">
        <pc:chgData name="Hans Gelissen (DHL SSC Maastricht)" userId="1afa8510-4eed-4b73-a29e-678838cd8acd" providerId="ADAL" clId="{EE43E865-CFC6-463A-84F5-A0B7D3FF71A7}" dt="2023-04-18T08:18:56.772" v="2"/>
        <pc:sldMkLst>
          <pc:docMk/>
          <pc:sldMk cId="2770353991" sldId="288"/>
        </pc:sldMkLst>
      </pc:sldChg>
      <pc:sldChg chg="addSp delSp modSp mod ord">
        <pc:chgData name="Hans Gelissen (DHL SSC Maastricht)" userId="1afa8510-4eed-4b73-a29e-678838cd8acd" providerId="ADAL" clId="{EE43E865-CFC6-463A-84F5-A0B7D3FF71A7}" dt="2023-04-18T08:46:01.311" v="90" actId="5793"/>
        <pc:sldMkLst>
          <pc:docMk/>
          <pc:sldMk cId="2652363728" sldId="292"/>
        </pc:sldMkLst>
        <pc:spChg chg="mod">
          <ac:chgData name="Hans Gelissen (DHL SSC Maastricht)" userId="1afa8510-4eed-4b73-a29e-678838cd8acd" providerId="ADAL" clId="{EE43E865-CFC6-463A-84F5-A0B7D3FF71A7}" dt="2023-04-18T08:45:53.763" v="88" actId="6549"/>
          <ac:spMkLst>
            <pc:docMk/>
            <pc:sldMk cId="2652363728" sldId="292"/>
            <ac:spMk id="3" creationId="{5D6FC936-E942-4163-A5C5-DC4A16AC4E80}"/>
          </ac:spMkLst>
        </pc:spChg>
        <pc:spChg chg="add mod">
          <ac:chgData name="Hans Gelissen (DHL SSC Maastricht)" userId="1afa8510-4eed-4b73-a29e-678838cd8acd" providerId="ADAL" clId="{EE43E865-CFC6-463A-84F5-A0B7D3FF71A7}" dt="2023-04-18T08:45:19.363" v="84" actId="478"/>
          <ac:spMkLst>
            <pc:docMk/>
            <pc:sldMk cId="2652363728" sldId="292"/>
            <ac:spMk id="4" creationId="{6FEC531B-0E03-E6C0-ADF7-2D821CAE0A89}"/>
          </ac:spMkLst>
        </pc:spChg>
        <pc:spChg chg="add mod">
          <ac:chgData name="Hans Gelissen (DHL SSC Maastricht)" userId="1afa8510-4eed-4b73-a29e-678838cd8acd" providerId="ADAL" clId="{EE43E865-CFC6-463A-84F5-A0B7D3FF71A7}" dt="2023-04-18T08:45:30.011" v="85" actId="478"/>
          <ac:spMkLst>
            <pc:docMk/>
            <pc:sldMk cId="2652363728" sldId="292"/>
            <ac:spMk id="6" creationId="{DC92F33C-68EC-372D-9F14-EB078E897441}"/>
          </ac:spMkLst>
        </pc:spChg>
        <pc:spChg chg="mod">
          <ac:chgData name="Hans Gelissen (DHL SSC Maastricht)" userId="1afa8510-4eed-4b73-a29e-678838cd8acd" providerId="ADAL" clId="{EE43E865-CFC6-463A-84F5-A0B7D3FF71A7}" dt="2023-04-18T08:46:01.311" v="90" actId="5793"/>
          <ac:spMkLst>
            <pc:docMk/>
            <pc:sldMk cId="2652363728" sldId="292"/>
            <ac:spMk id="8" creationId="{44474064-2DB4-41EA-94B5-D2B62486B2A9}"/>
          </ac:spMkLst>
        </pc:spChg>
        <pc:spChg chg="add mod">
          <ac:chgData name="Hans Gelissen (DHL SSC Maastricht)" userId="1afa8510-4eed-4b73-a29e-678838cd8acd" providerId="ADAL" clId="{EE43E865-CFC6-463A-84F5-A0B7D3FF71A7}" dt="2023-04-18T08:45:30.811" v="86" actId="478"/>
          <ac:spMkLst>
            <pc:docMk/>
            <pc:sldMk cId="2652363728" sldId="292"/>
            <ac:spMk id="9" creationId="{7268A0B5-E529-69BC-6FDA-288E3F7093A8}"/>
          </ac:spMkLst>
        </pc:spChg>
        <pc:spChg chg="add mod">
          <ac:chgData name="Hans Gelissen (DHL SSC Maastricht)" userId="1afa8510-4eed-4b73-a29e-678838cd8acd" providerId="ADAL" clId="{EE43E865-CFC6-463A-84F5-A0B7D3FF71A7}" dt="2023-04-18T08:45:31.581" v="87" actId="478"/>
          <ac:spMkLst>
            <pc:docMk/>
            <pc:sldMk cId="2652363728" sldId="292"/>
            <ac:spMk id="13" creationId="{5F89EA13-C2EA-EE08-CA7B-720C2BA1A728}"/>
          </ac:spMkLst>
        </pc:spChg>
        <pc:picChg chg="del">
          <ac:chgData name="Hans Gelissen (DHL SSC Maastricht)" userId="1afa8510-4eed-4b73-a29e-678838cd8acd" providerId="ADAL" clId="{EE43E865-CFC6-463A-84F5-A0B7D3FF71A7}" dt="2023-04-18T08:45:19.363" v="84" actId="478"/>
          <ac:picMkLst>
            <pc:docMk/>
            <pc:sldMk cId="2652363728" sldId="292"/>
            <ac:picMk id="10" creationId="{E715FA2D-156D-4836-B52D-F3A3D134AA62}"/>
          </ac:picMkLst>
        </pc:picChg>
        <pc:picChg chg="del">
          <ac:chgData name="Hans Gelissen (DHL SSC Maastricht)" userId="1afa8510-4eed-4b73-a29e-678838cd8acd" providerId="ADAL" clId="{EE43E865-CFC6-463A-84F5-A0B7D3FF71A7}" dt="2023-04-18T08:45:30.011" v="85" actId="478"/>
          <ac:picMkLst>
            <pc:docMk/>
            <pc:sldMk cId="2652363728" sldId="292"/>
            <ac:picMk id="12" creationId="{F4C57FF2-15C1-436A-8607-842C667F8774}"/>
          </ac:picMkLst>
        </pc:picChg>
        <pc:picChg chg="del">
          <ac:chgData name="Hans Gelissen (DHL SSC Maastricht)" userId="1afa8510-4eed-4b73-a29e-678838cd8acd" providerId="ADAL" clId="{EE43E865-CFC6-463A-84F5-A0B7D3FF71A7}" dt="2023-04-18T08:45:30.811" v="86" actId="478"/>
          <ac:picMkLst>
            <pc:docMk/>
            <pc:sldMk cId="2652363728" sldId="292"/>
            <ac:picMk id="14" creationId="{B503B7A6-EA2B-4B15-8F1C-4BA2812997FF}"/>
          </ac:picMkLst>
        </pc:picChg>
        <pc:picChg chg="del">
          <ac:chgData name="Hans Gelissen (DHL SSC Maastricht)" userId="1afa8510-4eed-4b73-a29e-678838cd8acd" providerId="ADAL" clId="{EE43E865-CFC6-463A-84F5-A0B7D3FF71A7}" dt="2023-04-18T08:45:31.581" v="87" actId="478"/>
          <ac:picMkLst>
            <pc:docMk/>
            <pc:sldMk cId="2652363728" sldId="292"/>
            <ac:picMk id="16" creationId="{04B16121-6533-4512-8F5E-6255CA25D905}"/>
          </ac:picMkLst>
        </pc:picChg>
      </pc:sldChg>
      <pc:sldChg chg="delCm">
        <pc:chgData name="Hans Gelissen (DHL SSC Maastricht)" userId="1afa8510-4eed-4b73-a29e-678838cd8acd" providerId="ADAL" clId="{EE43E865-CFC6-463A-84F5-A0B7D3FF71A7}" dt="2023-04-18T09:31:38.795" v="294"/>
        <pc:sldMkLst>
          <pc:docMk/>
          <pc:sldMk cId="2805156081" sldId="293"/>
        </pc:sldMkLst>
      </pc:sldChg>
      <pc:sldChg chg="modSp mod modClrScheme chgLayout">
        <pc:chgData name="Hans Gelissen (DHL SSC Maastricht)" userId="1afa8510-4eed-4b73-a29e-678838cd8acd" providerId="ADAL" clId="{EE43E865-CFC6-463A-84F5-A0B7D3FF71A7}" dt="2023-04-18T09:33:39.362" v="302" actId="700"/>
        <pc:sldMkLst>
          <pc:docMk/>
          <pc:sldMk cId="1072775512" sldId="294"/>
        </pc:sldMkLst>
        <pc:spChg chg="mod ord">
          <ac:chgData name="Hans Gelissen (DHL SSC Maastricht)" userId="1afa8510-4eed-4b73-a29e-678838cd8acd" providerId="ADAL" clId="{EE43E865-CFC6-463A-84F5-A0B7D3FF71A7}" dt="2023-04-18T09:33:39.362" v="302" actId="700"/>
          <ac:spMkLst>
            <pc:docMk/>
            <pc:sldMk cId="1072775512" sldId="294"/>
            <ac:spMk id="3" creationId="{E194BAAD-BF3F-48A4-B3DF-AB4126E03F80}"/>
          </ac:spMkLst>
        </pc:spChg>
      </pc:sldChg>
      <pc:sldChg chg="modSp mod modClrScheme chgLayout">
        <pc:chgData name="Hans Gelissen (DHL SSC Maastricht)" userId="1afa8510-4eed-4b73-a29e-678838cd8acd" providerId="ADAL" clId="{EE43E865-CFC6-463A-84F5-A0B7D3FF71A7}" dt="2023-04-18T09:39:26.294" v="347" actId="1076"/>
        <pc:sldMkLst>
          <pc:docMk/>
          <pc:sldMk cId="3324986662" sldId="295"/>
        </pc:sldMkLst>
        <pc:spChg chg="mod">
          <ac:chgData name="Hans Gelissen (DHL SSC Maastricht)" userId="1afa8510-4eed-4b73-a29e-678838cd8acd" providerId="ADAL" clId="{EE43E865-CFC6-463A-84F5-A0B7D3FF71A7}" dt="2023-04-18T09:39:26.294" v="347" actId="1076"/>
          <ac:spMkLst>
            <pc:docMk/>
            <pc:sldMk cId="3324986662" sldId="295"/>
            <ac:spMk id="3" creationId="{EBE44B19-5E42-4632-8FE3-E30BAF231CF8}"/>
          </ac:spMkLst>
        </pc:spChg>
        <pc:spChg chg="mod ord">
          <ac:chgData name="Hans Gelissen (DHL SSC Maastricht)" userId="1afa8510-4eed-4b73-a29e-678838cd8acd" providerId="ADAL" clId="{EE43E865-CFC6-463A-84F5-A0B7D3FF71A7}" dt="2023-04-18T09:38:37.668" v="326" actId="700"/>
          <ac:spMkLst>
            <pc:docMk/>
            <pc:sldMk cId="3324986662" sldId="295"/>
            <ac:spMk id="4" creationId="{8E2C7162-F817-4E94-BB11-5674D6E21039}"/>
          </ac:spMkLst>
        </pc:spChg>
        <pc:spChg chg="mod">
          <ac:chgData name="Hans Gelissen (DHL SSC Maastricht)" userId="1afa8510-4eed-4b73-a29e-678838cd8acd" providerId="ADAL" clId="{EE43E865-CFC6-463A-84F5-A0B7D3FF71A7}" dt="2023-04-18T09:39:07.892" v="334" actId="1076"/>
          <ac:spMkLst>
            <pc:docMk/>
            <pc:sldMk cId="3324986662" sldId="295"/>
            <ac:spMk id="5" creationId="{0707BFA8-1F51-4509-A438-430E729C89F9}"/>
          </ac:spMkLst>
        </pc:spChg>
      </pc:sldChg>
      <pc:sldChg chg="delCm">
        <pc:chgData name="Hans Gelissen (DHL SSC Maastricht)" userId="1afa8510-4eed-4b73-a29e-678838cd8acd" providerId="ADAL" clId="{EE43E865-CFC6-463A-84F5-A0B7D3FF71A7}" dt="2023-04-18T09:32:08.158" v="296"/>
        <pc:sldMkLst>
          <pc:docMk/>
          <pc:sldMk cId="1135528617" sldId="296"/>
        </pc:sldMkLst>
      </pc:sldChg>
      <pc:sldChg chg="modSp mod delCm">
        <pc:chgData name="Hans Gelissen (DHL SSC Maastricht)" userId="1afa8510-4eed-4b73-a29e-678838cd8acd" providerId="ADAL" clId="{EE43E865-CFC6-463A-84F5-A0B7D3FF71A7}" dt="2023-04-18T09:57:49.068" v="1069" actId="1038"/>
        <pc:sldMkLst>
          <pc:docMk/>
          <pc:sldMk cId="881367480" sldId="297"/>
        </pc:sldMkLst>
        <pc:spChg chg="mod">
          <ac:chgData name="Hans Gelissen (DHL SSC Maastricht)" userId="1afa8510-4eed-4b73-a29e-678838cd8acd" providerId="ADAL" clId="{EE43E865-CFC6-463A-84F5-A0B7D3FF71A7}" dt="2023-04-18T09:57:49.068" v="1069" actId="1038"/>
          <ac:spMkLst>
            <pc:docMk/>
            <pc:sldMk cId="881367480" sldId="297"/>
            <ac:spMk id="8" creationId="{ECEAB483-8E21-42CC-870F-BE6C52E578DB}"/>
          </ac:spMkLst>
        </pc:spChg>
      </pc:sldChg>
      <pc:sldChg chg="modSp mod">
        <pc:chgData name="Hans Gelissen (DHL SSC Maastricht)" userId="1afa8510-4eed-4b73-a29e-678838cd8acd" providerId="ADAL" clId="{EE43E865-CFC6-463A-84F5-A0B7D3FF71A7}" dt="2023-04-18T09:33:48.558" v="305" actId="1038"/>
        <pc:sldMkLst>
          <pc:docMk/>
          <pc:sldMk cId="1321327356" sldId="300"/>
        </pc:sldMkLst>
        <pc:picChg chg="mod">
          <ac:chgData name="Hans Gelissen (DHL SSC Maastricht)" userId="1afa8510-4eed-4b73-a29e-678838cd8acd" providerId="ADAL" clId="{EE43E865-CFC6-463A-84F5-A0B7D3FF71A7}" dt="2023-04-18T09:33:48.558" v="305" actId="1038"/>
          <ac:picMkLst>
            <pc:docMk/>
            <pc:sldMk cId="1321327356" sldId="300"/>
            <ac:picMk id="15" creationId="{1A8C8E7B-A2F5-457B-B0BD-04B736AB563D}"/>
          </ac:picMkLst>
        </pc:picChg>
      </pc:sldChg>
      <pc:sldChg chg="delCm">
        <pc:chgData name="Hans Gelissen (DHL SSC Maastricht)" userId="1afa8510-4eed-4b73-a29e-678838cd8acd" providerId="ADAL" clId="{EE43E865-CFC6-463A-84F5-A0B7D3FF71A7}" dt="2023-04-18T09:32:19.573" v="297"/>
        <pc:sldMkLst>
          <pc:docMk/>
          <pc:sldMk cId="2960814601" sldId="302"/>
        </pc:sldMkLst>
      </pc:sldChg>
      <pc:sldChg chg="addSp delSp modSp mod modClrScheme chgLayout">
        <pc:chgData name="Hans Gelissen (DHL SSC Maastricht)" userId="1afa8510-4eed-4b73-a29e-678838cd8acd" providerId="ADAL" clId="{EE43E865-CFC6-463A-84F5-A0B7D3FF71A7}" dt="2023-04-18T09:35:47.788" v="319"/>
        <pc:sldMkLst>
          <pc:docMk/>
          <pc:sldMk cId="2804179008" sldId="305"/>
        </pc:sldMkLst>
        <pc:spChg chg="add del mod ord">
          <ac:chgData name="Hans Gelissen (DHL SSC Maastricht)" userId="1afa8510-4eed-4b73-a29e-678838cd8acd" providerId="ADAL" clId="{EE43E865-CFC6-463A-84F5-A0B7D3FF71A7}" dt="2023-04-18T09:35:18.282" v="308" actId="478"/>
          <ac:spMkLst>
            <pc:docMk/>
            <pc:sldMk cId="2804179008" sldId="305"/>
            <ac:spMk id="2" creationId="{F235BA99-F5D6-2F38-CA2E-9398E49DE890}"/>
          </ac:spMkLst>
        </pc:spChg>
        <pc:spChg chg="mod ord">
          <ac:chgData name="Hans Gelissen (DHL SSC Maastricht)" userId="1afa8510-4eed-4b73-a29e-678838cd8acd" providerId="ADAL" clId="{EE43E865-CFC6-463A-84F5-A0B7D3FF71A7}" dt="2023-04-18T09:35:13.916" v="307" actId="700"/>
          <ac:spMkLst>
            <pc:docMk/>
            <pc:sldMk cId="2804179008" sldId="305"/>
            <ac:spMk id="3" creationId="{74260B93-38F9-4918-B41F-C916534B721C}"/>
          </ac:spMkLst>
        </pc:spChg>
        <pc:picChg chg="add mod">
          <ac:chgData name="Hans Gelissen (DHL SSC Maastricht)" userId="1afa8510-4eed-4b73-a29e-678838cd8acd" providerId="ADAL" clId="{EE43E865-CFC6-463A-84F5-A0B7D3FF71A7}" dt="2023-04-18T09:35:47.788" v="319"/>
          <ac:picMkLst>
            <pc:docMk/>
            <pc:sldMk cId="2804179008" sldId="305"/>
            <ac:picMk id="4" creationId="{33C266AC-61B2-7064-4A5F-BFA3BB8710C4}"/>
          </ac:picMkLst>
        </pc:picChg>
      </pc:sldChg>
      <pc:sldChg chg="modSp mod modClrScheme chgLayout">
        <pc:chgData name="Hans Gelissen (DHL SSC Maastricht)" userId="1afa8510-4eed-4b73-a29e-678838cd8acd" providerId="ADAL" clId="{EE43E865-CFC6-463A-84F5-A0B7D3FF71A7}" dt="2023-04-18T09:37:58.121" v="325" actId="700"/>
        <pc:sldMkLst>
          <pc:docMk/>
          <pc:sldMk cId="1990072633" sldId="306"/>
        </pc:sldMkLst>
        <pc:spChg chg="mod ord">
          <ac:chgData name="Hans Gelissen (DHL SSC Maastricht)" userId="1afa8510-4eed-4b73-a29e-678838cd8acd" providerId="ADAL" clId="{EE43E865-CFC6-463A-84F5-A0B7D3FF71A7}" dt="2023-04-18T09:37:58.121" v="325" actId="700"/>
          <ac:spMkLst>
            <pc:docMk/>
            <pc:sldMk cId="1990072633" sldId="306"/>
            <ac:spMk id="3" creationId="{31D09A5E-707B-4DAE-B4A3-C64875525CE9}"/>
          </ac:spMkLst>
        </pc:spChg>
      </pc:sldChg>
      <pc:sldChg chg="delCm">
        <pc:chgData name="Hans Gelissen (DHL SSC Maastricht)" userId="1afa8510-4eed-4b73-a29e-678838cd8acd" providerId="ADAL" clId="{EE43E865-CFC6-463A-84F5-A0B7D3FF71A7}" dt="2023-04-18T09:32:27.096" v="298"/>
        <pc:sldMkLst>
          <pc:docMk/>
          <pc:sldMk cId="787262473" sldId="308"/>
        </pc:sldMkLst>
      </pc:sldChg>
      <pc:sldChg chg="delCm">
        <pc:chgData name="Hans Gelissen (DHL SSC Maastricht)" userId="1afa8510-4eed-4b73-a29e-678838cd8acd" providerId="ADAL" clId="{EE43E865-CFC6-463A-84F5-A0B7D3FF71A7}" dt="2023-04-18T09:32:39.619" v="299"/>
        <pc:sldMkLst>
          <pc:docMk/>
          <pc:sldMk cId="3703085558" sldId="315"/>
        </pc:sldMkLst>
      </pc:sldChg>
      <pc:sldChg chg="mod modClrScheme chgLayout">
        <pc:chgData name="Hans Gelissen (DHL SSC Maastricht)" userId="1afa8510-4eed-4b73-a29e-678838cd8acd" providerId="ADAL" clId="{EE43E865-CFC6-463A-84F5-A0B7D3FF71A7}" dt="2023-04-18T09:36:41.843" v="322" actId="700"/>
        <pc:sldMkLst>
          <pc:docMk/>
          <pc:sldMk cId="1458011321" sldId="317"/>
        </pc:sldMkLst>
      </pc:sldChg>
      <pc:sldChg chg="delCm">
        <pc:chgData name="Hans Gelissen (DHL SSC Maastricht)" userId="1afa8510-4eed-4b73-a29e-678838cd8acd" providerId="ADAL" clId="{EE43E865-CFC6-463A-84F5-A0B7D3FF71A7}" dt="2023-04-18T09:32:46.808" v="300"/>
        <pc:sldMkLst>
          <pc:docMk/>
          <pc:sldMk cId="4246254376" sldId="325"/>
        </pc:sldMkLst>
      </pc:sldChg>
      <pc:sldChg chg="new del">
        <pc:chgData name="Hans Gelissen (DHL SSC Maastricht)" userId="1afa8510-4eed-4b73-a29e-678838cd8acd" providerId="ADAL" clId="{EE43E865-CFC6-463A-84F5-A0B7D3FF71A7}" dt="2023-04-18T08:53:43.550" v="92" actId="680"/>
        <pc:sldMkLst>
          <pc:docMk/>
          <pc:sldMk cId="2407441562" sldId="329"/>
        </pc:sldMkLst>
      </pc:sldChg>
      <pc:sldChg chg="addSp delSp modSp new mod modClrScheme chgLayout">
        <pc:chgData name="Hans Gelissen (DHL SSC Maastricht)" userId="1afa8510-4eed-4b73-a29e-678838cd8acd" providerId="ADAL" clId="{EE43E865-CFC6-463A-84F5-A0B7D3FF71A7}" dt="2023-04-18T09:49:34.109" v="782" actId="20577"/>
        <pc:sldMkLst>
          <pc:docMk/>
          <pc:sldMk cId="2432827905" sldId="329"/>
        </pc:sldMkLst>
        <pc:spChg chg="del mod ord">
          <ac:chgData name="Hans Gelissen (DHL SSC Maastricht)" userId="1afa8510-4eed-4b73-a29e-678838cd8acd" providerId="ADAL" clId="{EE43E865-CFC6-463A-84F5-A0B7D3FF71A7}" dt="2023-04-18T08:54:31.915" v="94" actId="700"/>
          <ac:spMkLst>
            <pc:docMk/>
            <pc:sldMk cId="2432827905" sldId="329"/>
            <ac:spMk id="2" creationId="{E6389E28-A3E1-67E3-3A69-EAF9BAAF8B20}"/>
          </ac:spMkLst>
        </pc:spChg>
        <pc:spChg chg="add mod ord">
          <ac:chgData name="Hans Gelissen (DHL SSC Maastricht)" userId="1afa8510-4eed-4b73-a29e-678838cd8acd" providerId="ADAL" clId="{EE43E865-CFC6-463A-84F5-A0B7D3FF71A7}" dt="2023-04-18T09:45:43.107" v="348" actId="700"/>
          <ac:spMkLst>
            <pc:docMk/>
            <pc:sldMk cId="2432827905" sldId="329"/>
            <ac:spMk id="3" creationId="{7EE95FA1-02A4-1FEA-87C3-25038EA2DBD2}"/>
          </ac:spMkLst>
        </pc:spChg>
        <pc:spChg chg="add del mod">
          <ac:chgData name="Hans Gelissen (DHL SSC Maastricht)" userId="1afa8510-4eed-4b73-a29e-678838cd8acd" providerId="ADAL" clId="{EE43E865-CFC6-463A-84F5-A0B7D3FF71A7}" dt="2023-04-18T08:56:18.997" v="132"/>
          <ac:spMkLst>
            <pc:docMk/>
            <pc:sldMk cId="2432827905" sldId="329"/>
            <ac:spMk id="4" creationId="{367C71D9-57C8-C03F-DEA5-2CBCA546018A}"/>
          </ac:spMkLst>
        </pc:spChg>
        <pc:spChg chg="add mod ord">
          <ac:chgData name="Hans Gelissen (DHL SSC Maastricht)" userId="1afa8510-4eed-4b73-a29e-678838cd8acd" providerId="ADAL" clId="{EE43E865-CFC6-463A-84F5-A0B7D3FF71A7}" dt="2023-04-18T09:49:34.109" v="782" actId="20577"/>
          <ac:spMkLst>
            <pc:docMk/>
            <pc:sldMk cId="2432827905" sldId="329"/>
            <ac:spMk id="5" creationId="{E1D4398F-7BD7-371F-7810-340617144372}"/>
          </ac:spMkLst>
        </pc:spChg>
      </pc:sldChg>
      <pc:sldMasterChg chg="modSldLayout">
        <pc:chgData name="Hans Gelissen (DHL SSC Maastricht)" userId="1afa8510-4eed-4b73-a29e-678838cd8acd" providerId="ADAL" clId="{EE43E865-CFC6-463A-84F5-A0B7D3FF71A7}" dt="2023-04-18T09:09:32.945" v="292"/>
        <pc:sldMasterMkLst>
          <pc:docMk/>
          <pc:sldMasterMk cId="727954729" sldId="2147483772"/>
        </pc:sldMasterMkLst>
        <pc:sldLayoutChg chg="addSp delSp modSp mod">
          <pc:chgData name="Hans Gelissen (DHL SSC Maastricht)" userId="1afa8510-4eed-4b73-a29e-678838cd8acd" providerId="ADAL" clId="{EE43E865-CFC6-463A-84F5-A0B7D3FF71A7}" dt="2023-04-18T09:03:24.299" v="154" actId="6549"/>
          <pc:sldLayoutMkLst>
            <pc:docMk/>
            <pc:sldMasterMk cId="727954729" sldId="2147483772"/>
            <pc:sldLayoutMk cId="1997391794" sldId="2147483734"/>
          </pc:sldLayoutMkLst>
          <pc:spChg chg="add del">
            <ac:chgData name="Hans Gelissen (DHL SSC Maastricht)" userId="1afa8510-4eed-4b73-a29e-678838cd8acd" providerId="ADAL" clId="{EE43E865-CFC6-463A-84F5-A0B7D3FF71A7}" dt="2023-04-18T09:01:53.501" v="133" actId="11529"/>
            <ac:spMkLst>
              <pc:docMk/>
              <pc:sldMasterMk cId="727954729" sldId="2147483772"/>
              <pc:sldLayoutMk cId="1997391794" sldId="2147483734"/>
              <ac:spMk id="2" creationId="{12338E24-FD67-50CB-790E-1422485CDB84}"/>
            </ac:spMkLst>
          </pc:spChg>
          <pc:spChg chg="add del mod">
            <ac:chgData name="Hans Gelissen (DHL SSC Maastricht)" userId="1afa8510-4eed-4b73-a29e-678838cd8acd" providerId="ADAL" clId="{EE43E865-CFC6-463A-84F5-A0B7D3FF71A7}" dt="2023-04-18T09:02:32.738" v="143" actId="478"/>
            <ac:spMkLst>
              <pc:docMk/>
              <pc:sldMasterMk cId="727954729" sldId="2147483772"/>
              <pc:sldLayoutMk cId="1997391794" sldId="2147483734"/>
              <ac:spMk id="3" creationId="{3B5A23C8-2462-1496-566E-6F9727F783BB}"/>
            </ac:spMkLst>
          </pc:spChg>
          <pc:spChg chg="add del">
            <ac:chgData name="Hans Gelissen (DHL SSC Maastricht)" userId="1afa8510-4eed-4b73-a29e-678838cd8acd" providerId="ADAL" clId="{EE43E865-CFC6-463A-84F5-A0B7D3FF71A7}" dt="2023-04-18T09:02:01.255" v="135" actId="11529"/>
            <ac:spMkLst>
              <pc:docMk/>
              <pc:sldMasterMk cId="727954729" sldId="2147483772"/>
              <pc:sldLayoutMk cId="1997391794" sldId="2147483734"/>
              <ac:spMk id="4" creationId="{2FEBB0B7-8307-5FEE-7F75-87B000DA2B5D}"/>
            </ac:spMkLst>
          </pc:spChg>
          <pc:spChg chg="add mod">
            <ac:chgData name="Hans Gelissen (DHL SSC Maastricht)" userId="1afa8510-4eed-4b73-a29e-678838cd8acd" providerId="ADAL" clId="{EE43E865-CFC6-463A-84F5-A0B7D3FF71A7}" dt="2023-04-18T09:03:24.299" v="154" actId="6549"/>
            <ac:spMkLst>
              <pc:docMk/>
              <pc:sldMasterMk cId="727954729" sldId="2147483772"/>
              <pc:sldLayoutMk cId="1997391794" sldId="2147483734"/>
              <ac:spMk id="5" creationId="{8315F4E2-B545-FD97-393A-4926FD53FCA4}"/>
            </ac:spMkLst>
          </pc:spChg>
          <pc:spChg chg="add del">
            <ac:chgData name="Hans Gelissen (DHL SSC Maastricht)" userId="1afa8510-4eed-4b73-a29e-678838cd8acd" providerId="ADAL" clId="{EE43E865-CFC6-463A-84F5-A0B7D3FF71A7}" dt="2023-04-18T09:02:17.367" v="139" actId="478"/>
            <ac:spMkLst>
              <pc:docMk/>
              <pc:sldMasterMk cId="727954729" sldId="2147483772"/>
              <pc:sldLayoutMk cId="1997391794" sldId="2147483734"/>
              <ac:spMk id="14" creationId="{420D866C-5DCD-4EE9-808D-DD54A112B074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3:30.301" v="155"/>
          <pc:sldLayoutMkLst>
            <pc:docMk/>
            <pc:sldMasterMk cId="727954729" sldId="2147483772"/>
            <pc:sldLayoutMk cId="3070187357" sldId="2147483773"/>
          </pc:sldLayoutMkLst>
          <pc:spChg chg="add mod">
            <ac:chgData name="Hans Gelissen (DHL SSC Maastricht)" userId="1afa8510-4eed-4b73-a29e-678838cd8acd" providerId="ADAL" clId="{EE43E865-CFC6-463A-84F5-A0B7D3FF71A7}" dt="2023-04-18T09:03:30.301" v="155"/>
            <ac:spMkLst>
              <pc:docMk/>
              <pc:sldMasterMk cId="727954729" sldId="2147483772"/>
              <pc:sldLayoutMk cId="3070187357" sldId="2147483773"/>
              <ac:spMk id="2" creationId="{5BB481BD-BB54-9B3A-73A4-00A7BA019332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3:31.132" v="156"/>
          <pc:sldLayoutMkLst>
            <pc:docMk/>
            <pc:sldMasterMk cId="727954729" sldId="2147483772"/>
            <pc:sldLayoutMk cId="2597155215" sldId="2147483774"/>
          </pc:sldLayoutMkLst>
          <pc:spChg chg="add mod">
            <ac:chgData name="Hans Gelissen (DHL SSC Maastricht)" userId="1afa8510-4eed-4b73-a29e-678838cd8acd" providerId="ADAL" clId="{EE43E865-CFC6-463A-84F5-A0B7D3FF71A7}" dt="2023-04-18T09:03:31.132" v="156"/>
            <ac:spMkLst>
              <pc:docMk/>
              <pc:sldMasterMk cId="727954729" sldId="2147483772"/>
              <pc:sldLayoutMk cId="2597155215" sldId="2147483774"/>
              <ac:spMk id="2" creationId="{D0950B34-B371-3240-6705-E890F24F2B18}"/>
            </ac:spMkLst>
          </pc:spChg>
        </pc:sldLayoutChg>
        <pc:sldLayoutChg chg="addSp modSp mod">
          <pc:chgData name="Hans Gelissen (DHL SSC Maastricht)" userId="1afa8510-4eed-4b73-a29e-678838cd8acd" providerId="ADAL" clId="{EE43E865-CFC6-463A-84F5-A0B7D3FF71A7}" dt="2023-04-18T09:03:41.135" v="160" actId="14100"/>
          <pc:sldLayoutMkLst>
            <pc:docMk/>
            <pc:sldMasterMk cId="727954729" sldId="2147483772"/>
            <pc:sldLayoutMk cId="2628106048" sldId="2147484017"/>
          </pc:sldLayoutMkLst>
          <pc:spChg chg="add mod">
            <ac:chgData name="Hans Gelissen (DHL SSC Maastricht)" userId="1afa8510-4eed-4b73-a29e-678838cd8acd" providerId="ADAL" clId="{EE43E865-CFC6-463A-84F5-A0B7D3FF71A7}" dt="2023-04-18T09:03:41.135" v="160" actId="14100"/>
            <ac:spMkLst>
              <pc:docMk/>
              <pc:sldMasterMk cId="727954729" sldId="2147483772"/>
              <pc:sldLayoutMk cId="2628106048" sldId="2147484017"/>
              <ac:spMk id="2" creationId="{F026C96E-99AB-FD6B-9F9C-600A3651EB69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3:43.595" v="161"/>
          <pc:sldLayoutMkLst>
            <pc:docMk/>
            <pc:sldMasterMk cId="727954729" sldId="2147483772"/>
            <pc:sldLayoutMk cId="1533518156" sldId="2147484018"/>
          </pc:sldLayoutMkLst>
          <pc:spChg chg="add mod">
            <ac:chgData name="Hans Gelissen (DHL SSC Maastricht)" userId="1afa8510-4eed-4b73-a29e-678838cd8acd" providerId="ADAL" clId="{EE43E865-CFC6-463A-84F5-A0B7D3FF71A7}" dt="2023-04-18T09:03:43.595" v="161"/>
            <ac:spMkLst>
              <pc:docMk/>
              <pc:sldMasterMk cId="727954729" sldId="2147483772"/>
              <pc:sldLayoutMk cId="1533518156" sldId="2147484018"/>
              <ac:spMk id="2" creationId="{F13A0ACC-3E9B-649F-1858-3D9872BA83EE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3:44.479" v="162"/>
          <pc:sldLayoutMkLst>
            <pc:docMk/>
            <pc:sldMasterMk cId="727954729" sldId="2147483772"/>
            <pc:sldLayoutMk cId="1765109845" sldId="2147484019"/>
          </pc:sldLayoutMkLst>
          <pc:spChg chg="add mod">
            <ac:chgData name="Hans Gelissen (DHL SSC Maastricht)" userId="1afa8510-4eed-4b73-a29e-678838cd8acd" providerId="ADAL" clId="{EE43E865-CFC6-463A-84F5-A0B7D3FF71A7}" dt="2023-04-18T09:03:44.479" v="162"/>
            <ac:spMkLst>
              <pc:docMk/>
              <pc:sldMasterMk cId="727954729" sldId="2147483772"/>
              <pc:sldLayoutMk cId="1765109845" sldId="2147484019"/>
              <ac:spMk id="2" creationId="{B791E81C-4F52-B240-C8AB-4EA96DFDE1ED}"/>
            </ac:spMkLst>
          </pc:spChg>
        </pc:sldLayoutChg>
        <pc:sldLayoutChg chg="addSp modSp mod">
          <pc:chgData name="Hans Gelissen (DHL SSC Maastricht)" userId="1afa8510-4eed-4b73-a29e-678838cd8acd" providerId="ADAL" clId="{EE43E865-CFC6-463A-84F5-A0B7D3FF71A7}" dt="2023-04-18T09:03:55.628" v="165" actId="14100"/>
          <pc:sldLayoutMkLst>
            <pc:docMk/>
            <pc:sldMasterMk cId="727954729" sldId="2147483772"/>
            <pc:sldLayoutMk cId="735932386" sldId="2147484021"/>
          </pc:sldLayoutMkLst>
          <pc:spChg chg="add mod">
            <ac:chgData name="Hans Gelissen (DHL SSC Maastricht)" userId="1afa8510-4eed-4b73-a29e-678838cd8acd" providerId="ADAL" clId="{EE43E865-CFC6-463A-84F5-A0B7D3FF71A7}" dt="2023-04-18T09:03:55.628" v="165" actId="14100"/>
            <ac:spMkLst>
              <pc:docMk/>
              <pc:sldMasterMk cId="727954729" sldId="2147483772"/>
              <pc:sldLayoutMk cId="735932386" sldId="2147484021"/>
              <ac:spMk id="2" creationId="{2937BD5F-D00C-48F7-D1B0-FAA010F6780B}"/>
            </ac:spMkLst>
          </pc:spChg>
        </pc:sldLayoutChg>
        <pc:sldLayoutChg chg="addSp modSp mod">
          <pc:chgData name="Hans Gelissen (DHL SSC Maastricht)" userId="1afa8510-4eed-4b73-a29e-678838cd8acd" providerId="ADAL" clId="{EE43E865-CFC6-463A-84F5-A0B7D3FF71A7}" dt="2023-04-18T09:04:03.549" v="168" actId="14100"/>
          <pc:sldLayoutMkLst>
            <pc:docMk/>
            <pc:sldMasterMk cId="727954729" sldId="2147483772"/>
            <pc:sldLayoutMk cId="3157634682" sldId="2147484022"/>
          </pc:sldLayoutMkLst>
          <pc:spChg chg="add mod">
            <ac:chgData name="Hans Gelissen (DHL SSC Maastricht)" userId="1afa8510-4eed-4b73-a29e-678838cd8acd" providerId="ADAL" clId="{EE43E865-CFC6-463A-84F5-A0B7D3FF71A7}" dt="2023-04-18T09:04:03.549" v="168" actId="14100"/>
            <ac:spMkLst>
              <pc:docMk/>
              <pc:sldMasterMk cId="727954729" sldId="2147483772"/>
              <pc:sldLayoutMk cId="3157634682" sldId="2147484022"/>
              <ac:spMk id="2" creationId="{476470E1-2AEC-0F04-914F-E9A393FF430D}"/>
            </ac:spMkLst>
          </pc:spChg>
        </pc:sldLayoutChg>
        <pc:sldLayoutChg chg="addSp modSp mod">
          <pc:chgData name="Hans Gelissen (DHL SSC Maastricht)" userId="1afa8510-4eed-4b73-a29e-678838cd8acd" providerId="ADAL" clId="{EE43E865-CFC6-463A-84F5-A0B7D3FF71A7}" dt="2023-04-18T09:04:07.450" v="170" actId="14100"/>
          <pc:sldLayoutMkLst>
            <pc:docMk/>
            <pc:sldMasterMk cId="727954729" sldId="2147483772"/>
            <pc:sldLayoutMk cId="2900875456" sldId="2147484023"/>
          </pc:sldLayoutMkLst>
          <pc:spChg chg="add mod">
            <ac:chgData name="Hans Gelissen (DHL SSC Maastricht)" userId="1afa8510-4eed-4b73-a29e-678838cd8acd" providerId="ADAL" clId="{EE43E865-CFC6-463A-84F5-A0B7D3FF71A7}" dt="2023-04-18T09:04:07.450" v="170" actId="14100"/>
            <ac:spMkLst>
              <pc:docMk/>
              <pc:sldMasterMk cId="727954729" sldId="2147483772"/>
              <pc:sldLayoutMk cId="2900875456" sldId="2147484023"/>
              <ac:spMk id="2" creationId="{8269C74B-8F89-E9E6-9CE2-00B465C29CD7}"/>
            </ac:spMkLst>
          </pc:spChg>
        </pc:sldLayoutChg>
        <pc:sldLayoutChg chg="addSp delSp modSp mod">
          <pc:chgData name="Hans Gelissen (DHL SSC Maastricht)" userId="1afa8510-4eed-4b73-a29e-678838cd8acd" providerId="ADAL" clId="{EE43E865-CFC6-463A-84F5-A0B7D3FF71A7}" dt="2023-04-18T09:09:32.945" v="292"/>
          <pc:sldLayoutMkLst>
            <pc:docMk/>
            <pc:sldMasterMk cId="727954729" sldId="2147483772"/>
            <pc:sldLayoutMk cId="1916511093" sldId="2147484026"/>
          </pc:sldLayoutMkLst>
          <pc:spChg chg="add del mod">
            <ac:chgData name="Hans Gelissen (DHL SSC Maastricht)" userId="1afa8510-4eed-4b73-a29e-678838cd8acd" providerId="ADAL" clId="{EE43E865-CFC6-463A-84F5-A0B7D3FF71A7}" dt="2023-04-18T09:09:32.591" v="291" actId="478"/>
            <ac:spMkLst>
              <pc:docMk/>
              <pc:sldMasterMk cId="727954729" sldId="2147483772"/>
              <pc:sldLayoutMk cId="1916511093" sldId="2147484026"/>
              <ac:spMk id="2" creationId="{8E808947-6060-DD14-2E53-B95580BA2A1A}"/>
            </ac:spMkLst>
          </pc:spChg>
          <pc:spChg chg="add mod">
            <ac:chgData name="Hans Gelissen (DHL SSC Maastricht)" userId="1afa8510-4eed-4b73-a29e-678838cd8acd" providerId="ADAL" clId="{EE43E865-CFC6-463A-84F5-A0B7D3FF71A7}" dt="2023-04-18T09:09:32.945" v="292"/>
            <ac:spMkLst>
              <pc:docMk/>
              <pc:sldMasterMk cId="727954729" sldId="2147483772"/>
              <pc:sldLayoutMk cId="1916511093" sldId="2147484026"/>
              <ac:spMk id="3" creationId="{B527ACFC-E9FE-1558-E465-A92BD989401D}"/>
            </ac:spMkLst>
          </pc:spChg>
        </pc:sldLayoutChg>
        <pc:sldLayoutChg chg="addSp modSp mod">
          <pc:chgData name="Hans Gelissen (DHL SSC Maastricht)" userId="1afa8510-4eed-4b73-a29e-678838cd8acd" providerId="ADAL" clId="{EE43E865-CFC6-463A-84F5-A0B7D3FF71A7}" dt="2023-04-18T09:04:18.833" v="174" actId="14100"/>
          <pc:sldLayoutMkLst>
            <pc:docMk/>
            <pc:sldMasterMk cId="727954729" sldId="2147483772"/>
            <pc:sldLayoutMk cId="1842378597" sldId="2147484027"/>
          </pc:sldLayoutMkLst>
          <pc:spChg chg="add mod">
            <ac:chgData name="Hans Gelissen (DHL SSC Maastricht)" userId="1afa8510-4eed-4b73-a29e-678838cd8acd" providerId="ADAL" clId="{EE43E865-CFC6-463A-84F5-A0B7D3FF71A7}" dt="2023-04-18T09:04:18.833" v="174" actId="14100"/>
            <ac:spMkLst>
              <pc:docMk/>
              <pc:sldMasterMk cId="727954729" sldId="2147483772"/>
              <pc:sldLayoutMk cId="1842378597" sldId="2147484027"/>
              <ac:spMk id="2" creationId="{3A43FC2C-FD82-05B4-D3AB-F8D4CC587C6F}"/>
            </ac:spMkLst>
          </pc:spChg>
        </pc:sldLayoutChg>
      </pc:sldMasterChg>
      <pc:sldMasterChg chg="modSldLayout">
        <pc:chgData name="Hans Gelissen (DHL SSC Maastricht)" userId="1afa8510-4eed-4b73-a29e-678838cd8acd" providerId="ADAL" clId="{EE43E865-CFC6-463A-84F5-A0B7D3FF71A7}" dt="2023-04-18T09:04:48.970" v="197"/>
        <pc:sldMasterMkLst>
          <pc:docMk/>
          <pc:sldMasterMk cId="3687066805" sldId="2147483775"/>
        </pc:sldMasterMkLst>
        <pc:sldLayoutChg chg="addSp modSp mod">
          <pc:chgData name="Hans Gelissen (DHL SSC Maastricht)" userId="1afa8510-4eed-4b73-a29e-678838cd8acd" providerId="ADAL" clId="{EE43E865-CFC6-463A-84F5-A0B7D3FF71A7}" dt="2023-04-18T09:04:28.399" v="178" actId="14100"/>
          <pc:sldLayoutMkLst>
            <pc:docMk/>
            <pc:sldMasterMk cId="3687066805" sldId="2147483775"/>
            <pc:sldLayoutMk cId="680064133" sldId="2147483745"/>
          </pc:sldLayoutMkLst>
          <pc:spChg chg="add mod">
            <ac:chgData name="Hans Gelissen (DHL SSC Maastricht)" userId="1afa8510-4eed-4b73-a29e-678838cd8acd" providerId="ADAL" clId="{EE43E865-CFC6-463A-84F5-A0B7D3FF71A7}" dt="2023-04-18T09:04:28.399" v="178" actId="14100"/>
            <ac:spMkLst>
              <pc:docMk/>
              <pc:sldMasterMk cId="3687066805" sldId="2147483775"/>
              <pc:sldLayoutMk cId="680064133" sldId="2147483745"/>
              <ac:spMk id="2" creationId="{74159078-6CDF-010F-DA35-619DCA032499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29.619" v="179"/>
          <pc:sldLayoutMkLst>
            <pc:docMk/>
            <pc:sldMasterMk cId="3687066805" sldId="2147483775"/>
            <pc:sldLayoutMk cId="3786456764" sldId="2147483776"/>
          </pc:sldLayoutMkLst>
          <pc:spChg chg="add mod">
            <ac:chgData name="Hans Gelissen (DHL SSC Maastricht)" userId="1afa8510-4eed-4b73-a29e-678838cd8acd" providerId="ADAL" clId="{EE43E865-CFC6-463A-84F5-A0B7D3FF71A7}" dt="2023-04-18T09:04:29.619" v="179"/>
            <ac:spMkLst>
              <pc:docMk/>
              <pc:sldMasterMk cId="3687066805" sldId="2147483775"/>
              <pc:sldLayoutMk cId="3786456764" sldId="2147483776"/>
              <ac:spMk id="2" creationId="{810CB9AC-BF4B-30FB-DACF-4484E3E38A9F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48.970" v="197"/>
          <pc:sldLayoutMkLst>
            <pc:docMk/>
            <pc:sldMasterMk cId="3687066805" sldId="2147483775"/>
            <pc:sldLayoutMk cId="1267003545" sldId="2147483780"/>
          </pc:sldLayoutMkLst>
          <pc:spChg chg="add mod">
            <ac:chgData name="Hans Gelissen (DHL SSC Maastricht)" userId="1afa8510-4eed-4b73-a29e-678838cd8acd" providerId="ADAL" clId="{EE43E865-CFC6-463A-84F5-A0B7D3FF71A7}" dt="2023-04-18T09:04:48.970" v="197"/>
            <ac:spMkLst>
              <pc:docMk/>
              <pc:sldMasterMk cId="3687066805" sldId="2147483775"/>
              <pc:sldLayoutMk cId="1267003545" sldId="2147483780"/>
              <ac:spMk id="2" creationId="{82886E1F-459D-6B84-0DE2-FB62F81806C5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30.277" v="180"/>
          <pc:sldLayoutMkLst>
            <pc:docMk/>
            <pc:sldMasterMk cId="3687066805" sldId="2147483775"/>
            <pc:sldLayoutMk cId="1204698674" sldId="2147483781"/>
          </pc:sldLayoutMkLst>
          <pc:spChg chg="add mod">
            <ac:chgData name="Hans Gelissen (DHL SSC Maastricht)" userId="1afa8510-4eed-4b73-a29e-678838cd8acd" providerId="ADAL" clId="{EE43E865-CFC6-463A-84F5-A0B7D3FF71A7}" dt="2023-04-18T09:04:30.277" v="180"/>
            <ac:spMkLst>
              <pc:docMk/>
              <pc:sldMasterMk cId="3687066805" sldId="2147483775"/>
              <pc:sldLayoutMk cId="1204698674" sldId="2147483781"/>
              <ac:spMk id="2" creationId="{72AB014F-6B1D-71C2-11E4-A2D00E757795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32.267" v="182"/>
          <pc:sldLayoutMkLst>
            <pc:docMk/>
            <pc:sldMasterMk cId="3687066805" sldId="2147483775"/>
            <pc:sldLayoutMk cId="1596137304" sldId="2147483830"/>
          </pc:sldLayoutMkLst>
          <pc:spChg chg="add mod">
            <ac:chgData name="Hans Gelissen (DHL SSC Maastricht)" userId="1afa8510-4eed-4b73-a29e-678838cd8acd" providerId="ADAL" clId="{EE43E865-CFC6-463A-84F5-A0B7D3FF71A7}" dt="2023-04-18T09:04:32.267" v="182"/>
            <ac:spMkLst>
              <pc:docMk/>
              <pc:sldMasterMk cId="3687066805" sldId="2147483775"/>
              <pc:sldLayoutMk cId="1596137304" sldId="2147483830"/>
              <ac:spMk id="2" creationId="{389ABD07-1726-8151-2899-4507D080B655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33.164" v="183"/>
          <pc:sldLayoutMkLst>
            <pc:docMk/>
            <pc:sldMasterMk cId="3687066805" sldId="2147483775"/>
            <pc:sldLayoutMk cId="2644514963" sldId="2147483831"/>
          </pc:sldLayoutMkLst>
          <pc:spChg chg="add mod">
            <ac:chgData name="Hans Gelissen (DHL SSC Maastricht)" userId="1afa8510-4eed-4b73-a29e-678838cd8acd" providerId="ADAL" clId="{EE43E865-CFC6-463A-84F5-A0B7D3FF71A7}" dt="2023-04-18T09:04:33.164" v="183"/>
            <ac:spMkLst>
              <pc:docMk/>
              <pc:sldMasterMk cId="3687066805" sldId="2147483775"/>
              <pc:sldLayoutMk cId="2644514963" sldId="2147483831"/>
              <ac:spMk id="2" creationId="{71EB42F1-4420-8399-8994-E99332313671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35.119" v="184"/>
          <pc:sldLayoutMkLst>
            <pc:docMk/>
            <pc:sldMasterMk cId="3687066805" sldId="2147483775"/>
            <pc:sldLayoutMk cId="4247405665" sldId="2147483832"/>
          </pc:sldLayoutMkLst>
          <pc:spChg chg="add mod">
            <ac:chgData name="Hans Gelissen (DHL SSC Maastricht)" userId="1afa8510-4eed-4b73-a29e-678838cd8acd" providerId="ADAL" clId="{EE43E865-CFC6-463A-84F5-A0B7D3FF71A7}" dt="2023-04-18T09:04:35.119" v="184"/>
            <ac:spMkLst>
              <pc:docMk/>
              <pc:sldMasterMk cId="3687066805" sldId="2147483775"/>
              <pc:sldLayoutMk cId="4247405665" sldId="2147483832"/>
              <ac:spMk id="2" creationId="{BB5DBB84-24DD-979B-6EB9-CEA1B8C12123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31.520" v="181"/>
          <pc:sldLayoutMkLst>
            <pc:docMk/>
            <pc:sldMasterMk cId="3687066805" sldId="2147483775"/>
            <pc:sldLayoutMk cId="662326433" sldId="2147483839"/>
          </pc:sldLayoutMkLst>
          <pc:spChg chg="add mod">
            <ac:chgData name="Hans Gelissen (DHL SSC Maastricht)" userId="1afa8510-4eed-4b73-a29e-678838cd8acd" providerId="ADAL" clId="{EE43E865-CFC6-463A-84F5-A0B7D3FF71A7}" dt="2023-04-18T09:04:31.520" v="181"/>
            <ac:spMkLst>
              <pc:docMk/>
              <pc:sldMasterMk cId="3687066805" sldId="2147483775"/>
              <pc:sldLayoutMk cId="662326433" sldId="2147483839"/>
              <ac:spMk id="2" creationId="{A23A8EE1-BE14-2563-6E24-107DFBEA6A70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39.088" v="186"/>
          <pc:sldLayoutMkLst>
            <pc:docMk/>
            <pc:sldMasterMk cId="3687066805" sldId="2147483775"/>
            <pc:sldLayoutMk cId="1732030272" sldId="2147483886"/>
          </pc:sldLayoutMkLst>
          <pc:spChg chg="add mod">
            <ac:chgData name="Hans Gelissen (DHL SSC Maastricht)" userId="1afa8510-4eed-4b73-a29e-678838cd8acd" providerId="ADAL" clId="{EE43E865-CFC6-463A-84F5-A0B7D3FF71A7}" dt="2023-04-18T09:04:39.088" v="186"/>
            <ac:spMkLst>
              <pc:docMk/>
              <pc:sldMasterMk cId="3687066805" sldId="2147483775"/>
              <pc:sldLayoutMk cId="1732030272" sldId="2147483886"/>
              <ac:spMk id="2" creationId="{06EC2350-4846-AB3C-44EA-FBCABC6C87C0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39.697" v="187"/>
          <pc:sldLayoutMkLst>
            <pc:docMk/>
            <pc:sldMasterMk cId="3687066805" sldId="2147483775"/>
            <pc:sldLayoutMk cId="1485632788" sldId="2147483887"/>
          </pc:sldLayoutMkLst>
          <pc:spChg chg="add mod">
            <ac:chgData name="Hans Gelissen (DHL SSC Maastricht)" userId="1afa8510-4eed-4b73-a29e-678838cd8acd" providerId="ADAL" clId="{EE43E865-CFC6-463A-84F5-A0B7D3FF71A7}" dt="2023-04-18T09:04:39.697" v="187"/>
            <ac:spMkLst>
              <pc:docMk/>
              <pc:sldMasterMk cId="3687066805" sldId="2147483775"/>
              <pc:sldLayoutMk cId="1485632788" sldId="2147483887"/>
              <ac:spMk id="2" creationId="{91D0594B-00A5-9C3E-4043-895900912295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40.249" v="188"/>
          <pc:sldLayoutMkLst>
            <pc:docMk/>
            <pc:sldMasterMk cId="3687066805" sldId="2147483775"/>
            <pc:sldLayoutMk cId="221168642" sldId="2147483888"/>
          </pc:sldLayoutMkLst>
          <pc:spChg chg="add mod">
            <ac:chgData name="Hans Gelissen (DHL SSC Maastricht)" userId="1afa8510-4eed-4b73-a29e-678838cd8acd" providerId="ADAL" clId="{EE43E865-CFC6-463A-84F5-A0B7D3FF71A7}" dt="2023-04-18T09:04:40.249" v="188"/>
            <ac:spMkLst>
              <pc:docMk/>
              <pc:sldMasterMk cId="3687066805" sldId="2147483775"/>
              <pc:sldLayoutMk cId="221168642" sldId="2147483888"/>
              <ac:spMk id="2" creationId="{5BEFCC6B-682F-9B69-04B4-25F95A2CB78E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36.350" v="185"/>
          <pc:sldLayoutMkLst>
            <pc:docMk/>
            <pc:sldMasterMk cId="3687066805" sldId="2147483775"/>
            <pc:sldLayoutMk cId="2337798684" sldId="2147483889"/>
          </pc:sldLayoutMkLst>
          <pc:spChg chg="add mod">
            <ac:chgData name="Hans Gelissen (DHL SSC Maastricht)" userId="1afa8510-4eed-4b73-a29e-678838cd8acd" providerId="ADAL" clId="{EE43E865-CFC6-463A-84F5-A0B7D3FF71A7}" dt="2023-04-18T09:04:36.350" v="185"/>
            <ac:spMkLst>
              <pc:docMk/>
              <pc:sldMasterMk cId="3687066805" sldId="2147483775"/>
              <pc:sldLayoutMk cId="2337798684" sldId="2147483889"/>
              <ac:spMk id="2" creationId="{A194C44E-6E77-02F5-20BF-2D8C23E175A7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40.850" v="189"/>
          <pc:sldLayoutMkLst>
            <pc:docMk/>
            <pc:sldMasterMk cId="3687066805" sldId="2147483775"/>
            <pc:sldLayoutMk cId="2848435218" sldId="2147483947"/>
          </pc:sldLayoutMkLst>
          <pc:spChg chg="add mod">
            <ac:chgData name="Hans Gelissen (DHL SSC Maastricht)" userId="1afa8510-4eed-4b73-a29e-678838cd8acd" providerId="ADAL" clId="{EE43E865-CFC6-463A-84F5-A0B7D3FF71A7}" dt="2023-04-18T09:04:40.850" v="189"/>
            <ac:spMkLst>
              <pc:docMk/>
              <pc:sldMasterMk cId="3687066805" sldId="2147483775"/>
              <pc:sldLayoutMk cId="2848435218" sldId="2147483947"/>
              <ac:spMk id="2" creationId="{CC05EED0-F727-316D-3DEA-0B2DE63B3A01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42.409" v="190"/>
          <pc:sldLayoutMkLst>
            <pc:docMk/>
            <pc:sldMasterMk cId="3687066805" sldId="2147483775"/>
            <pc:sldLayoutMk cId="4171373829" sldId="2147483948"/>
          </pc:sldLayoutMkLst>
          <pc:spChg chg="add mod">
            <ac:chgData name="Hans Gelissen (DHL SSC Maastricht)" userId="1afa8510-4eed-4b73-a29e-678838cd8acd" providerId="ADAL" clId="{EE43E865-CFC6-463A-84F5-A0B7D3FF71A7}" dt="2023-04-18T09:04:42.409" v="190"/>
            <ac:spMkLst>
              <pc:docMk/>
              <pc:sldMasterMk cId="3687066805" sldId="2147483775"/>
              <pc:sldLayoutMk cId="4171373829" sldId="2147483948"/>
              <ac:spMk id="2" creationId="{04D20427-2291-1321-F0F4-293B63E06785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43.096" v="191"/>
          <pc:sldLayoutMkLst>
            <pc:docMk/>
            <pc:sldMasterMk cId="3687066805" sldId="2147483775"/>
            <pc:sldLayoutMk cId="705876065" sldId="2147483949"/>
          </pc:sldLayoutMkLst>
          <pc:spChg chg="add mod">
            <ac:chgData name="Hans Gelissen (DHL SSC Maastricht)" userId="1afa8510-4eed-4b73-a29e-678838cd8acd" providerId="ADAL" clId="{EE43E865-CFC6-463A-84F5-A0B7D3FF71A7}" dt="2023-04-18T09:04:43.096" v="191"/>
            <ac:spMkLst>
              <pc:docMk/>
              <pc:sldMasterMk cId="3687066805" sldId="2147483775"/>
              <pc:sldLayoutMk cId="705876065" sldId="2147483949"/>
              <ac:spMk id="2" creationId="{E2B5AD4E-08EA-812A-54AB-24AF56D4684F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43.961" v="192"/>
          <pc:sldLayoutMkLst>
            <pc:docMk/>
            <pc:sldMasterMk cId="3687066805" sldId="2147483775"/>
            <pc:sldLayoutMk cId="3404922169" sldId="2147483950"/>
          </pc:sldLayoutMkLst>
          <pc:spChg chg="add mod">
            <ac:chgData name="Hans Gelissen (DHL SSC Maastricht)" userId="1afa8510-4eed-4b73-a29e-678838cd8acd" providerId="ADAL" clId="{EE43E865-CFC6-463A-84F5-A0B7D3FF71A7}" dt="2023-04-18T09:04:43.961" v="192"/>
            <ac:spMkLst>
              <pc:docMk/>
              <pc:sldMasterMk cId="3687066805" sldId="2147483775"/>
              <pc:sldLayoutMk cId="3404922169" sldId="2147483950"/>
              <ac:spMk id="2" creationId="{E97977C9-B106-02FE-9E98-89F720F27E80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44.760" v="193"/>
          <pc:sldLayoutMkLst>
            <pc:docMk/>
            <pc:sldMasterMk cId="3687066805" sldId="2147483775"/>
            <pc:sldLayoutMk cId="4065184156" sldId="2147483951"/>
          </pc:sldLayoutMkLst>
          <pc:spChg chg="add mod">
            <ac:chgData name="Hans Gelissen (DHL SSC Maastricht)" userId="1afa8510-4eed-4b73-a29e-678838cd8acd" providerId="ADAL" clId="{EE43E865-CFC6-463A-84F5-A0B7D3FF71A7}" dt="2023-04-18T09:04:44.760" v="193"/>
            <ac:spMkLst>
              <pc:docMk/>
              <pc:sldMasterMk cId="3687066805" sldId="2147483775"/>
              <pc:sldLayoutMk cId="4065184156" sldId="2147483951"/>
              <ac:spMk id="2" creationId="{928E0675-D05C-4150-C938-5EC48115E548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46.350" v="194"/>
          <pc:sldLayoutMkLst>
            <pc:docMk/>
            <pc:sldMasterMk cId="3687066805" sldId="2147483775"/>
            <pc:sldLayoutMk cId="3431884773" sldId="2147483952"/>
          </pc:sldLayoutMkLst>
          <pc:spChg chg="add mod">
            <ac:chgData name="Hans Gelissen (DHL SSC Maastricht)" userId="1afa8510-4eed-4b73-a29e-678838cd8acd" providerId="ADAL" clId="{EE43E865-CFC6-463A-84F5-A0B7D3FF71A7}" dt="2023-04-18T09:04:46.350" v="194"/>
            <ac:spMkLst>
              <pc:docMk/>
              <pc:sldMasterMk cId="3687066805" sldId="2147483775"/>
              <pc:sldLayoutMk cId="3431884773" sldId="2147483952"/>
              <ac:spMk id="2" creationId="{6DC3FA0C-68D2-674B-7B2C-4E265305FC75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46.944" v="195"/>
          <pc:sldLayoutMkLst>
            <pc:docMk/>
            <pc:sldMasterMk cId="3687066805" sldId="2147483775"/>
            <pc:sldLayoutMk cId="3793421954" sldId="2147483953"/>
          </pc:sldLayoutMkLst>
          <pc:spChg chg="add mod">
            <ac:chgData name="Hans Gelissen (DHL SSC Maastricht)" userId="1afa8510-4eed-4b73-a29e-678838cd8acd" providerId="ADAL" clId="{EE43E865-CFC6-463A-84F5-A0B7D3FF71A7}" dt="2023-04-18T09:04:46.944" v="195"/>
            <ac:spMkLst>
              <pc:docMk/>
              <pc:sldMasterMk cId="3687066805" sldId="2147483775"/>
              <pc:sldLayoutMk cId="3793421954" sldId="2147483953"/>
              <ac:spMk id="2" creationId="{F3C802F1-1C8B-53CC-A3BA-591C3975EB8F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4:47.585" v="196"/>
          <pc:sldLayoutMkLst>
            <pc:docMk/>
            <pc:sldMasterMk cId="3687066805" sldId="2147483775"/>
            <pc:sldLayoutMk cId="3818604797" sldId="2147483954"/>
          </pc:sldLayoutMkLst>
          <pc:spChg chg="add mod">
            <ac:chgData name="Hans Gelissen (DHL SSC Maastricht)" userId="1afa8510-4eed-4b73-a29e-678838cd8acd" providerId="ADAL" clId="{EE43E865-CFC6-463A-84F5-A0B7D3FF71A7}" dt="2023-04-18T09:04:47.585" v="196"/>
            <ac:spMkLst>
              <pc:docMk/>
              <pc:sldMasterMk cId="3687066805" sldId="2147483775"/>
              <pc:sldLayoutMk cId="3818604797" sldId="2147483954"/>
              <ac:spMk id="2" creationId="{D1B15A44-2AEC-A166-C991-091A966AF049}"/>
            </ac:spMkLst>
          </pc:spChg>
        </pc:sldLayoutChg>
      </pc:sldMasterChg>
      <pc:sldMasterChg chg="modSldLayout">
        <pc:chgData name="Hans Gelissen (DHL SSC Maastricht)" userId="1afa8510-4eed-4b73-a29e-678838cd8acd" providerId="ADAL" clId="{EE43E865-CFC6-463A-84F5-A0B7D3FF71A7}" dt="2023-04-18T09:05:16.527" v="219"/>
        <pc:sldMasterMkLst>
          <pc:docMk/>
          <pc:sldMasterMk cId="3009645139" sldId="2147483782"/>
        </pc:sldMasterMkLst>
        <pc:sldLayoutChg chg="addSp modSp mod">
          <pc:chgData name="Hans Gelissen (DHL SSC Maastricht)" userId="1afa8510-4eed-4b73-a29e-678838cd8acd" providerId="ADAL" clId="{EE43E865-CFC6-463A-84F5-A0B7D3FF71A7}" dt="2023-04-18T09:04:58.911" v="200" actId="14100"/>
          <pc:sldLayoutMkLst>
            <pc:docMk/>
            <pc:sldMasterMk cId="3009645139" sldId="2147483782"/>
            <pc:sldLayoutMk cId="2048209168" sldId="2147483746"/>
          </pc:sldLayoutMkLst>
          <pc:spChg chg="add mod">
            <ac:chgData name="Hans Gelissen (DHL SSC Maastricht)" userId="1afa8510-4eed-4b73-a29e-678838cd8acd" providerId="ADAL" clId="{EE43E865-CFC6-463A-84F5-A0B7D3FF71A7}" dt="2023-04-18T09:04:58.911" v="200" actId="14100"/>
            <ac:spMkLst>
              <pc:docMk/>
              <pc:sldMasterMk cId="3009645139" sldId="2147483782"/>
              <pc:sldLayoutMk cId="2048209168" sldId="2147483746"/>
              <ac:spMk id="2" creationId="{AF3AE31C-41CC-20B1-E4B6-481AC4764AC9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05.568" v="206"/>
          <pc:sldLayoutMkLst>
            <pc:docMk/>
            <pc:sldMasterMk cId="3009645139" sldId="2147483782"/>
            <pc:sldLayoutMk cId="648980338" sldId="2147483802"/>
          </pc:sldLayoutMkLst>
          <pc:spChg chg="add mod">
            <ac:chgData name="Hans Gelissen (DHL SSC Maastricht)" userId="1afa8510-4eed-4b73-a29e-678838cd8acd" providerId="ADAL" clId="{EE43E865-CFC6-463A-84F5-A0B7D3FF71A7}" dt="2023-04-18T09:05:05.568" v="206"/>
            <ac:spMkLst>
              <pc:docMk/>
              <pc:sldMasterMk cId="3009645139" sldId="2147483782"/>
              <pc:sldLayoutMk cId="648980338" sldId="2147483802"/>
              <ac:spMk id="2" creationId="{CE065AEF-BBE3-4E32-408C-23F13944D31B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04.993" v="205"/>
          <pc:sldLayoutMkLst>
            <pc:docMk/>
            <pc:sldMasterMk cId="3009645139" sldId="2147483782"/>
            <pc:sldLayoutMk cId="2005618548" sldId="2147483803"/>
          </pc:sldLayoutMkLst>
          <pc:spChg chg="add mod">
            <ac:chgData name="Hans Gelissen (DHL SSC Maastricht)" userId="1afa8510-4eed-4b73-a29e-678838cd8acd" providerId="ADAL" clId="{EE43E865-CFC6-463A-84F5-A0B7D3FF71A7}" dt="2023-04-18T09:05:04.993" v="205"/>
            <ac:spMkLst>
              <pc:docMk/>
              <pc:sldMasterMk cId="3009645139" sldId="2147483782"/>
              <pc:sldLayoutMk cId="2005618548" sldId="2147483803"/>
              <ac:spMk id="2" creationId="{2B2B6508-0C13-2CA4-C61B-0F8DD8BF6DF5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16.527" v="219"/>
          <pc:sldLayoutMkLst>
            <pc:docMk/>
            <pc:sldMasterMk cId="3009645139" sldId="2147483782"/>
            <pc:sldLayoutMk cId="2141143529" sldId="2147483804"/>
          </pc:sldLayoutMkLst>
          <pc:spChg chg="add mod">
            <ac:chgData name="Hans Gelissen (DHL SSC Maastricht)" userId="1afa8510-4eed-4b73-a29e-678838cd8acd" providerId="ADAL" clId="{EE43E865-CFC6-463A-84F5-A0B7D3FF71A7}" dt="2023-04-18T09:05:16.527" v="219"/>
            <ac:spMkLst>
              <pc:docMk/>
              <pc:sldMasterMk cId="3009645139" sldId="2147483782"/>
              <pc:sldLayoutMk cId="2141143529" sldId="2147483804"/>
              <ac:spMk id="2" creationId="{A4303CE4-4EF8-8C6C-D299-C37EEC11966B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02.686" v="203"/>
          <pc:sldLayoutMkLst>
            <pc:docMk/>
            <pc:sldMasterMk cId="3009645139" sldId="2147483782"/>
            <pc:sldLayoutMk cId="2696944745" sldId="2147483840"/>
          </pc:sldLayoutMkLst>
          <pc:spChg chg="add mod">
            <ac:chgData name="Hans Gelissen (DHL SSC Maastricht)" userId="1afa8510-4eed-4b73-a29e-678838cd8acd" providerId="ADAL" clId="{EE43E865-CFC6-463A-84F5-A0B7D3FF71A7}" dt="2023-04-18T09:05:02.686" v="203"/>
            <ac:spMkLst>
              <pc:docMk/>
              <pc:sldMasterMk cId="3009645139" sldId="2147483782"/>
              <pc:sldLayoutMk cId="2696944745" sldId="2147483840"/>
              <ac:spMk id="2" creationId="{37E00569-CF17-700D-8AA9-B9D697F5DA64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01.411" v="201"/>
          <pc:sldLayoutMkLst>
            <pc:docMk/>
            <pc:sldMasterMk cId="3009645139" sldId="2147483782"/>
            <pc:sldLayoutMk cId="4274500592" sldId="2147483841"/>
          </pc:sldLayoutMkLst>
          <pc:spChg chg="add mod">
            <ac:chgData name="Hans Gelissen (DHL SSC Maastricht)" userId="1afa8510-4eed-4b73-a29e-678838cd8acd" providerId="ADAL" clId="{EE43E865-CFC6-463A-84F5-A0B7D3FF71A7}" dt="2023-04-18T09:05:01.411" v="201"/>
            <ac:spMkLst>
              <pc:docMk/>
              <pc:sldMasterMk cId="3009645139" sldId="2147483782"/>
              <pc:sldLayoutMk cId="4274500592" sldId="2147483841"/>
              <ac:spMk id="2" creationId="{4D477B15-30EE-6DC7-3CD7-5ACE7C109969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01.969" v="202"/>
          <pc:sldLayoutMkLst>
            <pc:docMk/>
            <pc:sldMasterMk cId="3009645139" sldId="2147483782"/>
            <pc:sldLayoutMk cId="695310547" sldId="2147483842"/>
          </pc:sldLayoutMkLst>
          <pc:spChg chg="add mod">
            <ac:chgData name="Hans Gelissen (DHL SSC Maastricht)" userId="1afa8510-4eed-4b73-a29e-678838cd8acd" providerId="ADAL" clId="{EE43E865-CFC6-463A-84F5-A0B7D3FF71A7}" dt="2023-04-18T09:05:01.969" v="202"/>
            <ac:spMkLst>
              <pc:docMk/>
              <pc:sldMasterMk cId="3009645139" sldId="2147483782"/>
              <pc:sldLayoutMk cId="695310547" sldId="2147483842"/>
              <ac:spMk id="2" creationId="{40E7E98A-1FCF-432E-C5D0-C8DFF5F0C7CB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04.433" v="204"/>
          <pc:sldLayoutMkLst>
            <pc:docMk/>
            <pc:sldMasterMk cId="3009645139" sldId="2147483782"/>
            <pc:sldLayoutMk cId="604909523" sldId="2147483843"/>
          </pc:sldLayoutMkLst>
          <pc:spChg chg="add mod">
            <ac:chgData name="Hans Gelissen (DHL SSC Maastricht)" userId="1afa8510-4eed-4b73-a29e-678838cd8acd" providerId="ADAL" clId="{EE43E865-CFC6-463A-84F5-A0B7D3FF71A7}" dt="2023-04-18T09:05:04.433" v="204"/>
            <ac:spMkLst>
              <pc:docMk/>
              <pc:sldMasterMk cId="3009645139" sldId="2147483782"/>
              <pc:sldLayoutMk cId="604909523" sldId="2147483843"/>
              <ac:spMk id="2" creationId="{22C0F92D-EB35-0970-F50E-C574A1EA8207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06.116" v="207"/>
          <pc:sldLayoutMkLst>
            <pc:docMk/>
            <pc:sldMasterMk cId="3009645139" sldId="2147483782"/>
            <pc:sldLayoutMk cId="1433277352" sldId="2147483895"/>
          </pc:sldLayoutMkLst>
          <pc:spChg chg="add mod">
            <ac:chgData name="Hans Gelissen (DHL SSC Maastricht)" userId="1afa8510-4eed-4b73-a29e-678838cd8acd" providerId="ADAL" clId="{EE43E865-CFC6-463A-84F5-A0B7D3FF71A7}" dt="2023-04-18T09:05:06.116" v="207"/>
            <ac:spMkLst>
              <pc:docMk/>
              <pc:sldMasterMk cId="3009645139" sldId="2147483782"/>
              <pc:sldLayoutMk cId="1433277352" sldId="2147483895"/>
              <ac:spMk id="2" creationId="{FB034E07-D7CD-67A1-79F7-7BEC09BBFE96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07.433" v="208"/>
          <pc:sldLayoutMkLst>
            <pc:docMk/>
            <pc:sldMasterMk cId="3009645139" sldId="2147483782"/>
            <pc:sldLayoutMk cId="2068679615" sldId="2147483896"/>
          </pc:sldLayoutMkLst>
          <pc:spChg chg="add mod">
            <ac:chgData name="Hans Gelissen (DHL SSC Maastricht)" userId="1afa8510-4eed-4b73-a29e-678838cd8acd" providerId="ADAL" clId="{EE43E865-CFC6-463A-84F5-A0B7D3FF71A7}" dt="2023-04-18T09:05:07.433" v="208"/>
            <ac:spMkLst>
              <pc:docMk/>
              <pc:sldMasterMk cId="3009645139" sldId="2147483782"/>
              <pc:sldLayoutMk cId="2068679615" sldId="2147483896"/>
              <ac:spMk id="2" creationId="{0AC9A4A1-EA66-258D-9700-C7EEDDB1DC9E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08.118" v="209"/>
          <pc:sldLayoutMkLst>
            <pc:docMk/>
            <pc:sldMasterMk cId="3009645139" sldId="2147483782"/>
            <pc:sldLayoutMk cId="3666955133" sldId="2147483897"/>
          </pc:sldLayoutMkLst>
          <pc:spChg chg="add mod">
            <ac:chgData name="Hans Gelissen (DHL SSC Maastricht)" userId="1afa8510-4eed-4b73-a29e-678838cd8acd" providerId="ADAL" clId="{EE43E865-CFC6-463A-84F5-A0B7D3FF71A7}" dt="2023-04-18T09:05:08.118" v="209"/>
            <ac:spMkLst>
              <pc:docMk/>
              <pc:sldMasterMk cId="3009645139" sldId="2147483782"/>
              <pc:sldLayoutMk cId="3666955133" sldId="2147483897"/>
              <ac:spMk id="2" creationId="{E00ED940-07F6-6762-E4C7-C7356DC69388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08.794" v="210"/>
          <pc:sldLayoutMkLst>
            <pc:docMk/>
            <pc:sldMasterMk cId="3009645139" sldId="2147483782"/>
            <pc:sldLayoutMk cId="1897181201" sldId="2147483898"/>
          </pc:sldLayoutMkLst>
          <pc:spChg chg="add mod">
            <ac:chgData name="Hans Gelissen (DHL SSC Maastricht)" userId="1afa8510-4eed-4b73-a29e-678838cd8acd" providerId="ADAL" clId="{EE43E865-CFC6-463A-84F5-A0B7D3FF71A7}" dt="2023-04-18T09:05:08.794" v="210"/>
            <ac:spMkLst>
              <pc:docMk/>
              <pc:sldMasterMk cId="3009645139" sldId="2147483782"/>
              <pc:sldLayoutMk cId="1897181201" sldId="2147483898"/>
              <ac:spMk id="2" creationId="{F39F3689-CD51-122A-6B18-4F7C827DE4B1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10.460" v="211"/>
          <pc:sldLayoutMkLst>
            <pc:docMk/>
            <pc:sldMasterMk cId="3009645139" sldId="2147483782"/>
            <pc:sldLayoutMk cId="262418530" sldId="2147483955"/>
          </pc:sldLayoutMkLst>
          <pc:spChg chg="add mod">
            <ac:chgData name="Hans Gelissen (DHL SSC Maastricht)" userId="1afa8510-4eed-4b73-a29e-678838cd8acd" providerId="ADAL" clId="{EE43E865-CFC6-463A-84F5-A0B7D3FF71A7}" dt="2023-04-18T09:05:10.460" v="211"/>
            <ac:spMkLst>
              <pc:docMk/>
              <pc:sldMasterMk cId="3009645139" sldId="2147483782"/>
              <pc:sldLayoutMk cId="262418530" sldId="2147483955"/>
              <ac:spMk id="2" creationId="{5694BDE4-78AA-0FC4-6E1F-65F44FF5460F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11.083" v="212"/>
          <pc:sldLayoutMkLst>
            <pc:docMk/>
            <pc:sldMasterMk cId="3009645139" sldId="2147483782"/>
            <pc:sldLayoutMk cId="2338710343" sldId="2147483956"/>
          </pc:sldLayoutMkLst>
          <pc:spChg chg="add mod">
            <ac:chgData name="Hans Gelissen (DHL SSC Maastricht)" userId="1afa8510-4eed-4b73-a29e-678838cd8acd" providerId="ADAL" clId="{EE43E865-CFC6-463A-84F5-A0B7D3FF71A7}" dt="2023-04-18T09:05:11.083" v="212"/>
            <ac:spMkLst>
              <pc:docMk/>
              <pc:sldMasterMk cId="3009645139" sldId="2147483782"/>
              <pc:sldLayoutMk cId="2338710343" sldId="2147483956"/>
              <ac:spMk id="2" creationId="{BDF6B02B-192C-092B-C3DD-559167C8540C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11.803" v="213"/>
          <pc:sldLayoutMkLst>
            <pc:docMk/>
            <pc:sldMasterMk cId="3009645139" sldId="2147483782"/>
            <pc:sldLayoutMk cId="385823197" sldId="2147483957"/>
          </pc:sldLayoutMkLst>
          <pc:spChg chg="add mod">
            <ac:chgData name="Hans Gelissen (DHL SSC Maastricht)" userId="1afa8510-4eed-4b73-a29e-678838cd8acd" providerId="ADAL" clId="{EE43E865-CFC6-463A-84F5-A0B7D3FF71A7}" dt="2023-04-18T09:05:11.803" v="213"/>
            <ac:spMkLst>
              <pc:docMk/>
              <pc:sldMasterMk cId="3009645139" sldId="2147483782"/>
              <pc:sldLayoutMk cId="385823197" sldId="2147483957"/>
              <ac:spMk id="2" creationId="{4FABB97F-9894-C0B8-631A-50304D7C1050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13.169" v="214"/>
          <pc:sldLayoutMkLst>
            <pc:docMk/>
            <pc:sldMasterMk cId="3009645139" sldId="2147483782"/>
            <pc:sldLayoutMk cId="3246149922" sldId="2147483958"/>
          </pc:sldLayoutMkLst>
          <pc:spChg chg="add mod">
            <ac:chgData name="Hans Gelissen (DHL SSC Maastricht)" userId="1afa8510-4eed-4b73-a29e-678838cd8acd" providerId="ADAL" clId="{EE43E865-CFC6-463A-84F5-A0B7D3FF71A7}" dt="2023-04-18T09:05:13.169" v="214"/>
            <ac:spMkLst>
              <pc:docMk/>
              <pc:sldMasterMk cId="3009645139" sldId="2147483782"/>
              <pc:sldLayoutMk cId="3246149922" sldId="2147483958"/>
              <ac:spMk id="2" creationId="{A4B7EB9A-7FBF-6DBB-255A-A332980F55EA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13.758" v="215"/>
          <pc:sldLayoutMkLst>
            <pc:docMk/>
            <pc:sldMasterMk cId="3009645139" sldId="2147483782"/>
            <pc:sldLayoutMk cId="3261208622" sldId="2147483959"/>
          </pc:sldLayoutMkLst>
          <pc:spChg chg="add mod">
            <ac:chgData name="Hans Gelissen (DHL SSC Maastricht)" userId="1afa8510-4eed-4b73-a29e-678838cd8acd" providerId="ADAL" clId="{EE43E865-CFC6-463A-84F5-A0B7D3FF71A7}" dt="2023-04-18T09:05:13.758" v="215"/>
            <ac:spMkLst>
              <pc:docMk/>
              <pc:sldMasterMk cId="3009645139" sldId="2147483782"/>
              <pc:sldLayoutMk cId="3261208622" sldId="2147483959"/>
              <ac:spMk id="2" creationId="{E0F521C2-ACDA-3079-573C-099A038F4B44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14.344" v="216"/>
          <pc:sldLayoutMkLst>
            <pc:docMk/>
            <pc:sldMasterMk cId="3009645139" sldId="2147483782"/>
            <pc:sldLayoutMk cId="271718921" sldId="2147483960"/>
          </pc:sldLayoutMkLst>
          <pc:spChg chg="add mod">
            <ac:chgData name="Hans Gelissen (DHL SSC Maastricht)" userId="1afa8510-4eed-4b73-a29e-678838cd8acd" providerId="ADAL" clId="{EE43E865-CFC6-463A-84F5-A0B7D3FF71A7}" dt="2023-04-18T09:05:14.344" v="216"/>
            <ac:spMkLst>
              <pc:docMk/>
              <pc:sldMasterMk cId="3009645139" sldId="2147483782"/>
              <pc:sldLayoutMk cId="271718921" sldId="2147483960"/>
              <ac:spMk id="2" creationId="{15F4C014-8C59-451A-91E2-1BD5CC505EB1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15.482" v="217"/>
          <pc:sldLayoutMkLst>
            <pc:docMk/>
            <pc:sldMasterMk cId="3009645139" sldId="2147483782"/>
            <pc:sldLayoutMk cId="373419110" sldId="2147483961"/>
          </pc:sldLayoutMkLst>
          <pc:spChg chg="add mod">
            <ac:chgData name="Hans Gelissen (DHL SSC Maastricht)" userId="1afa8510-4eed-4b73-a29e-678838cd8acd" providerId="ADAL" clId="{EE43E865-CFC6-463A-84F5-A0B7D3FF71A7}" dt="2023-04-18T09:05:15.482" v="217"/>
            <ac:spMkLst>
              <pc:docMk/>
              <pc:sldMasterMk cId="3009645139" sldId="2147483782"/>
              <pc:sldLayoutMk cId="373419110" sldId="2147483961"/>
              <ac:spMk id="2" creationId="{20493398-3253-A5CC-045D-A7E61E8571B9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16.065" v="218"/>
          <pc:sldLayoutMkLst>
            <pc:docMk/>
            <pc:sldMasterMk cId="3009645139" sldId="2147483782"/>
            <pc:sldLayoutMk cId="413288453" sldId="2147483962"/>
          </pc:sldLayoutMkLst>
          <pc:spChg chg="add mod">
            <ac:chgData name="Hans Gelissen (DHL SSC Maastricht)" userId="1afa8510-4eed-4b73-a29e-678838cd8acd" providerId="ADAL" clId="{EE43E865-CFC6-463A-84F5-A0B7D3FF71A7}" dt="2023-04-18T09:05:16.065" v="218"/>
            <ac:spMkLst>
              <pc:docMk/>
              <pc:sldMasterMk cId="3009645139" sldId="2147483782"/>
              <pc:sldLayoutMk cId="413288453" sldId="2147483962"/>
              <ac:spMk id="2" creationId="{181A9BC4-4577-D4C6-C7FE-0579FD5B572D}"/>
            </ac:spMkLst>
          </pc:spChg>
        </pc:sldLayoutChg>
      </pc:sldMasterChg>
      <pc:sldMasterChg chg="modSldLayout">
        <pc:chgData name="Hans Gelissen (DHL SSC Maastricht)" userId="1afa8510-4eed-4b73-a29e-678838cd8acd" providerId="ADAL" clId="{EE43E865-CFC6-463A-84F5-A0B7D3FF71A7}" dt="2023-04-18T09:06:18.762" v="266"/>
        <pc:sldMasterMkLst>
          <pc:docMk/>
          <pc:sldMasterMk cId="1560827226" sldId="2147483789"/>
        </pc:sldMasterMkLst>
        <pc:sldLayoutChg chg="addSp modSp mod">
          <pc:chgData name="Hans Gelissen (DHL SSC Maastricht)" userId="1afa8510-4eed-4b73-a29e-678838cd8acd" providerId="ADAL" clId="{EE43E865-CFC6-463A-84F5-A0B7D3FF71A7}" dt="2023-04-18T09:06:00.559" v="247" actId="14100"/>
          <pc:sldLayoutMkLst>
            <pc:docMk/>
            <pc:sldMasterMk cId="1560827226" sldId="2147483789"/>
            <pc:sldLayoutMk cId="1929487974" sldId="2147483748"/>
          </pc:sldLayoutMkLst>
          <pc:spChg chg="add mod">
            <ac:chgData name="Hans Gelissen (DHL SSC Maastricht)" userId="1afa8510-4eed-4b73-a29e-678838cd8acd" providerId="ADAL" clId="{EE43E865-CFC6-463A-84F5-A0B7D3FF71A7}" dt="2023-04-18T09:06:00.559" v="247" actId="14100"/>
            <ac:spMkLst>
              <pc:docMk/>
              <pc:sldMasterMk cId="1560827226" sldId="2147483789"/>
              <pc:sldLayoutMk cId="1929487974" sldId="2147483748"/>
              <ac:spMk id="2" creationId="{886B18F8-3B49-4A0E-2F43-37B760B163FB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02.015" v="248"/>
          <pc:sldLayoutMkLst>
            <pc:docMk/>
            <pc:sldMasterMk cId="1560827226" sldId="2147483789"/>
            <pc:sldLayoutMk cId="3112511369" sldId="2147483808"/>
          </pc:sldLayoutMkLst>
          <pc:spChg chg="add mod">
            <ac:chgData name="Hans Gelissen (DHL SSC Maastricht)" userId="1afa8510-4eed-4b73-a29e-678838cd8acd" providerId="ADAL" clId="{EE43E865-CFC6-463A-84F5-A0B7D3FF71A7}" dt="2023-04-18T09:06:02.015" v="248"/>
            <ac:spMkLst>
              <pc:docMk/>
              <pc:sldMasterMk cId="1560827226" sldId="2147483789"/>
              <pc:sldLayoutMk cId="3112511369" sldId="2147483808"/>
              <ac:spMk id="2" creationId="{CA75B88A-966F-1F1A-E6A3-929533539396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02.586" v="249"/>
          <pc:sldLayoutMkLst>
            <pc:docMk/>
            <pc:sldMasterMk cId="1560827226" sldId="2147483789"/>
            <pc:sldLayoutMk cId="2973508890" sldId="2147483809"/>
          </pc:sldLayoutMkLst>
          <pc:spChg chg="add mod">
            <ac:chgData name="Hans Gelissen (DHL SSC Maastricht)" userId="1afa8510-4eed-4b73-a29e-678838cd8acd" providerId="ADAL" clId="{EE43E865-CFC6-463A-84F5-A0B7D3FF71A7}" dt="2023-04-18T09:06:02.586" v="249"/>
            <ac:spMkLst>
              <pc:docMk/>
              <pc:sldMasterMk cId="1560827226" sldId="2147483789"/>
              <pc:sldLayoutMk cId="2973508890" sldId="2147483809"/>
              <ac:spMk id="2" creationId="{9F14ED5B-A010-3CD7-DF94-C94AE7F83330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18.762" v="266"/>
          <pc:sldLayoutMkLst>
            <pc:docMk/>
            <pc:sldMasterMk cId="1560827226" sldId="2147483789"/>
            <pc:sldLayoutMk cId="1933999975" sldId="2147483810"/>
          </pc:sldLayoutMkLst>
          <pc:spChg chg="add mod">
            <ac:chgData name="Hans Gelissen (DHL SSC Maastricht)" userId="1afa8510-4eed-4b73-a29e-678838cd8acd" providerId="ADAL" clId="{EE43E865-CFC6-463A-84F5-A0B7D3FF71A7}" dt="2023-04-18T09:06:18.762" v="266"/>
            <ac:spMkLst>
              <pc:docMk/>
              <pc:sldMasterMk cId="1560827226" sldId="2147483789"/>
              <pc:sldLayoutMk cId="1933999975" sldId="2147483810"/>
              <ac:spMk id="2" creationId="{7BAD1DBB-EB2F-2BC5-C526-A0D762F1C792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04.453" v="251"/>
          <pc:sldLayoutMkLst>
            <pc:docMk/>
            <pc:sldMasterMk cId="1560827226" sldId="2147483789"/>
            <pc:sldLayoutMk cId="744637158" sldId="2147483853"/>
          </pc:sldLayoutMkLst>
          <pc:spChg chg="add mod">
            <ac:chgData name="Hans Gelissen (DHL SSC Maastricht)" userId="1afa8510-4eed-4b73-a29e-678838cd8acd" providerId="ADAL" clId="{EE43E865-CFC6-463A-84F5-A0B7D3FF71A7}" dt="2023-04-18T09:06:04.453" v="251"/>
            <ac:spMkLst>
              <pc:docMk/>
              <pc:sldMasterMk cId="1560827226" sldId="2147483789"/>
              <pc:sldLayoutMk cId="744637158" sldId="2147483853"/>
              <ac:spMk id="2" creationId="{E53E05C1-9BC3-2D6E-D10C-AA0BEE817B14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05.062" v="252"/>
          <pc:sldLayoutMkLst>
            <pc:docMk/>
            <pc:sldMasterMk cId="1560827226" sldId="2147483789"/>
            <pc:sldLayoutMk cId="912269737" sldId="2147483854"/>
          </pc:sldLayoutMkLst>
          <pc:spChg chg="add mod">
            <ac:chgData name="Hans Gelissen (DHL SSC Maastricht)" userId="1afa8510-4eed-4b73-a29e-678838cd8acd" providerId="ADAL" clId="{EE43E865-CFC6-463A-84F5-A0B7D3FF71A7}" dt="2023-04-18T09:06:05.062" v="252"/>
            <ac:spMkLst>
              <pc:docMk/>
              <pc:sldMasterMk cId="1560827226" sldId="2147483789"/>
              <pc:sldLayoutMk cId="912269737" sldId="2147483854"/>
              <ac:spMk id="2" creationId="{F80BAB40-2E52-66CE-1068-4E9E4AB64ED0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06.147" v="253"/>
          <pc:sldLayoutMkLst>
            <pc:docMk/>
            <pc:sldMasterMk cId="1560827226" sldId="2147483789"/>
            <pc:sldLayoutMk cId="3259315673" sldId="2147483855"/>
          </pc:sldLayoutMkLst>
          <pc:spChg chg="add mod">
            <ac:chgData name="Hans Gelissen (DHL SSC Maastricht)" userId="1afa8510-4eed-4b73-a29e-678838cd8acd" providerId="ADAL" clId="{EE43E865-CFC6-463A-84F5-A0B7D3FF71A7}" dt="2023-04-18T09:06:06.147" v="253"/>
            <ac:spMkLst>
              <pc:docMk/>
              <pc:sldMasterMk cId="1560827226" sldId="2147483789"/>
              <pc:sldLayoutMk cId="3259315673" sldId="2147483855"/>
              <ac:spMk id="2" creationId="{4832B3F0-47B6-8273-F465-D76756048B2E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03.839" v="250"/>
          <pc:sldLayoutMkLst>
            <pc:docMk/>
            <pc:sldMasterMk cId="1560827226" sldId="2147483789"/>
            <pc:sldLayoutMk cId="133451210" sldId="2147483856"/>
          </pc:sldLayoutMkLst>
          <pc:spChg chg="add mod">
            <ac:chgData name="Hans Gelissen (DHL SSC Maastricht)" userId="1afa8510-4eed-4b73-a29e-678838cd8acd" providerId="ADAL" clId="{EE43E865-CFC6-463A-84F5-A0B7D3FF71A7}" dt="2023-04-18T09:06:03.839" v="250"/>
            <ac:spMkLst>
              <pc:docMk/>
              <pc:sldMasterMk cId="1560827226" sldId="2147483789"/>
              <pc:sldLayoutMk cId="133451210" sldId="2147483856"/>
              <ac:spMk id="2" creationId="{54B02327-0E32-A4F1-7E1F-E0FB2BE7D27E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06.862" v="254"/>
          <pc:sldLayoutMkLst>
            <pc:docMk/>
            <pc:sldMasterMk cId="1560827226" sldId="2147483789"/>
            <pc:sldLayoutMk cId="2456586523" sldId="2147483905"/>
          </pc:sldLayoutMkLst>
          <pc:spChg chg="add mod">
            <ac:chgData name="Hans Gelissen (DHL SSC Maastricht)" userId="1afa8510-4eed-4b73-a29e-678838cd8acd" providerId="ADAL" clId="{EE43E865-CFC6-463A-84F5-A0B7D3FF71A7}" dt="2023-04-18T09:06:06.862" v="254"/>
            <ac:spMkLst>
              <pc:docMk/>
              <pc:sldMasterMk cId="1560827226" sldId="2147483789"/>
              <pc:sldLayoutMk cId="2456586523" sldId="2147483905"/>
              <ac:spMk id="2" creationId="{9BDF8148-85B1-55CD-88D9-0B17E595D18C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07.636" v="255"/>
          <pc:sldLayoutMkLst>
            <pc:docMk/>
            <pc:sldMasterMk cId="1560827226" sldId="2147483789"/>
            <pc:sldLayoutMk cId="3206099427" sldId="2147483906"/>
          </pc:sldLayoutMkLst>
          <pc:spChg chg="add mod">
            <ac:chgData name="Hans Gelissen (DHL SSC Maastricht)" userId="1afa8510-4eed-4b73-a29e-678838cd8acd" providerId="ADAL" clId="{EE43E865-CFC6-463A-84F5-A0B7D3FF71A7}" dt="2023-04-18T09:06:07.636" v="255"/>
            <ac:spMkLst>
              <pc:docMk/>
              <pc:sldMasterMk cId="1560827226" sldId="2147483789"/>
              <pc:sldLayoutMk cId="3206099427" sldId="2147483906"/>
              <ac:spMk id="2" creationId="{66A9464F-26E3-CEC7-C351-064488B4CE69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09.594" v="256"/>
          <pc:sldLayoutMkLst>
            <pc:docMk/>
            <pc:sldMasterMk cId="1560827226" sldId="2147483789"/>
            <pc:sldLayoutMk cId="4204909159" sldId="2147483907"/>
          </pc:sldLayoutMkLst>
          <pc:spChg chg="add mod">
            <ac:chgData name="Hans Gelissen (DHL SSC Maastricht)" userId="1afa8510-4eed-4b73-a29e-678838cd8acd" providerId="ADAL" clId="{EE43E865-CFC6-463A-84F5-A0B7D3FF71A7}" dt="2023-04-18T09:06:09.594" v="256"/>
            <ac:spMkLst>
              <pc:docMk/>
              <pc:sldMasterMk cId="1560827226" sldId="2147483789"/>
              <pc:sldLayoutMk cId="4204909159" sldId="2147483907"/>
              <ac:spMk id="2" creationId="{870EC8EB-A0B7-DBA0-93F4-A8CEF8D03119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10.347" v="257"/>
          <pc:sldLayoutMkLst>
            <pc:docMk/>
            <pc:sldMasterMk cId="1560827226" sldId="2147483789"/>
            <pc:sldLayoutMk cId="1584122736" sldId="2147483908"/>
          </pc:sldLayoutMkLst>
          <pc:spChg chg="add mod">
            <ac:chgData name="Hans Gelissen (DHL SSC Maastricht)" userId="1afa8510-4eed-4b73-a29e-678838cd8acd" providerId="ADAL" clId="{EE43E865-CFC6-463A-84F5-A0B7D3FF71A7}" dt="2023-04-18T09:06:10.347" v="257"/>
            <ac:spMkLst>
              <pc:docMk/>
              <pc:sldMasterMk cId="1560827226" sldId="2147483789"/>
              <pc:sldLayoutMk cId="1584122736" sldId="2147483908"/>
              <ac:spMk id="2" creationId="{436A2E50-7171-F26C-B0A4-446933500FA5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11.038" v="258"/>
          <pc:sldLayoutMkLst>
            <pc:docMk/>
            <pc:sldMasterMk cId="1560827226" sldId="2147483789"/>
            <pc:sldLayoutMk cId="1787164114" sldId="2147483989"/>
          </pc:sldLayoutMkLst>
          <pc:spChg chg="add mod">
            <ac:chgData name="Hans Gelissen (DHL SSC Maastricht)" userId="1afa8510-4eed-4b73-a29e-678838cd8acd" providerId="ADAL" clId="{EE43E865-CFC6-463A-84F5-A0B7D3FF71A7}" dt="2023-04-18T09:06:11.038" v="258"/>
            <ac:spMkLst>
              <pc:docMk/>
              <pc:sldMasterMk cId="1560827226" sldId="2147483789"/>
              <pc:sldLayoutMk cId="1787164114" sldId="2147483989"/>
              <ac:spMk id="2" creationId="{636CF449-7E8E-B33A-AC29-0878F41C738C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12.119" v="259"/>
          <pc:sldLayoutMkLst>
            <pc:docMk/>
            <pc:sldMasterMk cId="1560827226" sldId="2147483789"/>
            <pc:sldLayoutMk cId="243815297" sldId="2147483990"/>
          </pc:sldLayoutMkLst>
          <pc:spChg chg="add mod">
            <ac:chgData name="Hans Gelissen (DHL SSC Maastricht)" userId="1afa8510-4eed-4b73-a29e-678838cd8acd" providerId="ADAL" clId="{EE43E865-CFC6-463A-84F5-A0B7D3FF71A7}" dt="2023-04-18T09:06:12.119" v="259"/>
            <ac:spMkLst>
              <pc:docMk/>
              <pc:sldMasterMk cId="1560827226" sldId="2147483789"/>
              <pc:sldLayoutMk cId="243815297" sldId="2147483990"/>
              <ac:spMk id="2" creationId="{5DFD4C79-98A4-1E75-5D18-A107561ABB3B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12.752" v="260"/>
          <pc:sldLayoutMkLst>
            <pc:docMk/>
            <pc:sldMasterMk cId="1560827226" sldId="2147483789"/>
            <pc:sldLayoutMk cId="719341732" sldId="2147483991"/>
          </pc:sldLayoutMkLst>
          <pc:spChg chg="add mod">
            <ac:chgData name="Hans Gelissen (DHL SSC Maastricht)" userId="1afa8510-4eed-4b73-a29e-678838cd8acd" providerId="ADAL" clId="{EE43E865-CFC6-463A-84F5-A0B7D3FF71A7}" dt="2023-04-18T09:06:12.752" v="260"/>
            <ac:spMkLst>
              <pc:docMk/>
              <pc:sldMasterMk cId="1560827226" sldId="2147483789"/>
              <pc:sldLayoutMk cId="719341732" sldId="2147483991"/>
              <ac:spMk id="2" creationId="{4330343C-57C7-5EB6-4D62-5D83961A9D94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13.326" v="261"/>
          <pc:sldLayoutMkLst>
            <pc:docMk/>
            <pc:sldMasterMk cId="1560827226" sldId="2147483789"/>
            <pc:sldLayoutMk cId="74415229" sldId="2147483992"/>
          </pc:sldLayoutMkLst>
          <pc:spChg chg="add mod">
            <ac:chgData name="Hans Gelissen (DHL SSC Maastricht)" userId="1afa8510-4eed-4b73-a29e-678838cd8acd" providerId="ADAL" clId="{EE43E865-CFC6-463A-84F5-A0B7D3FF71A7}" dt="2023-04-18T09:06:13.326" v="261"/>
            <ac:spMkLst>
              <pc:docMk/>
              <pc:sldMasterMk cId="1560827226" sldId="2147483789"/>
              <pc:sldLayoutMk cId="74415229" sldId="2147483992"/>
              <ac:spMk id="2" creationId="{7DEB4967-353B-4DCD-E32F-FE09DAFC79C0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15.519" v="263"/>
          <pc:sldLayoutMkLst>
            <pc:docMk/>
            <pc:sldMasterMk cId="1560827226" sldId="2147483789"/>
            <pc:sldLayoutMk cId="2411693142" sldId="2147483993"/>
          </pc:sldLayoutMkLst>
          <pc:spChg chg="add mod">
            <ac:chgData name="Hans Gelissen (DHL SSC Maastricht)" userId="1afa8510-4eed-4b73-a29e-678838cd8acd" providerId="ADAL" clId="{EE43E865-CFC6-463A-84F5-A0B7D3FF71A7}" dt="2023-04-18T09:06:15.519" v="263"/>
            <ac:spMkLst>
              <pc:docMk/>
              <pc:sldMasterMk cId="1560827226" sldId="2147483789"/>
              <pc:sldLayoutMk cId="2411693142" sldId="2147483993"/>
              <ac:spMk id="2" creationId="{ED33F20E-C1FB-6A50-56FD-9E878D91E886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16.151" v="264"/>
          <pc:sldLayoutMkLst>
            <pc:docMk/>
            <pc:sldMasterMk cId="1560827226" sldId="2147483789"/>
            <pc:sldLayoutMk cId="4286881312" sldId="2147483994"/>
          </pc:sldLayoutMkLst>
          <pc:spChg chg="add mod">
            <ac:chgData name="Hans Gelissen (DHL SSC Maastricht)" userId="1afa8510-4eed-4b73-a29e-678838cd8acd" providerId="ADAL" clId="{EE43E865-CFC6-463A-84F5-A0B7D3FF71A7}" dt="2023-04-18T09:06:16.151" v="264"/>
            <ac:spMkLst>
              <pc:docMk/>
              <pc:sldMasterMk cId="1560827226" sldId="2147483789"/>
              <pc:sldLayoutMk cId="4286881312" sldId="2147483994"/>
              <ac:spMk id="2" creationId="{CFD072E5-6B6F-0FC9-5292-5F22C98F4AAD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16.753" v="265"/>
          <pc:sldLayoutMkLst>
            <pc:docMk/>
            <pc:sldMasterMk cId="1560827226" sldId="2147483789"/>
            <pc:sldLayoutMk cId="463531548" sldId="2147483995"/>
          </pc:sldLayoutMkLst>
          <pc:spChg chg="add mod">
            <ac:chgData name="Hans Gelissen (DHL SSC Maastricht)" userId="1afa8510-4eed-4b73-a29e-678838cd8acd" providerId="ADAL" clId="{EE43E865-CFC6-463A-84F5-A0B7D3FF71A7}" dt="2023-04-18T09:06:16.753" v="265"/>
            <ac:spMkLst>
              <pc:docMk/>
              <pc:sldMasterMk cId="1560827226" sldId="2147483789"/>
              <pc:sldLayoutMk cId="463531548" sldId="2147483995"/>
              <ac:spMk id="2" creationId="{68FC9DDD-C30C-A41F-2268-639ABD38E1D1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14.828" v="262"/>
          <pc:sldLayoutMkLst>
            <pc:docMk/>
            <pc:sldMasterMk cId="1560827226" sldId="2147483789"/>
            <pc:sldLayoutMk cId="520838339" sldId="2147483996"/>
          </pc:sldLayoutMkLst>
          <pc:spChg chg="add mod">
            <ac:chgData name="Hans Gelissen (DHL SSC Maastricht)" userId="1afa8510-4eed-4b73-a29e-678838cd8acd" providerId="ADAL" clId="{EE43E865-CFC6-463A-84F5-A0B7D3FF71A7}" dt="2023-04-18T09:06:14.828" v="262"/>
            <ac:spMkLst>
              <pc:docMk/>
              <pc:sldMasterMk cId="1560827226" sldId="2147483789"/>
              <pc:sldLayoutMk cId="520838339" sldId="2147483996"/>
              <ac:spMk id="2" creationId="{1E65B1FF-7127-574F-E220-9325019FB8B0}"/>
            </ac:spMkLst>
          </pc:spChg>
        </pc:sldLayoutChg>
      </pc:sldMasterChg>
      <pc:sldMasterChg chg="modSldLayout">
        <pc:chgData name="Hans Gelissen (DHL SSC Maastricht)" userId="1afa8510-4eed-4b73-a29e-678838cd8acd" providerId="ADAL" clId="{EE43E865-CFC6-463A-84F5-A0B7D3FF71A7}" dt="2023-04-18T09:05:53.447" v="244"/>
        <pc:sldMasterMkLst>
          <pc:docMk/>
          <pc:sldMasterMk cId="1369645148" sldId="2147483790"/>
        </pc:sldMasterMkLst>
        <pc:sldLayoutChg chg="addSp modSp mod">
          <pc:chgData name="Hans Gelissen (DHL SSC Maastricht)" userId="1afa8510-4eed-4b73-a29e-678838cd8acd" providerId="ADAL" clId="{EE43E865-CFC6-463A-84F5-A0B7D3FF71A7}" dt="2023-04-18T09:05:28.264" v="223" actId="14100"/>
          <pc:sldLayoutMkLst>
            <pc:docMk/>
            <pc:sldMasterMk cId="1369645148" sldId="2147483790"/>
            <pc:sldLayoutMk cId="3969535793" sldId="2147483785"/>
          </pc:sldLayoutMkLst>
          <pc:spChg chg="add mod">
            <ac:chgData name="Hans Gelissen (DHL SSC Maastricht)" userId="1afa8510-4eed-4b73-a29e-678838cd8acd" providerId="ADAL" clId="{EE43E865-CFC6-463A-84F5-A0B7D3FF71A7}" dt="2023-04-18T09:05:28.264" v="223" actId="14100"/>
            <ac:spMkLst>
              <pc:docMk/>
              <pc:sldMasterMk cId="1369645148" sldId="2147483790"/>
              <pc:sldLayoutMk cId="3969535793" sldId="2147483785"/>
              <ac:spMk id="2" creationId="{2A151164-DB64-1F4A-C49C-3DC0A9A92A2E}"/>
            </ac:spMkLst>
          </pc:spChg>
        </pc:sldLayoutChg>
        <pc:sldLayoutChg chg="addSp delSp modSp">
          <pc:chgData name="Hans Gelissen (DHL SSC Maastricht)" userId="1afa8510-4eed-4b73-a29e-678838cd8acd" providerId="ADAL" clId="{EE43E865-CFC6-463A-84F5-A0B7D3FF71A7}" dt="2023-04-18T09:05:38.102" v="226"/>
          <pc:sldLayoutMkLst>
            <pc:docMk/>
            <pc:sldMasterMk cId="1369645148" sldId="2147483790"/>
            <pc:sldLayoutMk cId="4265294671" sldId="2147483805"/>
          </pc:sldLayoutMkLst>
          <pc:spChg chg="add del mod">
            <ac:chgData name="Hans Gelissen (DHL SSC Maastricht)" userId="1afa8510-4eed-4b73-a29e-678838cd8acd" providerId="ADAL" clId="{EE43E865-CFC6-463A-84F5-A0B7D3FF71A7}" dt="2023-04-18T09:05:35.007" v="225"/>
            <ac:spMkLst>
              <pc:docMk/>
              <pc:sldMasterMk cId="1369645148" sldId="2147483790"/>
              <pc:sldLayoutMk cId="4265294671" sldId="2147483805"/>
              <ac:spMk id="2" creationId="{3B46C85E-D222-5D32-181E-D5B0899CCB29}"/>
            </ac:spMkLst>
          </pc:spChg>
          <pc:spChg chg="add mod">
            <ac:chgData name="Hans Gelissen (DHL SSC Maastricht)" userId="1afa8510-4eed-4b73-a29e-678838cd8acd" providerId="ADAL" clId="{EE43E865-CFC6-463A-84F5-A0B7D3FF71A7}" dt="2023-04-18T09:05:38.102" v="226"/>
            <ac:spMkLst>
              <pc:docMk/>
              <pc:sldMasterMk cId="1369645148" sldId="2147483790"/>
              <pc:sldLayoutMk cId="4265294671" sldId="2147483805"/>
              <ac:spMk id="3" creationId="{E8175B43-5090-8A6C-EEB5-8D2987007197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38.771" v="227"/>
          <pc:sldLayoutMkLst>
            <pc:docMk/>
            <pc:sldMasterMk cId="1369645148" sldId="2147483790"/>
            <pc:sldLayoutMk cId="1207693144" sldId="2147483806"/>
          </pc:sldLayoutMkLst>
          <pc:spChg chg="add mod">
            <ac:chgData name="Hans Gelissen (DHL SSC Maastricht)" userId="1afa8510-4eed-4b73-a29e-678838cd8acd" providerId="ADAL" clId="{EE43E865-CFC6-463A-84F5-A0B7D3FF71A7}" dt="2023-04-18T09:05:38.771" v="227"/>
            <ac:spMkLst>
              <pc:docMk/>
              <pc:sldMasterMk cId="1369645148" sldId="2147483790"/>
              <pc:sldLayoutMk cId="1207693144" sldId="2147483806"/>
              <ac:spMk id="2" creationId="{4317838D-FB38-56E4-1FE0-2D4337B925C8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53.447" v="244"/>
          <pc:sldLayoutMkLst>
            <pc:docMk/>
            <pc:sldMasterMk cId="1369645148" sldId="2147483790"/>
            <pc:sldLayoutMk cId="510718105" sldId="2147483807"/>
          </pc:sldLayoutMkLst>
          <pc:spChg chg="add mod">
            <ac:chgData name="Hans Gelissen (DHL SSC Maastricht)" userId="1afa8510-4eed-4b73-a29e-678838cd8acd" providerId="ADAL" clId="{EE43E865-CFC6-463A-84F5-A0B7D3FF71A7}" dt="2023-04-18T09:05:53.447" v="244"/>
            <ac:spMkLst>
              <pc:docMk/>
              <pc:sldMasterMk cId="1369645148" sldId="2147483790"/>
              <pc:sldLayoutMk cId="510718105" sldId="2147483807"/>
              <ac:spMk id="2" creationId="{37EAA926-E4EB-022B-BF38-57E75A5977DA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39.255" v="228"/>
          <pc:sldLayoutMkLst>
            <pc:docMk/>
            <pc:sldMasterMk cId="1369645148" sldId="2147483790"/>
            <pc:sldLayoutMk cId="1943895301" sldId="2147483845"/>
          </pc:sldLayoutMkLst>
          <pc:spChg chg="add mod">
            <ac:chgData name="Hans Gelissen (DHL SSC Maastricht)" userId="1afa8510-4eed-4b73-a29e-678838cd8acd" providerId="ADAL" clId="{EE43E865-CFC6-463A-84F5-A0B7D3FF71A7}" dt="2023-04-18T09:05:39.255" v="228"/>
            <ac:spMkLst>
              <pc:docMk/>
              <pc:sldMasterMk cId="1369645148" sldId="2147483790"/>
              <pc:sldLayoutMk cId="1943895301" sldId="2147483845"/>
              <ac:spMk id="2" creationId="{8C564B77-7F94-6F2F-DA09-D6A8805B081E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39.812" v="229"/>
          <pc:sldLayoutMkLst>
            <pc:docMk/>
            <pc:sldMasterMk cId="1369645148" sldId="2147483790"/>
            <pc:sldLayoutMk cId="2772115122" sldId="2147483846"/>
          </pc:sldLayoutMkLst>
          <pc:spChg chg="add mod">
            <ac:chgData name="Hans Gelissen (DHL SSC Maastricht)" userId="1afa8510-4eed-4b73-a29e-678838cd8acd" providerId="ADAL" clId="{EE43E865-CFC6-463A-84F5-A0B7D3FF71A7}" dt="2023-04-18T09:05:39.812" v="229"/>
            <ac:spMkLst>
              <pc:docMk/>
              <pc:sldMasterMk cId="1369645148" sldId="2147483790"/>
              <pc:sldLayoutMk cId="2772115122" sldId="2147483846"/>
              <ac:spMk id="2" creationId="{EFFD4E3B-BC6B-E152-7E5D-7FA185319648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41.147" v="230"/>
          <pc:sldLayoutMkLst>
            <pc:docMk/>
            <pc:sldMasterMk cId="1369645148" sldId="2147483790"/>
            <pc:sldLayoutMk cId="2373569907" sldId="2147483847"/>
          </pc:sldLayoutMkLst>
          <pc:spChg chg="add mod">
            <ac:chgData name="Hans Gelissen (DHL SSC Maastricht)" userId="1afa8510-4eed-4b73-a29e-678838cd8acd" providerId="ADAL" clId="{EE43E865-CFC6-463A-84F5-A0B7D3FF71A7}" dt="2023-04-18T09:05:41.147" v="230"/>
            <ac:spMkLst>
              <pc:docMk/>
              <pc:sldMasterMk cId="1369645148" sldId="2147483790"/>
              <pc:sldLayoutMk cId="2373569907" sldId="2147483847"/>
              <ac:spMk id="2" creationId="{9D4293BE-EADE-0E22-4133-8765D7F6E045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41.679" v="231"/>
          <pc:sldLayoutMkLst>
            <pc:docMk/>
            <pc:sldMasterMk cId="1369645148" sldId="2147483790"/>
            <pc:sldLayoutMk cId="3743593104" sldId="2147483848"/>
          </pc:sldLayoutMkLst>
          <pc:spChg chg="add mod">
            <ac:chgData name="Hans Gelissen (DHL SSC Maastricht)" userId="1afa8510-4eed-4b73-a29e-678838cd8acd" providerId="ADAL" clId="{EE43E865-CFC6-463A-84F5-A0B7D3FF71A7}" dt="2023-04-18T09:05:41.679" v="231"/>
            <ac:spMkLst>
              <pc:docMk/>
              <pc:sldMasterMk cId="1369645148" sldId="2147483790"/>
              <pc:sldLayoutMk cId="3743593104" sldId="2147483848"/>
              <ac:spMk id="2" creationId="{D6F01F77-6A39-DDEC-7FC5-C3AFD8CE8FD4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43.200" v="232"/>
          <pc:sldLayoutMkLst>
            <pc:docMk/>
            <pc:sldMasterMk cId="1369645148" sldId="2147483790"/>
            <pc:sldLayoutMk cId="1234143409" sldId="2147483900"/>
          </pc:sldLayoutMkLst>
          <pc:spChg chg="add mod">
            <ac:chgData name="Hans Gelissen (DHL SSC Maastricht)" userId="1afa8510-4eed-4b73-a29e-678838cd8acd" providerId="ADAL" clId="{EE43E865-CFC6-463A-84F5-A0B7D3FF71A7}" dt="2023-04-18T09:05:43.200" v="232"/>
            <ac:spMkLst>
              <pc:docMk/>
              <pc:sldMasterMk cId="1369645148" sldId="2147483790"/>
              <pc:sldLayoutMk cId="1234143409" sldId="2147483900"/>
              <ac:spMk id="2" creationId="{2B0030ED-8861-C16B-2E85-6240DADEA433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43.732" v="233"/>
          <pc:sldLayoutMkLst>
            <pc:docMk/>
            <pc:sldMasterMk cId="1369645148" sldId="2147483790"/>
            <pc:sldLayoutMk cId="4262359168" sldId="2147483901"/>
          </pc:sldLayoutMkLst>
          <pc:spChg chg="add mod">
            <ac:chgData name="Hans Gelissen (DHL SSC Maastricht)" userId="1afa8510-4eed-4b73-a29e-678838cd8acd" providerId="ADAL" clId="{EE43E865-CFC6-463A-84F5-A0B7D3FF71A7}" dt="2023-04-18T09:05:43.732" v="233"/>
            <ac:spMkLst>
              <pc:docMk/>
              <pc:sldMasterMk cId="1369645148" sldId="2147483790"/>
              <pc:sldLayoutMk cId="4262359168" sldId="2147483901"/>
              <ac:spMk id="2" creationId="{D435B61A-BA63-9089-6553-A906206224E3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44.369" v="234"/>
          <pc:sldLayoutMkLst>
            <pc:docMk/>
            <pc:sldMasterMk cId="1369645148" sldId="2147483790"/>
            <pc:sldLayoutMk cId="2696547024" sldId="2147483902"/>
          </pc:sldLayoutMkLst>
          <pc:spChg chg="add mod">
            <ac:chgData name="Hans Gelissen (DHL SSC Maastricht)" userId="1afa8510-4eed-4b73-a29e-678838cd8acd" providerId="ADAL" clId="{EE43E865-CFC6-463A-84F5-A0B7D3FF71A7}" dt="2023-04-18T09:05:44.369" v="234"/>
            <ac:spMkLst>
              <pc:docMk/>
              <pc:sldMasterMk cId="1369645148" sldId="2147483790"/>
              <pc:sldLayoutMk cId="2696547024" sldId="2147483902"/>
              <ac:spMk id="2" creationId="{0CA0FB04-1D69-A902-E489-D59662D9E37D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45.082" v="235"/>
          <pc:sldLayoutMkLst>
            <pc:docMk/>
            <pc:sldMasterMk cId="1369645148" sldId="2147483790"/>
            <pc:sldLayoutMk cId="4024878256" sldId="2147483903"/>
          </pc:sldLayoutMkLst>
          <pc:spChg chg="add mod">
            <ac:chgData name="Hans Gelissen (DHL SSC Maastricht)" userId="1afa8510-4eed-4b73-a29e-678838cd8acd" providerId="ADAL" clId="{EE43E865-CFC6-463A-84F5-A0B7D3FF71A7}" dt="2023-04-18T09:05:45.082" v="235"/>
            <ac:spMkLst>
              <pc:docMk/>
              <pc:sldMasterMk cId="1369645148" sldId="2147483790"/>
              <pc:sldLayoutMk cId="4024878256" sldId="2147483903"/>
              <ac:spMk id="2" creationId="{0A0DEC3F-08F9-2545-6974-CF0047362091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45.786" v="236"/>
          <pc:sldLayoutMkLst>
            <pc:docMk/>
            <pc:sldMasterMk cId="1369645148" sldId="2147483790"/>
            <pc:sldLayoutMk cId="2875832596" sldId="2147483963"/>
          </pc:sldLayoutMkLst>
          <pc:spChg chg="add mod">
            <ac:chgData name="Hans Gelissen (DHL SSC Maastricht)" userId="1afa8510-4eed-4b73-a29e-678838cd8acd" providerId="ADAL" clId="{EE43E865-CFC6-463A-84F5-A0B7D3FF71A7}" dt="2023-04-18T09:05:45.786" v="236"/>
            <ac:spMkLst>
              <pc:docMk/>
              <pc:sldMasterMk cId="1369645148" sldId="2147483790"/>
              <pc:sldLayoutMk cId="2875832596" sldId="2147483963"/>
              <ac:spMk id="2" creationId="{46018269-6127-6A7A-F638-6FF35AB34751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51.033" v="241"/>
          <pc:sldLayoutMkLst>
            <pc:docMk/>
            <pc:sldMasterMk cId="1369645148" sldId="2147483790"/>
            <pc:sldLayoutMk cId="1994915095" sldId="2147483964"/>
          </pc:sldLayoutMkLst>
          <pc:spChg chg="add mod">
            <ac:chgData name="Hans Gelissen (DHL SSC Maastricht)" userId="1afa8510-4eed-4b73-a29e-678838cd8acd" providerId="ADAL" clId="{EE43E865-CFC6-463A-84F5-A0B7D3FF71A7}" dt="2023-04-18T09:05:51.033" v="241"/>
            <ac:spMkLst>
              <pc:docMk/>
              <pc:sldMasterMk cId="1369645148" sldId="2147483790"/>
              <pc:sldLayoutMk cId="1994915095" sldId="2147483964"/>
              <ac:spMk id="2" creationId="{DE30FC43-62E6-9827-A9E3-04247A70A813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51.684" v="242"/>
          <pc:sldLayoutMkLst>
            <pc:docMk/>
            <pc:sldMasterMk cId="1369645148" sldId="2147483790"/>
            <pc:sldLayoutMk cId="2771766758" sldId="2147483965"/>
          </pc:sldLayoutMkLst>
          <pc:spChg chg="add mod">
            <ac:chgData name="Hans Gelissen (DHL SSC Maastricht)" userId="1afa8510-4eed-4b73-a29e-678838cd8acd" providerId="ADAL" clId="{EE43E865-CFC6-463A-84F5-A0B7D3FF71A7}" dt="2023-04-18T09:05:51.684" v="242"/>
            <ac:spMkLst>
              <pc:docMk/>
              <pc:sldMasterMk cId="1369645148" sldId="2147483790"/>
              <pc:sldLayoutMk cId="2771766758" sldId="2147483965"/>
              <ac:spMk id="2" creationId="{AB0E4112-6506-6FE3-F3B6-E950D191C40F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52.316" v="243"/>
          <pc:sldLayoutMkLst>
            <pc:docMk/>
            <pc:sldMasterMk cId="1369645148" sldId="2147483790"/>
            <pc:sldLayoutMk cId="428736053" sldId="2147483966"/>
          </pc:sldLayoutMkLst>
          <pc:spChg chg="add mod">
            <ac:chgData name="Hans Gelissen (DHL SSC Maastricht)" userId="1afa8510-4eed-4b73-a29e-678838cd8acd" providerId="ADAL" clId="{EE43E865-CFC6-463A-84F5-A0B7D3FF71A7}" dt="2023-04-18T09:05:52.316" v="243"/>
            <ac:spMkLst>
              <pc:docMk/>
              <pc:sldMasterMk cId="1369645148" sldId="2147483790"/>
              <pc:sldLayoutMk cId="428736053" sldId="2147483966"/>
              <ac:spMk id="2" creationId="{EA719DBC-112E-F094-92AF-9B66EDBD09E4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47.047" v="237"/>
          <pc:sldLayoutMkLst>
            <pc:docMk/>
            <pc:sldMasterMk cId="1369645148" sldId="2147483790"/>
            <pc:sldLayoutMk cId="3374739531" sldId="2147483967"/>
          </pc:sldLayoutMkLst>
          <pc:spChg chg="add mod">
            <ac:chgData name="Hans Gelissen (DHL SSC Maastricht)" userId="1afa8510-4eed-4b73-a29e-678838cd8acd" providerId="ADAL" clId="{EE43E865-CFC6-463A-84F5-A0B7D3FF71A7}" dt="2023-04-18T09:05:47.047" v="237"/>
            <ac:spMkLst>
              <pc:docMk/>
              <pc:sldMasterMk cId="1369645148" sldId="2147483790"/>
              <pc:sldLayoutMk cId="3374739531" sldId="2147483967"/>
              <ac:spMk id="2" creationId="{6CEBF8D7-05CE-77B6-1FBD-8D701982593E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47.819" v="238"/>
          <pc:sldLayoutMkLst>
            <pc:docMk/>
            <pc:sldMasterMk cId="1369645148" sldId="2147483790"/>
            <pc:sldLayoutMk cId="372204976" sldId="2147483968"/>
          </pc:sldLayoutMkLst>
          <pc:spChg chg="add mod">
            <ac:chgData name="Hans Gelissen (DHL SSC Maastricht)" userId="1afa8510-4eed-4b73-a29e-678838cd8acd" providerId="ADAL" clId="{EE43E865-CFC6-463A-84F5-A0B7D3FF71A7}" dt="2023-04-18T09:05:47.819" v="238"/>
            <ac:spMkLst>
              <pc:docMk/>
              <pc:sldMasterMk cId="1369645148" sldId="2147483790"/>
              <pc:sldLayoutMk cId="372204976" sldId="2147483968"/>
              <ac:spMk id="2" creationId="{E169DF41-3B6F-8635-719F-1409A4659207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49.095" v="239"/>
          <pc:sldLayoutMkLst>
            <pc:docMk/>
            <pc:sldMasterMk cId="1369645148" sldId="2147483790"/>
            <pc:sldLayoutMk cId="2974460564" sldId="2147483969"/>
          </pc:sldLayoutMkLst>
          <pc:spChg chg="add mod">
            <ac:chgData name="Hans Gelissen (DHL SSC Maastricht)" userId="1afa8510-4eed-4b73-a29e-678838cd8acd" providerId="ADAL" clId="{EE43E865-CFC6-463A-84F5-A0B7D3FF71A7}" dt="2023-04-18T09:05:49.095" v="239"/>
            <ac:spMkLst>
              <pc:docMk/>
              <pc:sldMasterMk cId="1369645148" sldId="2147483790"/>
              <pc:sldLayoutMk cId="2974460564" sldId="2147483969"/>
              <ac:spMk id="2" creationId="{C76867EF-CD25-BEFB-0B60-407190F82459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5:49.765" v="240"/>
          <pc:sldLayoutMkLst>
            <pc:docMk/>
            <pc:sldMasterMk cId="1369645148" sldId="2147483790"/>
            <pc:sldLayoutMk cId="2919855449" sldId="2147483970"/>
          </pc:sldLayoutMkLst>
          <pc:spChg chg="add mod">
            <ac:chgData name="Hans Gelissen (DHL SSC Maastricht)" userId="1afa8510-4eed-4b73-a29e-678838cd8acd" providerId="ADAL" clId="{EE43E865-CFC6-463A-84F5-A0B7D3FF71A7}" dt="2023-04-18T09:05:49.765" v="240"/>
            <ac:spMkLst>
              <pc:docMk/>
              <pc:sldMasterMk cId="1369645148" sldId="2147483790"/>
              <pc:sldLayoutMk cId="2919855449" sldId="2147483970"/>
              <ac:spMk id="2" creationId="{D4858F93-09E9-3B1F-37D2-EB444B0D2D35}"/>
            </ac:spMkLst>
          </pc:spChg>
        </pc:sldLayoutChg>
      </pc:sldMasterChg>
      <pc:sldMasterChg chg="modSldLayout">
        <pc:chgData name="Hans Gelissen (DHL SSC Maastricht)" userId="1afa8510-4eed-4b73-a29e-678838cd8acd" providerId="ADAL" clId="{EE43E865-CFC6-463A-84F5-A0B7D3FF71A7}" dt="2023-04-18T09:06:47.570" v="290"/>
        <pc:sldMasterMkLst>
          <pc:docMk/>
          <pc:sldMasterMk cId="380743489" sldId="2147483798"/>
        </pc:sldMasterMkLst>
        <pc:sldLayoutChg chg="addSp modSp mod">
          <pc:chgData name="Hans Gelissen (DHL SSC Maastricht)" userId="1afa8510-4eed-4b73-a29e-678838cd8acd" providerId="ADAL" clId="{EE43E865-CFC6-463A-84F5-A0B7D3FF71A7}" dt="2023-04-18T09:06:30.695" v="271" actId="1076"/>
          <pc:sldLayoutMkLst>
            <pc:docMk/>
            <pc:sldMasterMk cId="380743489" sldId="2147483798"/>
            <pc:sldLayoutMk cId="3165067286" sldId="2147483799"/>
          </pc:sldLayoutMkLst>
          <pc:spChg chg="add mod">
            <ac:chgData name="Hans Gelissen (DHL SSC Maastricht)" userId="1afa8510-4eed-4b73-a29e-678838cd8acd" providerId="ADAL" clId="{EE43E865-CFC6-463A-84F5-A0B7D3FF71A7}" dt="2023-04-18T09:06:30.695" v="271" actId="1076"/>
            <ac:spMkLst>
              <pc:docMk/>
              <pc:sldMasterMk cId="380743489" sldId="2147483798"/>
              <pc:sldLayoutMk cId="3165067286" sldId="2147483799"/>
              <ac:spMk id="2" creationId="{207D6500-0B99-1989-4E7B-0E202D6104EE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33.060" v="272"/>
          <pc:sldLayoutMkLst>
            <pc:docMk/>
            <pc:sldMasterMk cId="380743489" sldId="2147483798"/>
            <pc:sldLayoutMk cId="3551274112" sldId="2147483811"/>
          </pc:sldLayoutMkLst>
          <pc:spChg chg="add mod">
            <ac:chgData name="Hans Gelissen (DHL SSC Maastricht)" userId="1afa8510-4eed-4b73-a29e-678838cd8acd" providerId="ADAL" clId="{EE43E865-CFC6-463A-84F5-A0B7D3FF71A7}" dt="2023-04-18T09:06:33.060" v="272"/>
            <ac:spMkLst>
              <pc:docMk/>
              <pc:sldMasterMk cId="380743489" sldId="2147483798"/>
              <pc:sldLayoutMk cId="3551274112" sldId="2147483811"/>
              <ac:spMk id="2" creationId="{C7BB6B69-5B9A-CA4C-A249-6DA254065C41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33.545" v="273"/>
          <pc:sldLayoutMkLst>
            <pc:docMk/>
            <pc:sldMasterMk cId="380743489" sldId="2147483798"/>
            <pc:sldLayoutMk cId="1975890743" sldId="2147483812"/>
          </pc:sldLayoutMkLst>
          <pc:spChg chg="add mod">
            <ac:chgData name="Hans Gelissen (DHL SSC Maastricht)" userId="1afa8510-4eed-4b73-a29e-678838cd8acd" providerId="ADAL" clId="{EE43E865-CFC6-463A-84F5-A0B7D3FF71A7}" dt="2023-04-18T09:06:33.545" v="273"/>
            <ac:spMkLst>
              <pc:docMk/>
              <pc:sldMasterMk cId="380743489" sldId="2147483798"/>
              <pc:sldLayoutMk cId="1975890743" sldId="2147483812"/>
              <ac:spMk id="2" creationId="{A2BBE753-ADAA-0430-7AD6-5901C52AE5D5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47.570" v="290"/>
          <pc:sldLayoutMkLst>
            <pc:docMk/>
            <pc:sldMasterMk cId="380743489" sldId="2147483798"/>
            <pc:sldLayoutMk cId="718631429" sldId="2147483813"/>
          </pc:sldLayoutMkLst>
          <pc:spChg chg="add mod">
            <ac:chgData name="Hans Gelissen (DHL SSC Maastricht)" userId="1afa8510-4eed-4b73-a29e-678838cd8acd" providerId="ADAL" clId="{EE43E865-CFC6-463A-84F5-A0B7D3FF71A7}" dt="2023-04-18T09:06:47.570" v="290"/>
            <ac:spMkLst>
              <pc:docMk/>
              <pc:sldMasterMk cId="380743489" sldId="2147483798"/>
              <pc:sldLayoutMk cId="718631429" sldId="2147483813"/>
              <ac:spMk id="2" creationId="{6E178D3A-ADC5-21B6-51FD-6373EB089F6C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34.465" v="275"/>
          <pc:sldLayoutMkLst>
            <pc:docMk/>
            <pc:sldMasterMk cId="380743489" sldId="2147483798"/>
            <pc:sldLayoutMk cId="1447749584" sldId="2147483858"/>
          </pc:sldLayoutMkLst>
          <pc:spChg chg="add mod">
            <ac:chgData name="Hans Gelissen (DHL SSC Maastricht)" userId="1afa8510-4eed-4b73-a29e-678838cd8acd" providerId="ADAL" clId="{EE43E865-CFC6-463A-84F5-A0B7D3FF71A7}" dt="2023-04-18T09:06:34.465" v="275"/>
            <ac:spMkLst>
              <pc:docMk/>
              <pc:sldMasterMk cId="380743489" sldId="2147483798"/>
              <pc:sldLayoutMk cId="1447749584" sldId="2147483858"/>
              <ac:spMk id="2" creationId="{E10BA12C-165A-FE0A-6120-11BB48485D1C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36.259" v="276"/>
          <pc:sldLayoutMkLst>
            <pc:docMk/>
            <pc:sldMasterMk cId="380743489" sldId="2147483798"/>
            <pc:sldLayoutMk cId="3770817431" sldId="2147483859"/>
          </pc:sldLayoutMkLst>
          <pc:spChg chg="add mod">
            <ac:chgData name="Hans Gelissen (DHL SSC Maastricht)" userId="1afa8510-4eed-4b73-a29e-678838cd8acd" providerId="ADAL" clId="{EE43E865-CFC6-463A-84F5-A0B7D3FF71A7}" dt="2023-04-18T09:06:36.259" v="276"/>
            <ac:spMkLst>
              <pc:docMk/>
              <pc:sldMasterMk cId="380743489" sldId="2147483798"/>
              <pc:sldLayoutMk cId="3770817431" sldId="2147483859"/>
              <ac:spMk id="2" creationId="{109135C0-6707-3A75-A0C5-01ECF3210686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36.782" v="277"/>
          <pc:sldLayoutMkLst>
            <pc:docMk/>
            <pc:sldMasterMk cId="380743489" sldId="2147483798"/>
            <pc:sldLayoutMk cId="3975550019" sldId="2147483860"/>
          </pc:sldLayoutMkLst>
          <pc:spChg chg="add mod">
            <ac:chgData name="Hans Gelissen (DHL SSC Maastricht)" userId="1afa8510-4eed-4b73-a29e-678838cd8acd" providerId="ADAL" clId="{EE43E865-CFC6-463A-84F5-A0B7D3FF71A7}" dt="2023-04-18T09:06:36.782" v="277"/>
            <ac:spMkLst>
              <pc:docMk/>
              <pc:sldMasterMk cId="380743489" sldId="2147483798"/>
              <pc:sldLayoutMk cId="3975550019" sldId="2147483860"/>
              <ac:spMk id="2" creationId="{A32B4B73-92A8-C783-C4B1-D9998782FD46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33.977" v="274"/>
          <pc:sldLayoutMkLst>
            <pc:docMk/>
            <pc:sldMasterMk cId="380743489" sldId="2147483798"/>
            <pc:sldLayoutMk cId="2196533840" sldId="2147483861"/>
          </pc:sldLayoutMkLst>
          <pc:spChg chg="add mod">
            <ac:chgData name="Hans Gelissen (DHL SSC Maastricht)" userId="1afa8510-4eed-4b73-a29e-678838cd8acd" providerId="ADAL" clId="{EE43E865-CFC6-463A-84F5-A0B7D3FF71A7}" dt="2023-04-18T09:06:33.977" v="274"/>
            <ac:spMkLst>
              <pc:docMk/>
              <pc:sldMasterMk cId="380743489" sldId="2147483798"/>
              <pc:sldLayoutMk cId="2196533840" sldId="2147483861"/>
              <ac:spMk id="2" creationId="{28703869-38FC-F3B5-2F60-02E18224CB9C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37.304" v="278"/>
          <pc:sldLayoutMkLst>
            <pc:docMk/>
            <pc:sldMasterMk cId="380743489" sldId="2147483798"/>
            <pc:sldLayoutMk cId="2558172010" sldId="2147483910"/>
          </pc:sldLayoutMkLst>
          <pc:spChg chg="add mod">
            <ac:chgData name="Hans Gelissen (DHL SSC Maastricht)" userId="1afa8510-4eed-4b73-a29e-678838cd8acd" providerId="ADAL" clId="{EE43E865-CFC6-463A-84F5-A0B7D3FF71A7}" dt="2023-04-18T09:06:37.304" v="278"/>
            <ac:spMkLst>
              <pc:docMk/>
              <pc:sldMasterMk cId="380743489" sldId="2147483798"/>
              <pc:sldLayoutMk cId="2558172010" sldId="2147483910"/>
              <ac:spMk id="2" creationId="{D8E67403-4AD9-EB7E-D1B2-63ACB847B2F6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37.863" v="279"/>
          <pc:sldLayoutMkLst>
            <pc:docMk/>
            <pc:sldMasterMk cId="380743489" sldId="2147483798"/>
            <pc:sldLayoutMk cId="185021961" sldId="2147483911"/>
          </pc:sldLayoutMkLst>
          <pc:spChg chg="add mod">
            <ac:chgData name="Hans Gelissen (DHL SSC Maastricht)" userId="1afa8510-4eed-4b73-a29e-678838cd8acd" providerId="ADAL" clId="{EE43E865-CFC6-463A-84F5-A0B7D3FF71A7}" dt="2023-04-18T09:06:37.863" v="279"/>
            <ac:spMkLst>
              <pc:docMk/>
              <pc:sldMasterMk cId="380743489" sldId="2147483798"/>
              <pc:sldLayoutMk cId="185021961" sldId="2147483911"/>
              <ac:spMk id="2" creationId="{2646ED42-E1A3-3FD7-D0B8-9B9C817884FD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39.336" v="280"/>
          <pc:sldLayoutMkLst>
            <pc:docMk/>
            <pc:sldMasterMk cId="380743489" sldId="2147483798"/>
            <pc:sldLayoutMk cId="1294134225" sldId="2147483912"/>
          </pc:sldLayoutMkLst>
          <pc:spChg chg="add mod">
            <ac:chgData name="Hans Gelissen (DHL SSC Maastricht)" userId="1afa8510-4eed-4b73-a29e-678838cd8acd" providerId="ADAL" clId="{EE43E865-CFC6-463A-84F5-A0B7D3FF71A7}" dt="2023-04-18T09:06:39.336" v="280"/>
            <ac:spMkLst>
              <pc:docMk/>
              <pc:sldMasterMk cId="380743489" sldId="2147483798"/>
              <pc:sldLayoutMk cId="1294134225" sldId="2147483912"/>
              <ac:spMk id="2" creationId="{E4C651D4-73D0-EF38-125D-D4D76D133A36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39.929" v="281"/>
          <pc:sldLayoutMkLst>
            <pc:docMk/>
            <pc:sldMasterMk cId="380743489" sldId="2147483798"/>
            <pc:sldLayoutMk cId="3605607904" sldId="2147483913"/>
          </pc:sldLayoutMkLst>
          <pc:spChg chg="add mod">
            <ac:chgData name="Hans Gelissen (DHL SSC Maastricht)" userId="1afa8510-4eed-4b73-a29e-678838cd8acd" providerId="ADAL" clId="{EE43E865-CFC6-463A-84F5-A0B7D3FF71A7}" dt="2023-04-18T09:06:39.929" v="281"/>
            <ac:spMkLst>
              <pc:docMk/>
              <pc:sldMasterMk cId="380743489" sldId="2147483798"/>
              <pc:sldLayoutMk cId="3605607904" sldId="2147483913"/>
              <ac:spMk id="2" creationId="{BB624BD3-5D9D-9A68-D054-D72F29D00F93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40.534" v="282"/>
          <pc:sldLayoutMkLst>
            <pc:docMk/>
            <pc:sldMasterMk cId="380743489" sldId="2147483798"/>
            <pc:sldLayoutMk cId="3620310099" sldId="2147483981"/>
          </pc:sldLayoutMkLst>
          <pc:spChg chg="add mod">
            <ac:chgData name="Hans Gelissen (DHL SSC Maastricht)" userId="1afa8510-4eed-4b73-a29e-678838cd8acd" providerId="ADAL" clId="{EE43E865-CFC6-463A-84F5-A0B7D3FF71A7}" dt="2023-04-18T09:06:40.534" v="282"/>
            <ac:spMkLst>
              <pc:docMk/>
              <pc:sldMasterMk cId="380743489" sldId="2147483798"/>
              <pc:sldLayoutMk cId="3620310099" sldId="2147483981"/>
              <ac:spMk id="2" creationId="{4F3D1E3C-24E4-91FA-A71B-9704F1F858E1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41.837" v="283"/>
          <pc:sldLayoutMkLst>
            <pc:docMk/>
            <pc:sldMasterMk cId="380743489" sldId="2147483798"/>
            <pc:sldLayoutMk cId="1179472784" sldId="2147483982"/>
          </pc:sldLayoutMkLst>
          <pc:spChg chg="add mod">
            <ac:chgData name="Hans Gelissen (DHL SSC Maastricht)" userId="1afa8510-4eed-4b73-a29e-678838cd8acd" providerId="ADAL" clId="{EE43E865-CFC6-463A-84F5-A0B7D3FF71A7}" dt="2023-04-18T09:06:41.837" v="283"/>
            <ac:spMkLst>
              <pc:docMk/>
              <pc:sldMasterMk cId="380743489" sldId="2147483798"/>
              <pc:sldLayoutMk cId="1179472784" sldId="2147483982"/>
              <ac:spMk id="2" creationId="{101E42B4-C538-6E1A-BE13-69844A8B63F0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42.486" v="284"/>
          <pc:sldLayoutMkLst>
            <pc:docMk/>
            <pc:sldMasterMk cId="380743489" sldId="2147483798"/>
            <pc:sldLayoutMk cId="743991180" sldId="2147483983"/>
          </pc:sldLayoutMkLst>
          <pc:spChg chg="add mod">
            <ac:chgData name="Hans Gelissen (DHL SSC Maastricht)" userId="1afa8510-4eed-4b73-a29e-678838cd8acd" providerId="ADAL" clId="{EE43E865-CFC6-463A-84F5-A0B7D3FF71A7}" dt="2023-04-18T09:06:42.486" v="284"/>
            <ac:spMkLst>
              <pc:docMk/>
              <pc:sldMasterMk cId="380743489" sldId="2147483798"/>
              <pc:sldLayoutMk cId="743991180" sldId="2147483983"/>
              <ac:spMk id="2" creationId="{F70712F7-9173-6E59-504E-ED050EE638E6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43.098" v="285"/>
          <pc:sldLayoutMkLst>
            <pc:docMk/>
            <pc:sldMasterMk cId="380743489" sldId="2147483798"/>
            <pc:sldLayoutMk cId="3889033995" sldId="2147483984"/>
          </pc:sldLayoutMkLst>
          <pc:spChg chg="add mod">
            <ac:chgData name="Hans Gelissen (DHL SSC Maastricht)" userId="1afa8510-4eed-4b73-a29e-678838cd8acd" providerId="ADAL" clId="{EE43E865-CFC6-463A-84F5-A0B7D3FF71A7}" dt="2023-04-18T09:06:43.098" v="285"/>
            <ac:spMkLst>
              <pc:docMk/>
              <pc:sldMasterMk cId="380743489" sldId="2147483798"/>
              <pc:sldLayoutMk cId="3889033995" sldId="2147483984"/>
              <ac:spMk id="2" creationId="{5A61808C-50B7-D7DB-86F0-58AA14567F20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44.382" v="286"/>
          <pc:sldLayoutMkLst>
            <pc:docMk/>
            <pc:sldMasterMk cId="380743489" sldId="2147483798"/>
            <pc:sldLayoutMk cId="2170927799" sldId="2147483985"/>
          </pc:sldLayoutMkLst>
          <pc:spChg chg="add mod">
            <ac:chgData name="Hans Gelissen (DHL SSC Maastricht)" userId="1afa8510-4eed-4b73-a29e-678838cd8acd" providerId="ADAL" clId="{EE43E865-CFC6-463A-84F5-A0B7D3FF71A7}" dt="2023-04-18T09:06:44.382" v="286"/>
            <ac:spMkLst>
              <pc:docMk/>
              <pc:sldMasterMk cId="380743489" sldId="2147483798"/>
              <pc:sldLayoutMk cId="2170927799" sldId="2147483985"/>
              <ac:spMk id="2" creationId="{F5664E1B-5828-3263-7BD0-4A0D767CDC8D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44.985" v="287"/>
          <pc:sldLayoutMkLst>
            <pc:docMk/>
            <pc:sldMasterMk cId="380743489" sldId="2147483798"/>
            <pc:sldLayoutMk cId="853828882" sldId="2147483986"/>
          </pc:sldLayoutMkLst>
          <pc:spChg chg="add mod">
            <ac:chgData name="Hans Gelissen (DHL SSC Maastricht)" userId="1afa8510-4eed-4b73-a29e-678838cd8acd" providerId="ADAL" clId="{EE43E865-CFC6-463A-84F5-A0B7D3FF71A7}" dt="2023-04-18T09:06:44.985" v="287"/>
            <ac:spMkLst>
              <pc:docMk/>
              <pc:sldMasterMk cId="380743489" sldId="2147483798"/>
              <pc:sldLayoutMk cId="853828882" sldId="2147483986"/>
              <ac:spMk id="2" creationId="{0A0FC272-B4D7-C3DB-32A2-8393DB6D7F4B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45.527" v="288"/>
          <pc:sldLayoutMkLst>
            <pc:docMk/>
            <pc:sldMasterMk cId="380743489" sldId="2147483798"/>
            <pc:sldLayoutMk cId="2500544717" sldId="2147483987"/>
          </pc:sldLayoutMkLst>
          <pc:spChg chg="add mod">
            <ac:chgData name="Hans Gelissen (DHL SSC Maastricht)" userId="1afa8510-4eed-4b73-a29e-678838cd8acd" providerId="ADAL" clId="{EE43E865-CFC6-463A-84F5-A0B7D3FF71A7}" dt="2023-04-18T09:06:45.527" v="288"/>
            <ac:spMkLst>
              <pc:docMk/>
              <pc:sldMasterMk cId="380743489" sldId="2147483798"/>
              <pc:sldLayoutMk cId="2500544717" sldId="2147483987"/>
              <ac:spMk id="2" creationId="{0D35E472-B82B-99EB-64F7-EB85722BEA25}"/>
            </ac:spMkLst>
          </pc:spChg>
        </pc:sldLayoutChg>
        <pc:sldLayoutChg chg="addSp modSp">
          <pc:chgData name="Hans Gelissen (DHL SSC Maastricht)" userId="1afa8510-4eed-4b73-a29e-678838cd8acd" providerId="ADAL" clId="{EE43E865-CFC6-463A-84F5-A0B7D3FF71A7}" dt="2023-04-18T09:06:46.876" v="289"/>
          <pc:sldLayoutMkLst>
            <pc:docMk/>
            <pc:sldMasterMk cId="380743489" sldId="2147483798"/>
            <pc:sldLayoutMk cId="428352869" sldId="2147483988"/>
          </pc:sldLayoutMkLst>
          <pc:spChg chg="add mod">
            <ac:chgData name="Hans Gelissen (DHL SSC Maastricht)" userId="1afa8510-4eed-4b73-a29e-678838cd8acd" providerId="ADAL" clId="{EE43E865-CFC6-463A-84F5-A0B7D3FF71A7}" dt="2023-04-18T09:06:46.876" v="289"/>
            <ac:spMkLst>
              <pc:docMk/>
              <pc:sldMasterMk cId="380743489" sldId="2147483798"/>
              <pc:sldLayoutMk cId="428352869" sldId="2147483988"/>
              <ac:spMk id="2" creationId="{AA71221B-76C8-074C-0C3B-A693B798D3B6}"/>
            </ac:spMkLst>
          </pc:spChg>
        </pc:sldLayoutChg>
      </pc:sldMasterChg>
      <pc:sldMasterChg chg="modSldLayout">
        <pc:chgData name="Hans Gelissen (DHL SSC Maastricht)" userId="1afa8510-4eed-4b73-a29e-678838cd8acd" providerId="ADAL" clId="{EE43E865-CFC6-463A-84F5-A0B7D3FF71A7}" dt="2023-04-18T10:02:14.683" v="1096" actId="1038"/>
        <pc:sldMasterMkLst>
          <pc:docMk/>
          <pc:sldMasterMk cId="2722686442" sldId="2147484013"/>
        </pc:sldMasterMkLst>
        <pc:sldLayoutChg chg="modSp">
          <pc:chgData name="Hans Gelissen (DHL SSC Maastricht)" userId="1afa8510-4eed-4b73-a29e-678838cd8acd" providerId="ADAL" clId="{EE43E865-CFC6-463A-84F5-A0B7D3FF71A7}" dt="2023-04-18T09:56:46.311" v="1039" actId="404"/>
          <pc:sldLayoutMkLst>
            <pc:docMk/>
            <pc:sldMasterMk cId="2722686442" sldId="2147484013"/>
            <pc:sldLayoutMk cId="3268675541" sldId="2147484028"/>
          </pc:sldLayoutMkLst>
          <pc:spChg chg="mod">
            <ac:chgData name="Hans Gelissen (DHL SSC Maastricht)" userId="1afa8510-4eed-4b73-a29e-678838cd8acd" providerId="ADAL" clId="{EE43E865-CFC6-463A-84F5-A0B7D3FF71A7}" dt="2023-04-18T09:56:46.311" v="1039" actId="404"/>
            <ac:spMkLst>
              <pc:docMk/>
              <pc:sldMasterMk cId="2722686442" sldId="2147484013"/>
              <pc:sldLayoutMk cId="3268675541" sldId="2147484028"/>
              <ac:spMk id="6" creationId="{7378D8CD-C3E3-4637-8184-7FC938EE9CFF}"/>
            </ac:spMkLst>
          </pc:spChg>
          <pc:spChg chg="mod">
            <ac:chgData name="Hans Gelissen (DHL SSC Maastricht)" userId="1afa8510-4eed-4b73-a29e-678838cd8acd" providerId="ADAL" clId="{EE43E865-CFC6-463A-84F5-A0B7D3FF71A7}" dt="2023-04-18T09:56:46.311" v="1039" actId="404"/>
            <ac:spMkLst>
              <pc:docMk/>
              <pc:sldMasterMk cId="2722686442" sldId="2147484013"/>
              <pc:sldLayoutMk cId="3268675541" sldId="2147484028"/>
              <ac:spMk id="33" creationId="{5B6B688A-4321-4967-ADCE-3DD62CCF28D1}"/>
            </ac:spMkLst>
          </pc:spChg>
          <pc:spChg chg="mod">
            <ac:chgData name="Hans Gelissen (DHL SSC Maastricht)" userId="1afa8510-4eed-4b73-a29e-678838cd8acd" providerId="ADAL" clId="{EE43E865-CFC6-463A-84F5-A0B7D3FF71A7}" dt="2023-04-18T09:56:46.311" v="1039" actId="404"/>
            <ac:spMkLst>
              <pc:docMk/>
              <pc:sldMasterMk cId="2722686442" sldId="2147484013"/>
              <pc:sldLayoutMk cId="3268675541" sldId="2147484028"/>
              <ac:spMk id="34" creationId="{10A46619-F1F2-43A8-85D6-A1D7F402C17E}"/>
            </ac:spMkLst>
          </pc:spChg>
          <pc:spChg chg="mod">
            <ac:chgData name="Hans Gelissen (DHL SSC Maastricht)" userId="1afa8510-4eed-4b73-a29e-678838cd8acd" providerId="ADAL" clId="{EE43E865-CFC6-463A-84F5-A0B7D3FF71A7}" dt="2023-04-18T09:56:46.311" v="1039" actId="404"/>
            <ac:spMkLst>
              <pc:docMk/>
              <pc:sldMasterMk cId="2722686442" sldId="2147484013"/>
              <pc:sldLayoutMk cId="3268675541" sldId="2147484028"/>
              <ac:spMk id="35" creationId="{A04A0385-DE7C-4017-A042-7DF11670E515}"/>
            </ac:spMkLst>
          </pc:spChg>
        </pc:sldLayoutChg>
        <pc:sldLayoutChg chg="modSp">
          <pc:chgData name="Hans Gelissen (DHL SSC Maastricht)" userId="1afa8510-4eed-4b73-a29e-678838cd8acd" providerId="ADAL" clId="{EE43E865-CFC6-463A-84F5-A0B7D3FF71A7}" dt="2023-04-18T09:56:55.287" v="1041" actId="404"/>
          <pc:sldLayoutMkLst>
            <pc:docMk/>
            <pc:sldMasterMk cId="2722686442" sldId="2147484013"/>
            <pc:sldLayoutMk cId="3755589933" sldId="2147484029"/>
          </pc:sldLayoutMkLst>
          <pc:spChg chg="mod">
            <ac:chgData name="Hans Gelissen (DHL SSC Maastricht)" userId="1afa8510-4eed-4b73-a29e-678838cd8acd" providerId="ADAL" clId="{EE43E865-CFC6-463A-84F5-A0B7D3FF71A7}" dt="2023-04-18T09:56:55.287" v="1041" actId="404"/>
            <ac:spMkLst>
              <pc:docMk/>
              <pc:sldMasterMk cId="2722686442" sldId="2147484013"/>
              <pc:sldLayoutMk cId="3755589933" sldId="2147484029"/>
              <ac:spMk id="16" creationId="{543B43F8-9408-4DE6-ADB1-0F55458A9A22}"/>
            </ac:spMkLst>
          </pc:spChg>
          <pc:spChg chg="mod">
            <ac:chgData name="Hans Gelissen (DHL SSC Maastricht)" userId="1afa8510-4eed-4b73-a29e-678838cd8acd" providerId="ADAL" clId="{EE43E865-CFC6-463A-84F5-A0B7D3FF71A7}" dt="2023-04-18T09:56:55.287" v="1041" actId="404"/>
            <ac:spMkLst>
              <pc:docMk/>
              <pc:sldMasterMk cId="2722686442" sldId="2147484013"/>
              <pc:sldLayoutMk cId="3755589933" sldId="2147484029"/>
              <ac:spMk id="17" creationId="{94772D6F-1FC4-4476-A44A-08C36474BFAC}"/>
            </ac:spMkLst>
          </pc:spChg>
          <pc:spChg chg="mod">
            <ac:chgData name="Hans Gelissen (DHL SSC Maastricht)" userId="1afa8510-4eed-4b73-a29e-678838cd8acd" providerId="ADAL" clId="{EE43E865-CFC6-463A-84F5-A0B7D3FF71A7}" dt="2023-04-18T09:56:55.287" v="1041" actId="404"/>
            <ac:spMkLst>
              <pc:docMk/>
              <pc:sldMasterMk cId="2722686442" sldId="2147484013"/>
              <pc:sldLayoutMk cId="3755589933" sldId="2147484029"/>
              <ac:spMk id="18" creationId="{512809E2-9DA5-447E-955E-34FB70D95FD4}"/>
            </ac:spMkLst>
          </pc:spChg>
          <pc:spChg chg="mod">
            <ac:chgData name="Hans Gelissen (DHL SSC Maastricht)" userId="1afa8510-4eed-4b73-a29e-678838cd8acd" providerId="ADAL" clId="{EE43E865-CFC6-463A-84F5-A0B7D3FF71A7}" dt="2023-04-18T09:56:55.287" v="1041" actId="404"/>
            <ac:spMkLst>
              <pc:docMk/>
              <pc:sldMasterMk cId="2722686442" sldId="2147484013"/>
              <pc:sldLayoutMk cId="3755589933" sldId="2147484029"/>
              <ac:spMk id="19" creationId="{B7A3AD81-254E-4701-8E10-052F58E25B96}"/>
            </ac:spMkLst>
          </pc:spChg>
        </pc:sldLayoutChg>
        <pc:sldLayoutChg chg="modSp mod">
          <pc:chgData name="Hans Gelissen (DHL SSC Maastricht)" userId="1afa8510-4eed-4b73-a29e-678838cd8acd" providerId="ADAL" clId="{EE43E865-CFC6-463A-84F5-A0B7D3FF71A7}" dt="2023-04-18T10:02:14.683" v="1096" actId="1038"/>
          <pc:sldLayoutMkLst>
            <pc:docMk/>
            <pc:sldMasterMk cId="2722686442" sldId="2147484013"/>
            <pc:sldLayoutMk cId="3955269639" sldId="2147484030"/>
          </pc:sldLayoutMkLst>
          <pc:spChg chg="mod">
            <ac:chgData name="Hans Gelissen (DHL SSC Maastricht)" userId="1afa8510-4eed-4b73-a29e-678838cd8acd" providerId="ADAL" clId="{EE43E865-CFC6-463A-84F5-A0B7D3FF71A7}" dt="2023-04-18T10:00:38.807" v="1078" actId="14861"/>
            <ac:spMkLst>
              <pc:docMk/>
              <pc:sldMasterMk cId="2722686442" sldId="2147484013"/>
              <pc:sldLayoutMk cId="3955269639" sldId="2147484030"/>
              <ac:spMk id="60" creationId="{DC338880-A006-4A14-B205-694EE9C91695}"/>
            </ac:spMkLst>
          </pc:spChg>
          <pc:spChg chg="mod">
            <ac:chgData name="Hans Gelissen (DHL SSC Maastricht)" userId="1afa8510-4eed-4b73-a29e-678838cd8acd" providerId="ADAL" clId="{EE43E865-CFC6-463A-84F5-A0B7D3FF71A7}" dt="2023-04-18T10:01:57.523" v="1092" actId="14861"/>
            <ac:spMkLst>
              <pc:docMk/>
              <pc:sldMasterMk cId="2722686442" sldId="2147484013"/>
              <pc:sldLayoutMk cId="3955269639" sldId="2147484030"/>
              <ac:spMk id="61" creationId="{4BC2AB74-B2BB-499C-8696-DE5C2C43E3CF}"/>
            </ac:spMkLst>
          </pc:spChg>
          <pc:spChg chg="mod">
            <ac:chgData name="Hans Gelissen (DHL SSC Maastricht)" userId="1afa8510-4eed-4b73-a29e-678838cd8acd" providerId="ADAL" clId="{EE43E865-CFC6-463A-84F5-A0B7D3FF71A7}" dt="2023-04-18T10:00:03.300" v="1077" actId="14861"/>
            <ac:spMkLst>
              <pc:docMk/>
              <pc:sldMasterMk cId="2722686442" sldId="2147484013"/>
              <pc:sldLayoutMk cId="3955269639" sldId="2147484030"/>
              <ac:spMk id="62" creationId="{FCA0FFD6-6573-4CD8-8321-B2DFFE62BE1E}"/>
            </ac:spMkLst>
          </pc:spChg>
          <pc:spChg chg="mod">
            <ac:chgData name="Hans Gelissen (DHL SSC Maastricht)" userId="1afa8510-4eed-4b73-a29e-678838cd8acd" providerId="ADAL" clId="{EE43E865-CFC6-463A-84F5-A0B7D3FF71A7}" dt="2023-04-18T09:59:17.549" v="1070" actId="14861"/>
            <ac:spMkLst>
              <pc:docMk/>
              <pc:sldMasterMk cId="2722686442" sldId="2147484013"/>
              <pc:sldLayoutMk cId="3955269639" sldId="2147484030"/>
              <ac:spMk id="63" creationId="{A56E40A5-706D-4626-ACA4-D99B453E739F}"/>
            </ac:spMkLst>
          </pc:spChg>
          <pc:spChg chg="mod">
            <ac:chgData name="Hans Gelissen (DHL SSC Maastricht)" userId="1afa8510-4eed-4b73-a29e-678838cd8acd" providerId="ADAL" clId="{EE43E865-CFC6-463A-84F5-A0B7D3FF71A7}" dt="2023-04-18T10:01:57.523" v="1092" actId="14861"/>
            <ac:spMkLst>
              <pc:docMk/>
              <pc:sldMasterMk cId="2722686442" sldId="2147484013"/>
              <pc:sldLayoutMk cId="3955269639" sldId="2147484030"/>
              <ac:spMk id="64" creationId="{3DFBE54F-D8B9-4592-AB47-6B7F9B7D7088}"/>
            </ac:spMkLst>
          </pc:spChg>
          <pc:spChg chg="mod">
            <ac:chgData name="Hans Gelissen (DHL SSC Maastricht)" userId="1afa8510-4eed-4b73-a29e-678838cd8acd" providerId="ADAL" clId="{EE43E865-CFC6-463A-84F5-A0B7D3FF71A7}" dt="2023-04-18T10:00:38.807" v="1078" actId="14861"/>
            <ac:spMkLst>
              <pc:docMk/>
              <pc:sldMasterMk cId="2722686442" sldId="2147484013"/>
              <pc:sldLayoutMk cId="3955269639" sldId="2147484030"/>
              <ac:spMk id="65" creationId="{92EC2A0B-AA98-468B-A44B-EFAEC6418092}"/>
            </ac:spMkLst>
          </pc:spChg>
          <pc:spChg chg="mod">
            <ac:chgData name="Hans Gelissen (DHL SSC Maastricht)" userId="1afa8510-4eed-4b73-a29e-678838cd8acd" providerId="ADAL" clId="{EE43E865-CFC6-463A-84F5-A0B7D3FF71A7}" dt="2023-04-18T10:01:32.912" v="1089" actId="14861"/>
            <ac:spMkLst>
              <pc:docMk/>
              <pc:sldMasterMk cId="2722686442" sldId="2147484013"/>
              <pc:sldLayoutMk cId="3955269639" sldId="2147484030"/>
              <ac:spMk id="66" creationId="{B5BD4833-9D9B-4F72-961A-AD68F7A957B7}"/>
            </ac:spMkLst>
          </pc:spChg>
          <pc:spChg chg="mod">
            <ac:chgData name="Hans Gelissen (DHL SSC Maastricht)" userId="1afa8510-4eed-4b73-a29e-678838cd8acd" providerId="ADAL" clId="{EE43E865-CFC6-463A-84F5-A0B7D3FF71A7}" dt="2023-04-18T10:00:38.807" v="1078" actId="14861"/>
            <ac:spMkLst>
              <pc:docMk/>
              <pc:sldMasterMk cId="2722686442" sldId="2147484013"/>
              <pc:sldLayoutMk cId="3955269639" sldId="2147484030"/>
              <ac:spMk id="67" creationId="{8DDE5A79-B066-4343-9D26-F43545FFE17C}"/>
            </ac:spMkLst>
          </pc:spChg>
          <pc:spChg chg="mod">
            <ac:chgData name="Hans Gelissen (DHL SSC Maastricht)" userId="1afa8510-4eed-4b73-a29e-678838cd8acd" providerId="ADAL" clId="{EE43E865-CFC6-463A-84F5-A0B7D3FF71A7}" dt="2023-04-18T10:01:02.989" v="1085" actId="14861"/>
            <ac:spMkLst>
              <pc:docMk/>
              <pc:sldMasterMk cId="2722686442" sldId="2147484013"/>
              <pc:sldLayoutMk cId="3955269639" sldId="2147484030"/>
              <ac:spMk id="68" creationId="{99BFD5C5-51D6-4B5D-811E-39A20A057922}"/>
            </ac:spMkLst>
          </pc:spChg>
          <pc:spChg chg="mod">
            <ac:chgData name="Hans Gelissen (DHL SSC Maastricht)" userId="1afa8510-4eed-4b73-a29e-678838cd8acd" providerId="ADAL" clId="{EE43E865-CFC6-463A-84F5-A0B7D3FF71A7}" dt="2023-04-18T10:01:02.989" v="1085" actId="14861"/>
            <ac:spMkLst>
              <pc:docMk/>
              <pc:sldMasterMk cId="2722686442" sldId="2147484013"/>
              <pc:sldLayoutMk cId="3955269639" sldId="2147484030"/>
              <ac:spMk id="69" creationId="{568C17CA-755F-446C-9CC4-F4E7C1514384}"/>
            </ac:spMkLst>
          </pc:spChg>
          <pc:spChg chg="mod">
            <ac:chgData name="Hans Gelissen (DHL SSC Maastricht)" userId="1afa8510-4eed-4b73-a29e-678838cd8acd" providerId="ADAL" clId="{EE43E865-CFC6-463A-84F5-A0B7D3FF71A7}" dt="2023-04-18T09:59:50.076" v="1074" actId="108"/>
            <ac:spMkLst>
              <pc:docMk/>
              <pc:sldMasterMk cId="2722686442" sldId="2147484013"/>
              <pc:sldLayoutMk cId="3955269639" sldId="2147484030"/>
              <ac:spMk id="81" creationId="{9485EC79-8030-4D5F-A6F0-192640D9BA3A}"/>
            </ac:spMkLst>
          </pc:spChg>
          <pc:spChg chg="mod">
            <ac:chgData name="Hans Gelissen (DHL SSC Maastricht)" userId="1afa8510-4eed-4b73-a29e-678838cd8acd" providerId="ADAL" clId="{EE43E865-CFC6-463A-84F5-A0B7D3FF71A7}" dt="2023-04-18T10:02:14.683" v="1096" actId="1038"/>
            <ac:spMkLst>
              <pc:docMk/>
              <pc:sldMasterMk cId="2722686442" sldId="2147484013"/>
              <pc:sldLayoutMk cId="3955269639" sldId="2147484030"/>
              <ac:spMk id="82" creationId="{114060D3-034B-47E3-A288-BC5418B411B5}"/>
            </ac:spMkLst>
          </pc:spChg>
          <pc:spChg chg="mod">
            <ac:chgData name="Hans Gelissen (DHL SSC Maastricht)" userId="1afa8510-4eed-4b73-a29e-678838cd8acd" providerId="ADAL" clId="{EE43E865-CFC6-463A-84F5-A0B7D3FF71A7}" dt="2023-04-18T10:02:14.683" v="1096" actId="1038"/>
            <ac:spMkLst>
              <pc:docMk/>
              <pc:sldMasterMk cId="2722686442" sldId="2147484013"/>
              <pc:sldLayoutMk cId="3955269639" sldId="2147484030"/>
              <ac:spMk id="83" creationId="{4A5BD4DB-2C4D-43E8-839A-EE36B9219A4C}"/>
            </ac:spMkLst>
          </pc:spChg>
          <pc:spChg chg="mod">
            <ac:chgData name="Hans Gelissen (DHL SSC Maastricht)" userId="1afa8510-4eed-4b73-a29e-678838cd8acd" providerId="ADAL" clId="{EE43E865-CFC6-463A-84F5-A0B7D3FF71A7}" dt="2023-04-18T10:01:19.887" v="1087" actId="1076"/>
            <ac:spMkLst>
              <pc:docMk/>
              <pc:sldMasterMk cId="2722686442" sldId="2147484013"/>
              <pc:sldLayoutMk cId="3955269639" sldId="2147484030"/>
              <ac:spMk id="84" creationId="{90B95753-9A76-4A4A-A0DA-7B8CA935D426}"/>
            </ac:spMkLst>
          </pc:spChg>
          <pc:spChg chg="mod">
            <ac:chgData name="Hans Gelissen (DHL SSC Maastricht)" userId="1afa8510-4eed-4b73-a29e-678838cd8acd" providerId="ADAL" clId="{EE43E865-CFC6-463A-84F5-A0B7D3FF71A7}" dt="2023-04-18T10:01:39.535" v="1090" actId="1076"/>
            <ac:spMkLst>
              <pc:docMk/>
              <pc:sldMasterMk cId="2722686442" sldId="2147484013"/>
              <pc:sldLayoutMk cId="3955269639" sldId="2147484030"/>
              <ac:spMk id="85" creationId="{764C3636-BD60-405C-B3C7-F9DBA0A595C3}"/>
            </ac:spMkLst>
          </pc:spChg>
        </pc:sldLayoutChg>
        <pc:sldLayoutChg chg="modSp">
          <pc:chgData name="Hans Gelissen (DHL SSC Maastricht)" userId="1afa8510-4eed-4b73-a29e-678838cd8acd" providerId="ADAL" clId="{EE43E865-CFC6-463A-84F5-A0B7D3FF71A7}" dt="2023-04-18T09:56:39.170" v="1038" actId="404"/>
          <pc:sldLayoutMkLst>
            <pc:docMk/>
            <pc:sldMasterMk cId="2722686442" sldId="2147484013"/>
            <pc:sldLayoutMk cId="2822300869" sldId="2147484033"/>
          </pc:sldLayoutMkLst>
          <pc:spChg chg="mod">
            <ac:chgData name="Hans Gelissen (DHL SSC Maastricht)" userId="1afa8510-4eed-4b73-a29e-678838cd8acd" providerId="ADAL" clId="{EE43E865-CFC6-463A-84F5-A0B7D3FF71A7}" dt="2023-04-18T09:56:39.170" v="1038" actId="404"/>
            <ac:spMkLst>
              <pc:docMk/>
              <pc:sldMasterMk cId="2722686442" sldId="2147484013"/>
              <pc:sldLayoutMk cId="2822300869" sldId="2147484033"/>
              <ac:spMk id="6" creationId="{7378D8CD-C3E3-4637-8184-7FC938EE9CFF}"/>
            </ac:spMkLst>
          </pc:spChg>
          <pc:spChg chg="mod">
            <ac:chgData name="Hans Gelissen (DHL SSC Maastricht)" userId="1afa8510-4eed-4b73-a29e-678838cd8acd" providerId="ADAL" clId="{EE43E865-CFC6-463A-84F5-A0B7D3FF71A7}" dt="2023-04-18T09:56:39.170" v="1038" actId="404"/>
            <ac:spMkLst>
              <pc:docMk/>
              <pc:sldMasterMk cId="2722686442" sldId="2147484013"/>
              <pc:sldLayoutMk cId="2822300869" sldId="2147484033"/>
              <ac:spMk id="33" creationId="{5B6B688A-4321-4967-ADCE-3DD62CCF28D1}"/>
            </ac:spMkLst>
          </pc:spChg>
          <pc:spChg chg="mod">
            <ac:chgData name="Hans Gelissen (DHL SSC Maastricht)" userId="1afa8510-4eed-4b73-a29e-678838cd8acd" providerId="ADAL" clId="{EE43E865-CFC6-463A-84F5-A0B7D3FF71A7}" dt="2023-04-18T09:56:39.170" v="1038" actId="404"/>
            <ac:spMkLst>
              <pc:docMk/>
              <pc:sldMasterMk cId="2722686442" sldId="2147484013"/>
              <pc:sldLayoutMk cId="2822300869" sldId="2147484033"/>
              <ac:spMk id="34" creationId="{10A46619-F1F2-43A8-85D6-A1D7F402C17E}"/>
            </ac:spMkLst>
          </pc:spChg>
          <pc:spChg chg="mod">
            <ac:chgData name="Hans Gelissen (DHL SSC Maastricht)" userId="1afa8510-4eed-4b73-a29e-678838cd8acd" providerId="ADAL" clId="{EE43E865-CFC6-463A-84F5-A0B7D3FF71A7}" dt="2023-04-18T09:56:39.170" v="1038" actId="404"/>
            <ac:spMkLst>
              <pc:docMk/>
              <pc:sldMasterMk cId="2722686442" sldId="2147484013"/>
              <pc:sldLayoutMk cId="2822300869" sldId="2147484033"/>
              <ac:spMk id="35" creationId="{A04A0385-DE7C-4017-A042-7DF11670E515}"/>
            </ac:spMkLst>
          </pc:spChg>
        </pc:sldLayoutChg>
        <pc:sldLayoutChg chg="modSp">
          <pc:chgData name="Hans Gelissen (DHL SSC Maastricht)" userId="1afa8510-4eed-4b73-a29e-678838cd8acd" providerId="ADAL" clId="{EE43E865-CFC6-463A-84F5-A0B7D3FF71A7}" dt="2023-04-18T09:56:50.431" v="1040" actId="404"/>
          <pc:sldLayoutMkLst>
            <pc:docMk/>
            <pc:sldMasterMk cId="2722686442" sldId="2147484013"/>
            <pc:sldLayoutMk cId="1452984864" sldId="2147484034"/>
          </pc:sldLayoutMkLst>
          <pc:spChg chg="mod">
            <ac:chgData name="Hans Gelissen (DHL SSC Maastricht)" userId="1afa8510-4eed-4b73-a29e-678838cd8acd" providerId="ADAL" clId="{EE43E865-CFC6-463A-84F5-A0B7D3FF71A7}" dt="2023-04-18T09:56:50.431" v="1040" actId="404"/>
            <ac:spMkLst>
              <pc:docMk/>
              <pc:sldMasterMk cId="2722686442" sldId="2147484013"/>
              <pc:sldLayoutMk cId="1452984864" sldId="2147484034"/>
              <ac:spMk id="6" creationId="{7378D8CD-C3E3-4637-8184-7FC938EE9CFF}"/>
            </ac:spMkLst>
          </pc:spChg>
          <pc:spChg chg="mod">
            <ac:chgData name="Hans Gelissen (DHL SSC Maastricht)" userId="1afa8510-4eed-4b73-a29e-678838cd8acd" providerId="ADAL" clId="{EE43E865-CFC6-463A-84F5-A0B7D3FF71A7}" dt="2023-04-18T09:56:50.431" v="1040" actId="404"/>
            <ac:spMkLst>
              <pc:docMk/>
              <pc:sldMasterMk cId="2722686442" sldId="2147484013"/>
              <pc:sldLayoutMk cId="1452984864" sldId="2147484034"/>
              <ac:spMk id="33" creationId="{5B6B688A-4321-4967-ADCE-3DD62CCF28D1}"/>
            </ac:spMkLst>
          </pc:spChg>
          <pc:spChg chg="mod">
            <ac:chgData name="Hans Gelissen (DHL SSC Maastricht)" userId="1afa8510-4eed-4b73-a29e-678838cd8acd" providerId="ADAL" clId="{EE43E865-CFC6-463A-84F5-A0B7D3FF71A7}" dt="2023-04-18T09:56:50.431" v="1040" actId="404"/>
            <ac:spMkLst>
              <pc:docMk/>
              <pc:sldMasterMk cId="2722686442" sldId="2147484013"/>
              <pc:sldLayoutMk cId="1452984864" sldId="2147484034"/>
              <ac:spMk id="34" creationId="{10A46619-F1F2-43A8-85D6-A1D7F402C17E}"/>
            </ac:spMkLst>
          </pc:spChg>
          <pc:spChg chg="mod">
            <ac:chgData name="Hans Gelissen (DHL SSC Maastricht)" userId="1afa8510-4eed-4b73-a29e-678838cd8acd" providerId="ADAL" clId="{EE43E865-CFC6-463A-84F5-A0B7D3FF71A7}" dt="2023-04-18T09:56:50.431" v="1040" actId="404"/>
            <ac:spMkLst>
              <pc:docMk/>
              <pc:sldMasterMk cId="2722686442" sldId="2147484013"/>
              <pc:sldLayoutMk cId="1452984864" sldId="2147484034"/>
              <ac:spMk id="35" creationId="{A04A0385-DE7C-4017-A042-7DF11670E515}"/>
            </ac:spMkLst>
          </pc:spChg>
        </pc:sldLayoutChg>
      </pc:sldMasterChg>
    </pc:docChg>
  </pc:docChgLst>
  <pc:docChgLst>
    <pc:chgData name="Hans Gelissen (DHL SSC Maastricht)" userId="1afa8510-4eed-4b73-a29e-678838cd8acd" providerId="ADAL" clId="{D4795083-EE21-4870-A6A1-CBEBAABF3C14}"/>
    <pc:docChg chg="undo redo custSel addSld delSld modSld sldOrd">
      <pc:chgData name="Hans Gelissen (DHL SSC Maastricht)" userId="1afa8510-4eed-4b73-a29e-678838cd8acd" providerId="ADAL" clId="{D4795083-EE21-4870-A6A1-CBEBAABF3C14}" dt="2023-06-07T10:42:30.211" v="12642"/>
      <pc:docMkLst>
        <pc:docMk/>
      </pc:docMkLst>
      <pc:sldChg chg="modSp mod modClrScheme chgLayout">
        <pc:chgData name="Hans Gelissen (DHL SSC Maastricht)" userId="1afa8510-4eed-4b73-a29e-678838cd8acd" providerId="ADAL" clId="{D4795083-EE21-4870-A6A1-CBEBAABF3C14}" dt="2023-06-05T09:50:12.907" v="2247" actId="700"/>
        <pc:sldMkLst>
          <pc:docMk/>
          <pc:sldMk cId="2338473233" sldId="258"/>
        </pc:sldMkLst>
        <pc:spChg chg="mod ord">
          <ac:chgData name="Hans Gelissen (DHL SSC Maastricht)" userId="1afa8510-4eed-4b73-a29e-678838cd8acd" providerId="ADAL" clId="{D4795083-EE21-4870-A6A1-CBEBAABF3C14}" dt="2023-06-05T09:50:12.907" v="2247" actId="700"/>
          <ac:spMkLst>
            <pc:docMk/>
            <pc:sldMk cId="2338473233" sldId="258"/>
            <ac:spMk id="3" creationId="{6D6E7CE4-2A7C-47FD-AE9E-86763B9D3163}"/>
          </ac:spMkLst>
        </pc:spChg>
        <pc:spChg chg="mod ord">
          <ac:chgData name="Hans Gelissen (DHL SSC Maastricht)" userId="1afa8510-4eed-4b73-a29e-678838cd8acd" providerId="ADAL" clId="{D4795083-EE21-4870-A6A1-CBEBAABF3C14}" dt="2023-06-05T09:50:12.907" v="2247" actId="700"/>
          <ac:spMkLst>
            <pc:docMk/>
            <pc:sldMk cId="2338473233" sldId="258"/>
            <ac:spMk id="13" creationId="{08A47195-4824-4907-8AE9-D7AD4BE08E28}"/>
          </ac:spMkLst>
        </pc:spChg>
      </pc:sldChg>
      <pc:sldChg chg="addSp delSp modSp mod modClrScheme chgLayout">
        <pc:chgData name="Hans Gelissen (DHL SSC Maastricht)" userId="1afa8510-4eed-4b73-a29e-678838cd8acd" providerId="ADAL" clId="{D4795083-EE21-4870-A6A1-CBEBAABF3C14}" dt="2023-06-05T07:54:17.625" v="716" actId="20577"/>
        <pc:sldMkLst>
          <pc:docMk/>
          <pc:sldMk cId="2219543139" sldId="284"/>
        </pc:sldMkLst>
        <pc:spChg chg="del mod ord">
          <ac:chgData name="Hans Gelissen (DHL SSC Maastricht)" userId="1afa8510-4eed-4b73-a29e-678838cd8acd" providerId="ADAL" clId="{D4795083-EE21-4870-A6A1-CBEBAABF3C14}" dt="2023-06-05T07:45:40.911" v="68" actId="700"/>
          <ac:spMkLst>
            <pc:docMk/>
            <pc:sldMk cId="2219543139" sldId="284"/>
            <ac:spMk id="2" creationId="{1B340C43-F6E6-7669-B73F-C779004236A9}"/>
          </ac:spMkLst>
        </pc:spChg>
        <pc:spChg chg="mod ord">
          <ac:chgData name="Hans Gelissen (DHL SSC Maastricht)" userId="1afa8510-4eed-4b73-a29e-678838cd8acd" providerId="ADAL" clId="{D4795083-EE21-4870-A6A1-CBEBAABF3C14}" dt="2023-06-05T07:52:27.497" v="500" actId="20577"/>
          <ac:spMkLst>
            <pc:docMk/>
            <pc:sldMk cId="2219543139" sldId="284"/>
            <ac:spMk id="3" creationId="{E9505191-D401-4B1F-A0FD-9DA8DF3EA35C}"/>
          </ac:spMkLst>
        </pc:spChg>
        <pc:spChg chg="mod ord">
          <ac:chgData name="Hans Gelissen (DHL SSC Maastricht)" userId="1afa8510-4eed-4b73-a29e-678838cd8acd" providerId="ADAL" clId="{D4795083-EE21-4870-A6A1-CBEBAABF3C14}" dt="2023-06-05T07:52:22.791" v="485" actId="20577"/>
          <ac:spMkLst>
            <pc:docMk/>
            <pc:sldMk cId="2219543139" sldId="284"/>
            <ac:spMk id="4" creationId="{CF6CC01A-D8F6-4AE1-A79C-B9423066DA29}"/>
          </ac:spMkLst>
        </pc:spChg>
        <pc:spChg chg="mod ord">
          <ac:chgData name="Hans Gelissen (DHL SSC Maastricht)" userId="1afa8510-4eed-4b73-a29e-678838cd8acd" providerId="ADAL" clId="{D4795083-EE21-4870-A6A1-CBEBAABF3C14}" dt="2023-06-05T07:54:17.625" v="716" actId="20577"/>
          <ac:spMkLst>
            <pc:docMk/>
            <pc:sldMk cId="2219543139" sldId="284"/>
            <ac:spMk id="5" creationId="{530A048D-D80F-4F76-9FB5-FE1C09E5CE0D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7:49:55.091" v="206" actId="931"/>
          <ac:spMkLst>
            <pc:docMk/>
            <pc:sldMk cId="2219543139" sldId="284"/>
            <ac:spMk id="6" creationId="{973D2537-042C-C8B6-F66C-A74B3C5CDE81}"/>
          </ac:spMkLst>
        </pc:spChg>
        <pc:spChg chg="add mod ord">
          <ac:chgData name="Hans Gelissen (DHL SSC Maastricht)" userId="1afa8510-4eed-4b73-a29e-678838cd8acd" providerId="ADAL" clId="{D4795083-EE21-4870-A6A1-CBEBAABF3C14}" dt="2023-06-05T07:53:20.790" v="590" actId="20577"/>
          <ac:spMkLst>
            <pc:docMk/>
            <pc:sldMk cId="2219543139" sldId="284"/>
            <ac:spMk id="7" creationId="{A58F3D82-D7F8-A038-82E6-D355B6757A66}"/>
          </ac:spMkLst>
        </pc:spChg>
        <pc:picChg chg="add del">
          <ac:chgData name="Hans Gelissen (DHL SSC Maastricht)" userId="1afa8510-4eed-4b73-a29e-678838cd8acd" providerId="ADAL" clId="{D4795083-EE21-4870-A6A1-CBEBAABF3C14}" dt="2023-06-05T07:49:46.510" v="205" actId="478"/>
          <ac:picMkLst>
            <pc:docMk/>
            <pc:sldMk cId="2219543139" sldId="284"/>
            <ac:picMk id="8" creationId="{7D06C351-E66B-D0D1-1A7E-46FBE81E7E1F}"/>
          </ac:picMkLst>
        </pc:picChg>
        <pc:picChg chg="add mod modCrop">
          <ac:chgData name="Hans Gelissen (DHL SSC Maastricht)" userId="1afa8510-4eed-4b73-a29e-678838cd8acd" providerId="ADAL" clId="{D4795083-EE21-4870-A6A1-CBEBAABF3C14}" dt="2023-06-05T07:50:37.880" v="210" actId="18131"/>
          <ac:picMkLst>
            <pc:docMk/>
            <pc:sldMk cId="2219543139" sldId="284"/>
            <ac:picMk id="10" creationId="{9B31DD68-FCF9-A806-DB9B-52C063471296}"/>
          </ac:picMkLst>
        </pc:picChg>
      </pc:sldChg>
      <pc:sldChg chg="del">
        <pc:chgData name="Hans Gelissen (DHL SSC Maastricht)" userId="1afa8510-4eed-4b73-a29e-678838cd8acd" providerId="ADAL" clId="{D4795083-EE21-4870-A6A1-CBEBAABF3C14}" dt="2023-06-05T08:12:44.348" v="815" actId="47"/>
        <pc:sldMkLst>
          <pc:docMk/>
          <pc:sldMk cId="1798378602" sldId="291"/>
        </pc:sldMkLst>
      </pc:sldChg>
      <pc:sldChg chg="del">
        <pc:chgData name="Hans Gelissen (DHL SSC Maastricht)" userId="1afa8510-4eed-4b73-a29e-678838cd8acd" providerId="ADAL" clId="{D4795083-EE21-4870-A6A1-CBEBAABF3C14}" dt="2023-06-05T08:12:38.929" v="813" actId="47"/>
        <pc:sldMkLst>
          <pc:docMk/>
          <pc:sldMk cId="1072775512" sldId="294"/>
        </pc:sldMkLst>
      </pc:sldChg>
      <pc:sldChg chg="modSp mod">
        <pc:chgData name="Hans Gelissen (DHL SSC Maastricht)" userId="1afa8510-4eed-4b73-a29e-678838cd8acd" providerId="ADAL" clId="{D4795083-EE21-4870-A6A1-CBEBAABF3C14}" dt="2023-06-07T08:53:14.448" v="12293" actId="20577"/>
        <pc:sldMkLst>
          <pc:docMk/>
          <pc:sldMk cId="881367480" sldId="297"/>
        </pc:sldMkLst>
        <pc:spChg chg="mod">
          <ac:chgData name="Hans Gelissen (DHL SSC Maastricht)" userId="1afa8510-4eed-4b73-a29e-678838cd8acd" providerId="ADAL" clId="{D4795083-EE21-4870-A6A1-CBEBAABF3C14}" dt="2023-06-05T07:48:08.255" v="203" actId="20577"/>
          <ac:spMkLst>
            <pc:docMk/>
            <pc:sldMk cId="881367480" sldId="297"/>
            <ac:spMk id="3" creationId="{8623EAA7-BB14-447D-9B4F-24CD22ED19D0}"/>
          </ac:spMkLst>
        </pc:spChg>
        <pc:spChg chg="mod">
          <ac:chgData name="Hans Gelissen (DHL SSC Maastricht)" userId="1afa8510-4eed-4b73-a29e-678838cd8acd" providerId="ADAL" clId="{D4795083-EE21-4870-A6A1-CBEBAABF3C14}" dt="2023-06-05T07:47:03.463" v="100" actId="20577"/>
          <ac:spMkLst>
            <pc:docMk/>
            <pc:sldMk cId="881367480" sldId="297"/>
            <ac:spMk id="4" creationId="{C9F250CE-3AB6-4002-A51C-C849F93A0703}"/>
          </ac:spMkLst>
        </pc:spChg>
        <pc:spChg chg="mod">
          <ac:chgData name="Hans Gelissen (DHL SSC Maastricht)" userId="1afa8510-4eed-4b73-a29e-678838cd8acd" providerId="ADAL" clId="{D4795083-EE21-4870-A6A1-CBEBAABF3C14}" dt="2023-06-05T07:48:04.022" v="198" actId="20577"/>
          <ac:spMkLst>
            <pc:docMk/>
            <pc:sldMk cId="881367480" sldId="297"/>
            <ac:spMk id="5" creationId="{7BB3BAEA-7E2A-4CC7-BE54-E5D3CE103486}"/>
          </ac:spMkLst>
        </pc:spChg>
        <pc:spChg chg="mod">
          <ac:chgData name="Hans Gelissen (DHL SSC Maastricht)" userId="1afa8510-4eed-4b73-a29e-678838cd8acd" providerId="ADAL" clId="{D4795083-EE21-4870-A6A1-CBEBAABF3C14}" dt="2023-06-05T07:48:01.177" v="193" actId="1076"/>
          <ac:spMkLst>
            <pc:docMk/>
            <pc:sldMk cId="881367480" sldId="297"/>
            <ac:spMk id="6" creationId="{40A0FEB2-254F-4E23-92E2-B92B7140DBBE}"/>
          </ac:spMkLst>
        </pc:spChg>
        <pc:spChg chg="mod">
          <ac:chgData name="Hans Gelissen (DHL SSC Maastricht)" userId="1afa8510-4eed-4b73-a29e-678838cd8acd" providerId="ADAL" clId="{D4795083-EE21-4870-A6A1-CBEBAABF3C14}" dt="2023-06-07T08:53:14.448" v="12293" actId="20577"/>
          <ac:spMkLst>
            <pc:docMk/>
            <pc:sldMk cId="881367480" sldId="297"/>
            <ac:spMk id="8" creationId="{ECEAB483-8E21-42CC-870F-BE6C52E578DB}"/>
          </ac:spMkLst>
        </pc:spChg>
      </pc:sldChg>
      <pc:sldChg chg="del">
        <pc:chgData name="Hans Gelissen (DHL SSC Maastricht)" userId="1afa8510-4eed-4b73-a29e-678838cd8acd" providerId="ADAL" clId="{D4795083-EE21-4870-A6A1-CBEBAABF3C14}" dt="2023-06-05T10:24:24.930" v="2752" actId="47"/>
        <pc:sldMkLst>
          <pc:docMk/>
          <pc:sldMk cId="55898822" sldId="307"/>
        </pc:sldMkLst>
      </pc:sldChg>
      <pc:sldChg chg="del">
        <pc:chgData name="Hans Gelissen (DHL SSC Maastricht)" userId="1afa8510-4eed-4b73-a29e-678838cd8acd" providerId="ADAL" clId="{D4795083-EE21-4870-A6A1-CBEBAABF3C14}" dt="2023-06-05T08:18:40.633" v="1116" actId="47"/>
        <pc:sldMkLst>
          <pc:docMk/>
          <pc:sldMk cId="2361918355" sldId="308"/>
        </pc:sldMkLst>
      </pc:sldChg>
      <pc:sldChg chg="del">
        <pc:chgData name="Hans Gelissen (DHL SSC Maastricht)" userId="1afa8510-4eed-4b73-a29e-678838cd8acd" providerId="ADAL" clId="{D4795083-EE21-4870-A6A1-CBEBAABF3C14}" dt="2023-06-05T08:18:41.230" v="1117" actId="47"/>
        <pc:sldMkLst>
          <pc:docMk/>
          <pc:sldMk cId="1613260350" sldId="309"/>
        </pc:sldMkLst>
      </pc:sldChg>
      <pc:sldChg chg="ord">
        <pc:chgData name="Hans Gelissen (DHL SSC Maastricht)" userId="1afa8510-4eed-4b73-a29e-678838cd8acd" providerId="ADAL" clId="{D4795083-EE21-4870-A6A1-CBEBAABF3C14}" dt="2023-06-06T10:04:02.829" v="10233"/>
        <pc:sldMkLst>
          <pc:docMk/>
          <pc:sldMk cId="2814935883" sldId="316"/>
        </pc:sldMkLst>
      </pc:sldChg>
      <pc:sldChg chg="modSp mod modClrScheme chgLayout">
        <pc:chgData name="Hans Gelissen (DHL SSC Maastricht)" userId="1afa8510-4eed-4b73-a29e-678838cd8acd" providerId="ADAL" clId="{D4795083-EE21-4870-A6A1-CBEBAABF3C14}" dt="2023-06-05T09:48:41.960" v="2243" actId="700"/>
        <pc:sldMkLst>
          <pc:docMk/>
          <pc:sldMk cId="3989320898" sldId="319"/>
        </pc:sldMkLst>
        <pc:spChg chg="mod ord">
          <ac:chgData name="Hans Gelissen (DHL SSC Maastricht)" userId="1afa8510-4eed-4b73-a29e-678838cd8acd" providerId="ADAL" clId="{D4795083-EE21-4870-A6A1-CBEBAABF3C14}" dt="2023-06-05T09:48:41.960" v="2243" actId="700"/>
          <ac:spMkLst>
            <pc:docMk/>
            <pc:sldMk cId="3989320898" sldId="319"/>
            <ac:spMk id="5" creationId="{EEC2B079-AF08-4CCE-8B62-C3C73831C513}"/>
          </ac:spMkLst>
        </pc:spChg>
      </pc:sldChg>
      <pc:sldChg chg="modSp mod modClrScheme chgLayout">
        <pc:chgData name="Hans Gelissen (DHL SSC Maastricht)" userId="1afa8510-4eed-4b73-a29e-678838cd8acd" providerId="ADAL" clId="{D4795083-EE21-4870-A6A1-CBEBAABF3C14}" dt="2023-06-05T10:20:15.313" v="2751" actId="700"/>
        <pc:sldMkLst>
          <pc:docMk/>
          <pc:sldMk cId="1317063265" sldId="320"/>
        </pc:sldMkLst>
        <pc:spChg chg="mod">
          <ac:chgData name="Hans Gelissen (DHL SSC Maastricht)" userId="1afa8510-4eed-4b73-a29e-678838cd8acd" providerId="ADAL" clId="{D4795083-EE21-4870-A6A1-CBEBAABF3C14}" dt="2023-06-05T10:14:38.168" v="2750" actId="1036"/>
          <ac:spMkLst>
            <pc:docMk/>
            <pc:sldMk cId="1317063265" sldId="320"/>
            <ac:spMk id="2" creationId="{B5675F3F-2E78-86F6-00ED-3FA4D461924C}"/>
          </ac:spMkLst>
        </pc:spChg>
        <pc:spChg chg="mod ord">
          <ac:chgData name="Hans Gelissen (DHL SSC Maastricht)" userId="1afa8510-4eed-4b73-a29e-678838cd8acd" providerId="ADAL" clId="{D4795083-EE21-4870-A6A1-CBEBAABF3C14}" dt="2023-06-05T10:20:15.313" v="2751" actId="700"/>
          <ac:spMkLst>
            <pc:docMk/>
            <pc:sldMk cId="1317063265" sldId="320"/>
            <ac:spMk id="3" creationId="{B2897892-55D6-47B6-9D24-864AC7DDD6AE}"/>
          </ac:spMkLst>
        </pc:spChg>
        <pc:spChg chg="mod">
          <ac:chgData name="Hans Gelissen (DHL SSC Maastricht)" userId="1afa8510-4eed-4b73-a29e-678838cd8acd" providerId="ADAL" clId="{D4795083-EE21-4870-A6A1-CBEBAABF3C14}" dt="2023-06-05T10:13:17.543" v="2740" actId="14100"/>
          <ac:spMkLst>
            <pc:docMk/>
            <pc:sldMk cId="1317063265" sldId="320"/>
            <ac:spMk id="6" creationId="{9928B62C-2EAE-462E-BD7B-B60E65108561}"/>
          </ac:spMkLst>
        </pc:spChg>
        <pc:spChg chg="mod">
          <ac:chgData name="Hans Gelissen (DHL SSC Maastricht)" userId="1afa8510-4eed-4b73-a29e-678838cd8acd" providerId="ADAL" clId="{D4795083-EE21-4870-A6A1-CBEBAABF3C14}" dt="2023-06-05T10:13:15.031" v="2739" actId="14100"/>
          <ac:spMkLst>
            <pc:docMk/>
            <pc:sldMk cId="1317063265" sldId="320"/>
            <ac:spMk id="7" creationId="{8443DC25-4CC4-48DC-9CBE-01CD0D2A046D}"/>
          </ac:spMkLst>
        </pc:spChg>
        <pc:grpChg chg="mod">
          <ac:chgData name="Hans Gelissen (DHL SSC Maastricht)" userId="1afa8510-4eed-4b73-a29e-678838cd8acd" providerId="ADAL" clId="{D4795083-EE21-4870-A6A1-CBEBAABF3C14}" dt="2023-06-05T10:14:38.168" v="2750" actId="1036"/>
          <ac:grpSpMkLst>
            <pc:docMk/>
            <pc:sldMk cId="1317063265" sldId="320"/>
            <ac:grpSpMk id="9" creationId="{E3ACBB43-3630-6A2A-9951-8AEA7AD31586}"/>
          </ac:grpSpMkLst>
        </pc:grpChg>
        <pc:picChg chg="mod">
          <ac:chgData name="Hans Gelissen (DHL SSC Maastricht)" userId="1afa8510-4eed-4b73-a29e-678838cd8acd" providerId="ADAL" clId="{D4795083-EE21-4870-A6A1-CBEBAABF3C14}" dt="2023-06-05T10:14:38.168" v="2750" actId="1036"/>
          <ac:picMkLst>
            <pc:docMk/>
            <pc:sldMk cId="1317063265" sldId="320"/>
            <ac:picMk id="7172" creationId="{98012CC5-A96C-20FA-CEE1-ED4D7FB4D522}"/>
          </ac:picMkLst>
        </pc:picChg>
      </pc:sldChg>
      <pc:sldChg chg="mod modClrScheme chgLayout">
        <pc:chgData name="Hans Gelissen (DHL SSC Maastricht)" userId="1afa8510-4eed-4b73-a29e-678838cd8acd" providerId="ADAL" clId="{D4795083-EE21-4870-A6A1-CBEBAABF3C14}" dt="2023-06-05T09:50:24.183" v="2248" actId="700"/>
        <pc:sldMkLst>
          <pc:docMk/>
          <pc:sldMk cId="3933330038" sldId="321"/>
        </pc:sldMkLst>
      </pc:sldChg>
      <pc:sldChg chg="addSp delSp modSp mod ord">
        <pc:chgData name="Hans Gelissen (DHL SSC Maastricht)" userId="1afa8510-4eed-4b73-a29e-678838cd8acd" providerId="ADAL" clId="{D4795083-EE21-4870-A6A1-CBEBAABF3C14}" dt="2023-06-06T09:46:01.432" v="9951"/>
        <pc:sldMkLst>
          <pc:docMk/>
          <pc:sldMk cId="4246254376" sldId="325"/>
        </pc:sldMkLst>
        <pc:spChg chg="mod">
          <ac:chgData name="Hans Gelissen (DHL SSC Maastricht)" userId="1afa8510-4eed-4b73-a29e-678838cd8acd" providerId="ADAL" clId="{D4795083-EE21-4870-A6A1-CBEBAABF3C14}" dt="2023-06-06T09:40:40.673" v="9857" actId="14100"/>
          <ac:spMkLst>
            <pc:docMk/>
            <pc:sldMk cId="4246254376" sldId="325"/>
            <ac:spMk id="3" creationId="{C9C1262F-7F22-4AD0-B62F-98EE33FA16E6}"/>
          </ac:spMkLst>
        </pc:spChg>
        <pc:spChg chg="add mod">
          <ac:chgData name="Hans Gelissen (DHL SSC Maastricht)" userId="1afa8510-4eed-4b73-a29e-678838cd8acd" providerId="ADAL" clId="{D4795083-EE21-4870-A6A1-CBEBAABF3C14}" dt="2023-06-06T09:46:01.432" v="9951"/>
          <ac:spMkLst>
            <pc:docMk/>
            <pc:sldMk cId="4246254376" sldId="325"/>
            <ac:spMk id="5" creationId="{F80BE920-CA8E-2FED-4CEB-2F0772007AED}"/>
          </ac:spMkLst>
        </pc:spChg>
        <pc:grpChg chg="add mod">
          <ac:chgData name="Hans Gelissen (DHL SSC Maastricht)" userId="1afa8510-4eed-4b73-a29e-678838cd8acd" providerId="ADAL" clId="{D4795083-EE21-4870-A6A1-CBEBAABF3C14}" dt="2023-06-06T09:45:38.413" v="9950" actId="164"/>
          <ac:grpSpMkLst>
            <pc:docMk/>
            <pc:sldMk cId="4246254376" sldId="325"/>
            <ac:grpSpMk id="6" creationId="{FAD95936-126B-DCE2-E8A9-BEE9C69D8DB4}"/>
          </ac:grpSpMkLst>
        </pc:grpChg>
        <pc:picChg chg="add del mod">
          <ac:chgData name="Hans Gelissen (DHL SSC Maastricht)" userId="1afa8510-4eed-4b73-a29e-678838cd8acd" providerId="ADAL" clId="{D4795083-EE21-4870-A6A1-CBEBAABF3C14}" dt="2023-06-06T09:43:46.137" v="9880" actId="478"/>
          <ac:picMkLst>
            <pc:docMk/>
            <pc:sldMk cId="4246254376" sldId="325"/>
            <ac:picMk id="4" creationId="{D0945876-6873-5CA9-23D6-467913B751ED}"/>
          </ac:picMkLst>
        </pc:picChg>
        <pc:picChg chg="add mod">
          <ac:chgData name="Hans Gelissen (DHL SSC Maastricht)" userId="1afa8510-4eed-4b73-a29e-678838cd8acd" providerId="ADAL" clId="{D4795083-EE21-4870-A6A1-CBEBAABF3C14}" dt="2023-06-06T09:45:38.413" v="9950" actId="164"/>
          <ac:picMkLst>
            <pc:docMk/>
            <pc:sldMk cId="4246254376" sldId="325"/>
            <ac:picMk id="1026" creationId="{09C57415-0FAB-6FBC-0897-B104F661CB6E}"/>
          </ac:picMkLst>
        </pc:picChg>
      </pc:sldChg>
      <pc:sldChg chg="addSp delSp modSp add del mod modClrScheme chgLayout">
        <pc:chgData name="Hans Gelissen (DHL SSC Maastricht)" userId="1afa8510-4eed-4b73-a29e-678838cd8acd" providerId="ADAL" clId="{D4795083-EE21-4870-A6A1-CBEBAABF3C14}" dt="2023-06-06T12:11:28.993" v="12018" actId="2696"/>
        <pc:sldMkLst>
          <pc:docMk/>
          <pc:sldMk cId="774294746" sldId="332"/>
        </pc:sldMkLst>
        <pc:spChg chg="mod ord">
          <ac:chgData name="Hans Gelissen (DHL SSC Maastricht)" userId="1afa8510-4eed-4b73-a29e-678838cd8acd" providerId="ADAL" clId="{D4795083-EE21-4870-A6A1-CBEBAABF3C14}" dt="2023-06-05T09:16:23.293" v="1749" actId="700"/>
          <ac:spMkLst>
            <pc:docMk/>
            <pc:sldMk cId="774294746" sldId="332"/>
            <ac:spMk id="2" creationId="{712BB1CD-5763-CB3A-A3AA-5884F2479D15}"/>
          </ac:spMkLst>
        </pc:spChg>
        <pc:spChg chg="mod ord">
          <ac:chgData name="Hans Gelissen (DHL SSC Maastricht)" userId="1afa8510-4eed-4b73-a29e-678838cd8acd" providerId="ADAL" clId="{D4795083-EE21-4870-A6A1-CBEBAABF3C14}" dt="2023-06-05T09:16:23.293" v="1749" actId="700"/>
          <ac:spMkLst>
            <pc:docMk/>
            <pc:sldMk cId="774294746" sldId="332"/>
            <ac:spMk id="3" creationId="{62D61DA8-D22A-A517-B456-9DB282AFC162}"/>
          </ac:spMkLst>
        </pc:spChg>
        <pc:spChg chg="mod ord">
          <ac:chgData name="Hans Gelissen (DHL SSC Maastricht)" userId="1afa8510-4eed-4b73-a29e-678838cd8acd" providerId="ADAL" clId="{D4795083-EE21-4870-A6A1-CBEBAABF3C14}" dt="2023-06-05T09:16:54.505" v="1770" actId="20577"/>
          <ac:spMkLst>
            <pc:docMk/>
            <pc:sldMk cId="774294746" sldId="332"/>
            <ac:spMk id="4" creationId="{7B249717-98C3-4DD4-5437-EB3796F26136}"/>
          </ac:spMkLst>
        </pc:spChg>
        <pc:spChg chg="mod ord">
          <ac:chgData name="Hans Gelissen (DHL SSC Maastricht)" userId="1afa8510-4eed-4b73-a29e-678838cd8acd" providerId="ADAL" clId="{D4795083-EE21-4870-A6A1-CBEBAABF3C14}" dt="2023-06-06T11:35:28.582" v="12012" actId="403"/>
          <ac:spMkLst>
            <pc:docMk/>
            <pc:sldMk cId="774294746" sldId="332"/>
            <ac:spMk id="5" creationId="{53DE6C37-BA55-7E8B-DF64-68D13CE3FBC6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16:23.293" v="1749" actId="700"/>
          <ac:spMkLst>
            <pc:docMk/>
            <pc:sldMk cId="774294746" sldId="332"/>
            <ac:spMk id="7" creationId="{201FD769-C633-8993-36F7-47058808283E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16:17.416" v="1748" actId="700"/>
          <ac:spMkLst>
            <pc:docMk/>
            <pc:sldMk cId="774294746" sldId="332"/>
            <ac:spMk id="9" creationId="{246A9F6F-FE8E-D190-D386-8E099D9E2BD3}"/>
          </ac:spMkLst>
        </pc:spChg>
        <pc:picChg chg="del">
          <ac:chgData name="Hans Gelissen (DHL SSC Maastricht)" userId="1afa8510-4eed-4b73-a29e-678838cd8acd" providerId="ADAL" clId="{D4795083-EE21-4870-A6A1-CBEBAABF3C14}" dt="2023-06-05T09:15:56.992" v="1746" actId="478"/>
          <ac:picMkLst>
            <pc:docMk/>
            <pc:sldMk cId="774294746" sldId="332"/>
            <ac:picMk id="8" creationId="{94DF10B3-E09D-DF81-B46C-B89F7938B036}"/>
          </ac:picMkLst>
        </pc:picChg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3597960873" sldId="336"/>
        </pc:sldMkLst>
      </pc:sldChg>
      <pc:sldChg chg="del">
        <pc:chgData name="Hans Gelissen (DHL SSC Maastricht)" userId="1afa8510-4eed-4b73-a29e-678838cd8acd" providerId="ADAL" clId="{D4795083-EE21-4870-A6A1-CBEBAABF3C14}" dt="2023-06-05T08:12:28.027" v="811" actId="47"/>
        <pc:sldMkLst>
          <pc:docMk/>
          <pc:sldMk cId="1881903698" sldId="338"/>
        </pc:sldMkLst>
      </pc:sldChg>
      <pc:sldChg chg="del">
        <pc:chgData name="Hans Gelissen (DHL SSC Maastricht)" userId="1afa8510-4eed-4b73-a29e-678838cd8acd" providerId="ADAL" clId="{D4795083-EE21-4870-A6A1-CBEBAABF3C14}" dt="2023-06-05T08:12:35.762" v="812" actId="47"/>
        <pc:sldMkLst>
          <pc:docMk/>
          <pc:sldMk cId="2484352630" sldId="340"/>
        </pc:sldMkLst>
      </pc:sldChg>
      <pc:sldChg chg="del">
        <pc:chgData name="Hans Gelissen (DHL SSC Maastricht)" userId="1afa8510-4eed-4b73-a29e-678838cd8acd" providerId="ADAL" clId="{D4795083-EE21-4870-A6A1-CBEBAABF3C14}" dt="2023-06-05T08:12:35.762" v="812" actId="47"/>
        <pc:sldMkLst>
          <pc:docMk/>
          <pc:sldMk cId="2759541219" sldId="341"/>
        </pc:sldMkLst>
      </pc:sldChg>
      <pc:sldChg chg="del">
        <pc:chgData name="Hans Gelissen (DHL SSC Maastricht)" userId="1afa8510-4eed-4b73-a29e-678838cd8acd" providerId="ADAL" clId="{D4795083-EE21-4870-A6A1-CBEBAABF3C14}" dt="2023-06-05T08:12:35.762" v="812" actId="47"/>
        <pc:sldMkLst>
          <pc:docMk/>
          <pc:sldMk cId="2938399207" sldId="342"/>
        </pc:sldMkLst>
      </pc:sldChg>
      <pc:sldChg chg="del">
        <pc:chgData name="Hans Gelissen (DHL SSC Maastricht)" userId="1afa8510-4eed-4b73-a29e-678838cd8acd" providerId="ADAL" clId="{D4795083-EE21-4870-A6A1-CBEBAABF3C14}" dt="2023-06-05T08:12:35.762" v="812" actId="47"/>
        <pc:sldMkLst>
          <pc:docMk/>
          <pc:sldMk cId="2395509510" sldId="343"/>
        </pc:sldMkLst>
      </pc:sldChg>
      <pc:sldChg chg="del">
        <pc:chgData name="Hans Gelissen (DHL SSC Maastricht)" userId="1afa8510-4eed-4b73-a29e-678838cd8acd" providerId="ADAL" clId="{D4795083-EE21-4870-A6A1-CBEBAABF3C14}" dt="2023-06-05T08:12:41.177" v="814" actId="47"/>
        <pc:sldMkLst>
          <pc:docMk/>
          <pc:sldMk cId="2147348872" sldId="345"/>
        </pc:sldMkLst>
      </pc:sldChg>
      <pc:sldChg chg="del">
        <pc:chgData name="Hans Gelissen (DHL SSC Maastricht)" userId="1afa8510-4eed-4b73-a29e-678838cd8acd" providerId="ADAL" clId="{D4795083-EE21-4870-A6A1-CBEBAABF3C14}" dt="2023-06-05T08:12:35.762" v="812" actId="47"/>
        <pc:sldMkLst>
          <pc:docMk/>
          <pc:sldMk cId="179638422" sldId="346"/>
        </pc:sldMkLst>
      </pc:sldChg>
      <pc:sldChg chg="del">
        <pc:chgData name="Hans Gelissen (DHL SSC Maastricht)" userId="1afa8510-4eed-4b73-a29e-678838cd8acd" providerId="ADAL" clId="{D4795083-EE21-4870-A6A1-CBEBAABF3C14}" dt="2023-06-05T08:17:55.338" v="1082" actId="47"/>
        <pc:sldMkLst>
          <pc:docMk/>
          <pc:sldMk cId="2672193591" sldId="348"/>
        </pc:sldMkLst>
      </pc:sldChg>
      <pc:sldChg chg="del">
        <pc:chgData name="Hans Gelissen (DHL SSC Maastricht)" userId="1afa8510-4eed-4b73-a29e-678838cd8acd" providerId="ADAL" clId="{D4795083-EE21-4870-A6A1-CBEBAABF3C14}" dt="2023-06-05T08:12:35.762" v="812" actId="47"/>
        <pc:sldMkLst>
          <pc:docMk/>
          <pc:sldMk cId="3903446456" sldId="350"/>
        </pc:sldMkLst>
      </pc:sldChg>
      <pc:sldChg chg="delSp modSp mod modClrScheme chgLayout">
        <pc:chgData name="Hans Gelissen (DHL SSC Maastricht)" userId="1afa8510-4eed-4b73-a29e-678838cd8acd" providerId="ADAL" clId="{D4795083-EE21-4870-A6A1-CBEBAABF3C14}" dt="2023-06-05T07:57:59.247" v="739" actId="700"/>
        <pc:sldMkLst>
          <pc:docMk/>
          <pc:sldMk cId="2561622772" sldId="351"/>
        </pc:sldMkLst>
        <pc:spChg chg="mod ord">
          <ac:chgData name="Hans Gelissen (DHL SSC Maastricht)" userId="1afa8510-4eed-4b73-a29e-678838cd8acd" providerId="ADAL" clId="{D4795083-EE21-4870-A6A1-CBEBAABF3C14}" dt="2023-06-05T07:57:59.247" v="739" actId="700"/>
          <ac:spMkLst>
            <pc:docMk/>
            <pc:sldMk cId="2561622772" sldId="351"/>
            <ac:spMk id="6" creationId="{9A498622-B694-1932-CE76-670BBA54C07E}"/>
          </ac:spMkLst>
        </pc:spChg>
        <pc:picChg chg="del mod ord">
          <ac:chgData name="Hans Gelissen (DHL SSC Maastricht)" userId="1afa8510-4eed-4b73-a29e-678838cd8acd" providerId="ADAL" clId="{D4795083-EE21-4870-A6A1-CBEBAABF3C14}" dt="2023-06-05T07:57:19.747" v="736" actId="478"/>
          <ac:picMkLst>
            <pc:docMk/>
            <pc:sldMk cId="2561622772" sldId="351"/>
            <ac:picMk id="4" creationId="{2A4AAF90-1A95-82A9-7EBE-9772BA47251A}"/>
          </ac:picMkLst>
        </pc:picChg>
      </pc:sldChg>
      <pc:sldChg chg="del">
        <pc:chgData name="Hans Gelissen (DHL SSC Maastricht)" userId="1afa8510-4eed-4b73-a29e-678838cd8acd" providerId="ADAL" clId="{D4795083-EE21-4870-A6A1-CBEBAABF3C14}" dt="2023-06-05T08:17:53.183" v="1080" actId="47"/>
        <pc:sldMkLst>
          <pc:docMk/>
          <pc:sldMk cId="3430787294" sldId="352"/>
        </pc:sldMkLst>
      </pc:sldChg>
      <pc:sldChg chg="del">
        <pc:chgData name="Hans Gelissen (DHL SSC Maastricht)" userId="1afa8510-4eed-4b73-a29e-678838cd8acd" providerId="ADAL" clId="{D4795083-EE21-4870-A6A1-CBEBAABF3C14}" dt="2023-06-05T08:17:55.002" v="1081" actId="47"/>
        <pc:sldMkLst>
          <pc:docMk/>
          <pc:sldMk cId="2180282456" sldId="353"/>
        </pc:sldMkLst>
      </pc:sldChg>
      <pc:sldChg chg="del">
        <pc:chgData name="Hans Gelissen (DHL SSC Maastricht)" userId="1afa8510-4eed-4b73-a29e-678838cd8acd" providerId="ADAL" clId="{D4795083-EE21-4870-A6A1-CBEBAABF3C14}" dt="2023-06-05T08:17:55.604" v="1083" actId="47"/>
        <pc:sldMkLst>
          <pc:docMk/>
          <pc:sldMk cId="1852614433" sldId="354"/>
        </pc:sldMkLst>
      </pc:sldChg>
      <pc:sldChg chg="del">
        <pc:chgData name="Hans Gelissen (DHL SSC Maastricht)" userId="1afa8510-4eed-4b73-a29e-678838cd8acd" providerId="ADAL" clId="{D4795083-EE21-4870-A6A1-CBEBAABF3C14}" dt="2023-06-05T08:17:56.793" v="1084" actId="47"/>
        <pc:sldMkLst>
          <pc:docMk/>
          <pc:sldMk cId="660131861" sldId="355"/>
        </pc:sldMkLst>
      </pc:sldChg>
      <pc:sldChg chg="modSp mod modClrScheme chgLayout">
        <pc:chgData name="Hans Gelissen (DHL SSC Maastricht)" userId="1afa8510-4eed-4b73-a29e-678838cd8acd" providerId="ADAL" clId="{D4795083-EE21-4870-A6A1-CBEBAABF3C14}" dt="2023-06-05T08:16:07.208" v="947" actId="20577"/>
        <pc:sldMkLst>
          <pc:docMk/>
          <pc:sldMk cId="1223010633" sldId="356"/>
        </pc:sldMkLst>
        <pc:spChg chg="mod ord">
          <ac:chgData name="Hans Gelissen (DHL SSC Maastricht)" userId="1afa8510-4eed-4b73-a29e-678838cd8acd" providerId="ADAL" clId="{D4795083-EE21-4870-A6A1-CBEBAABF3C14}" dt="2023-06-05T08:16:07.208" v="947" actId="20577"/>
          <ac:spMkLst>
            <pc:docMk/>
            <pc:sldMk cId="1223010633" sldId="356"/>
            <ac:spMk id="2" creationId="{BF8DFE4F-E76B-0E22-4DE3-F4DC4CB90315}"/>
          </ac:spMkLst>
        </pc:spChg>
        <pc:spChg chg="mod">
          <ac:chgData name="Hans Gelissen (DHL SSC Maastricht)" userId="1afa8510-4eed-4b73-a29e-678838cd8acd" providerId="ADAL" clId="{D4795083-EE21-4870-A6A1-CBEBAABF3C14}" dt="2023-06-05T08:14:08.802" v="933" actId="1076"/>
          <ac:spMkLst>
            <pc:docMk/>
            <pc:sldMk cId="1223010633" sldId="356"/>
            <ac:spMk id="3" creationId="{3A6ED71D-17CE-7739-F30D-C52FA0CB08D6}"/>
          </ac:spMkLst>
        </pc:spChg>
        <pc:spChg chg="mod">
          <ac:chgData name="Hans Gelissen (DHL SSC Maastricht)" userId="1afa8510-4eed-4b73-a29e-678838cd8acd" providerId="ADAL" clId="{D4795083-EE21-4870-A6A1-CBEBAABF3C14}" dt="2023-06-05T08:14:56.236" v="940" actId="113"/>
          <ac:spMkLst>
            <pc:docMk/>
            <pc:sldMk cId="1223010633" sldId="356"/>
            <ac:spMk id="4" creationId="{1657D975-0B75-A93A-8F76-D41AD3FF7434}"/>
          </ac:spMkLst>
        </pc:spChg>
      </pc:sldChg>
      <pc:sldChg chg="del">
        <pc:chgData name="Hans Gelissen (DHL SSC Maastricht)" userId="1afa8510-4eed-4b73-a29e-678838cd8acd" providerId="ADAL" clId="{D4795083-EE21-4870-A6A1-CBEBAABF3C14}" dt="2023-06-05T08:18:13.140" v="1085" actId="47"/>
        <pc:sldMkLst>
          <pc:docMk/>
          <pc:sldMk cId="3320191383" sldId="357"/>
        </pc:sldMkLst>
      </pc:sldChg>
      <pc:sldChg chg="delSp modSp mod ord modClrScheme chgLayout">
        <pc:chgData name="Hans Gelissen (DHL SSC Maastricht)" userId="1afa8510-4eed-4b73-a29e-678838cd8acd" providerId="ADAL" clId="{D4795083-EE21-4870-A6A1-CBEBAABF3C14}" dt="2023-06-05T14:26:39.095" v="7881" actId="404"/>
        <pc:sldMkLst>
          <pc:docMk/>
          <pc:sldMk cId="1894465020" sldId="359"/>
        </pc:sldMkLst>
        <pc:spChg chg="mod ord">
          <ac:chgData name="Hans Gelissen (DHL SSC Maastricht)" userId="1afa8510-4eed-4b73-a29e-678838cd8acd" providerId="ADAL" clId="{D4795083-EE21-4870-A6A1-CBEBAABF3C14}" dt="2023-06-05T14:26:39.095" v="7881" actId="404"/>
          <ac:spMkLst>
            <pc:docMk/>
            <pc:sldMk cId="1894465020" sldId="359"/>
            <ac:spMk id="6" creationId="{018D157D-C5E3-8719-26D4-E060BEDE4801}"/>
          </ac:spMkLst>
        </pc:spChg>
        <pc:picChg chg="del mod ord">
          <ac:chgData name="Hans Gelissen (DHL SSC Maastricht)" userId="1afa8510-4eed-4b73-a29e-678838cd8acd" providerId="ADAL" clId="{D4795083-EE21-4870-A6A1-CBEBAABF3C14}" dt="2023-06-05T11:00:49.690" v="2989" actId="478"/>
          <ac:picMkLst>
            <pc:docMk/>
            <pc:sldMk cId="1894465020" sldId="359"/>
            <ac:picMk id="12" creationId="{95073A1F-7A56-85EB-1028-7A6A4C5FB111}"/>
          </ac:picMkLst>
        </pc:picChg>
      </pc:sldChg>
      <pc:sldChg chg="del">
        <pc:chgData name="Hans Gelissen (DHL SSC Maastricht)" userId="1afa8510-4eed-4b73-a29e-678838cd8acd" providerId="ADAL" clId="{D4795083-EE21-4870-A6A1-CBEBAABF3C14}" dt="2023-06-05T10:24:29.795" v="2753" actId="47"/>
        <pc:sldMkLst>
          <pc:docMk/>
          <pc:sldMk cId="205119952" sldId="360"/>
        </pc:sldMkLst>
      </pc:sldChg>
      <pc:sldChg chg="del">
        <pc:chgData name="Hans Gelissen (DHL SSC Maastricht)" userId="1afa8510-4eed-4b73-a29e-678838cd8acd" providerId="ADAL" clId="{D4795083-EE21-4870-A6A1-CBEBAABF3C14}" dt="2023-06-05T10:24:32.377" v="2754" actId="47"/>
        <pc:sldMkLst>
          <pc:docMk/>
          <pc:sldMk cId="2852413498" sldId="361"/>
        </pc:sldMkLst>
      </pc:sldChg>
      <pc:sldChg chg="del">
        <pc:chgData name="Hans Gelissen (DHL SSC Maastricht)" userId="1afa8510-4eed-4b73-a29e-678838cd8acd" providerId="ADAL" clId="{D4795083-EE21-4870-A6A1-CBEBAABF3C14}" dt="2023-06-05T08:18:13.751" v="1086" actId="47"/>
        <pc:sldMkLst>
          <pc:docMk/>
          <pc:sldMk cId="3243376164" sldId="364"/>
        </pc:sldMkLst>
      </pc:sldChg>
      <pc:sldChg chg="del">
        <pc:chgData name="Hans Gelissen (DHL SSC Maastricht)" userId="1afa8510-4eed-4b73-a29e-678838cd8acd" providerId="ADAL" clId="{D4795083-EE21-4870-A6A1-CBEBAABF3C14}" dt="2023-06-05T08:18:14.258" v="1087" actId="47"/>
        <pc:sldMkLst>
          <pc:docMk/>
          <pc:sldMk cId="2527344223" sldId="365"/>
        </pc:sldMkLst>
      </pc:sldChg>
      <pc:sldChg chg="del">
        <pc:chgData name="Hans Gelissen (DHL SSC Maastricht)" userId="1afa8510-4eed-4b73-a29e-678838cd8acd" providerId="ADAL" clId="{D4795083-EE21-4870-A6A1-CBEBAABF3C14}" dt="2023-06-05T08:18:14.764" v="1088" actId="47"/>
        <pc:sldMkLst>
          <pc:docMk/>
          <pc:sldMk cId="3549827655" sldId="366"/>
        </pc:sldMkLst>
      </pc:sldChg>
      <pc:sldChg chg="del">
        <pc:chgData name="Hans Gelissen (DHL SSC Maastricht)" userId="1afa8510-4eed-4b73-a29e-678838cd8acd" providerId="ADAL" clId="{D4795083-EE21-4870-A6A1-CBEBAABF3C14}" dt="2023-06-05T08:18:15.628" v="1089" actId="47"/>
        <pc:sldMkLst>
          <pc:docMk/>
          <pc:sldMk cId="2524406840" sldId="367"/>
        </pc:sldMkLst>
      </pc:sldChg>
      <pc:sldChg chg="modSp mod modClrScheme chgLayout">
        <pc:chgData name="Hans Gelissen (DHL SSC Maastricht)" userId="1afa8510-4eed-4b73-a29e-678838cd8acd" providerId="ADAL" clId="{D4795083-EE21-4870-A6A1-CBEBAABF3C14}" dt="2023-06-06T08:32:48.048" v="8238" actId="700"/>
        <pc:sldMkLst>
          <pc:docMk/>
          <pc:sldMk cId="702120611" sldId="369"/>
        </pc:sldMkLst>
        <pc:spChg chg="mod ord">
          <ac:chgData name="Hans Gelissen (DHL SSC Maastricht)" userId="1afa8510-4eed-4b73-a29e-678838cd8acd" providerId="ADAL" clId="{D4795083-EE21-4870-A6A1-CBEBAABF3C14}" dt="2023-06-06T08:32:48.048" v="8238" actId="700"/>
          <ac:spMkLst>
            <pc:docMk/>
            <pc:sldMk cId="702120611" sldId="369"/>
            <ac:spMk id="5" creationId="{6191DD66-56FE-1B2F-2838-FB62679B8B7D}"/>
          </ac:spMkLst>
        </pc:spChg>
      </pc:sldChg>
      <pc:sldChg chg="del">
        <pc:chgData name="Hans Gelissen (DHL SSC Maastricht)" userId="1afa8510-4eed-4b73-a29e-678838cd8acd" providerId="ADAL" clId="{D4795083-EE21-4870-A6A1-CBEBAABF3C14}" dt="2023-06-05T10:24:33.139" v="2755" actId="47"/>
        <pc:sldMkLst>
          <pc:docMk/>
          <pc:sldMk cId="938673642" sldId="372"/>
        </pc:sldMkLst>
      </pc:sldChg>
      <pc:sldChg chg="modSp mod ord">
        <pc:chgData name="Hans Gelissen (DHL SSC Maastricht)" userId="1afa8510-4eed-4b73-a29e-678838cd8acd" providerId="ADAL" clId="{D4795083-EE21-4870-A6A1-CBEBAABF3C14}" dt="2023-06-06T09:32:55.319" v="9428" actId="207"/>
        <pc:sldMkLst>
          <pc:docMk/>
          <pc:sldMk cId="1726838300" sldId="373"/>
        </pc:sldMkLst>
        <pc:spChg chg="mod">
          <ac:chgData name="Hans Gelissen (DHL SSC Maastricht)" userId="1afa8510-4eed-4b73-a29e-678838cd8acd" providerId="ADAL" clId="{D4795083-EE21-4870-A6A1-CBEBAABF3C14}" dt="2023-06-06T09:32:55.319" v="9428" actId="207"/>
          <ac:spMkLst>
            <pc:docMk/>
            <pc:sldMk cId="1726838300" sldId="373"/>
            <ac:spMk id="4" creationId="{58FA9F76-FFBA-57E9-1BEF-73B28A067C7A}"/>
          </ac:spMkLst>
        </pc:spChg>
      </pc:sldChg>
      <pc:sldChg chg="del">
        <pc:chgData name="Hans Gelissen (DHL SSC Maastricht)" userId="1afa8510-4eed-4b73-a29e-678838cd8acd" providerId="ADAL" clId="{D4795083-EE21-4870-A6A1-CBEBAABF3C14}" dt="2023-06-06T09:37:47.248" v="9733" actId="47"/>
        <pc:sldMkLst>
          <pc:docMk/>
          <pc:sldMk cId="9948422" sldId="374"/>
        </pc:sldMkLst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3553935927" sldId="375"/>
        </pc:sldMkLst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4245346187" sldId="376"/>
        </pc:sldMkLst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2168043701" sldId="377"/>
        </pc:sldMkLst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3350513513" sldId="378"/>
        </pc:sldMkLst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3872971079" sldId="379"/>
        </pc:sldMkLst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1495484792" sldId="380"/>
        </pc:sldMkLst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1248519018" sldId="381"/>
        </pc:sldMkLst>
      </pc:sldChg>
      <pc:sldChg chg="del">
        <pc:chgData name="Hans Gelissen (DHL SSC Maastricht)" userId="1afa8510-4eed-4b73-a29e-678838cd8acd" providerId="ADAL" clId="{D4795083-EE21-4870-A6A1-CBEBAABF3C14}" dt="2023-06-05T09:47:17.762" v="2238" actId="47"/>
        <pc:sldMkLst>
          <pc:docMk/>
          <pc:sldMk cId="344286644" sldId="382"/>
        </pc:sldMkLst>
      </pc:sldChg>
      <pc:sldChg chg="addSp delSp modSp mod">
        <pc:chgData name="Hans Gelissen (DHL SSC Maastricht)" userId="1afa8510-4eed-4b73-a29e-678838cd8acd" providerId="ADAL" clId="{D4795083-EE21-4870-A6A1-CBEBAABF3C14}" dt="2023-06-05T10:07:45.033" v="2720" actId="207"/>
        <pc:sldMkLst>
          <pc:docMk/>
          <pc:sldMk cId="4004404910" sldId="383"/>
        </pc:sldMkLst>
        <pc:spChg chg="mod">
          <ac:chgData name="Hans Gelissen (DHL SSC Maastricht)" userId="1afa8510-4eed-4b73-a29e-678838cd8acd" providerId="ADAL" clId="{D4795083-EE21-4870-A6A1-CBEBAABF3C14}" dt="2023-06-05T10:07:45.033" v="2720" actId="207"/>
          <ac:spMkLst>
            <pc:docMk/>
            <pc:sldMk cId="4004404910" sldId="383"/>
            <ac:spMk id="2" creationId="{55FB9CFA-4F6D-1D27-FB28-A8C35572A720}"/>
          </ac:spMkLst>
        </pc:spChg>
        <pc:spChg chg="add del mod">
          <ac:chgData name="Hans Gelissen (DHL SSC Maastricht)" userId="1afa8510-4eed-4b73-a29e-678838cd8acd" providerId="ADAL" clId="{D4795083-EE21-4870-A6A1-CBEBAABF3C14}" dt="2023-06-05T09:58:41.172" v="2249" actId="931"/>
          <ac:spMkLst>
            <pc:docMk/>
            <pc:sldMk cId="4004404910" sldId="383"/>
            <ac:spMk id="4" creationId="{58D474C0-3E8F-4DE0-6CFD-6BEEAD0E57D0}"/>
          </ac:spMkLst>
        </pc:spChg>
        <pc:picChg chg="del">
          <ac:chgData name="Hans Gelissen (DHL SSC Maastricht)" userId="1afa8510-4eed-4b73-a29e-678838cd8acd" providerId="ADAL" clId="{D4795083-EE21-4870-A6A1-CBEBAABF3C14}" dt="2023-06-05T09:49:33.385" v="2244" actId="478"/>
          <ac:picMkLst>
            <pc:docMk/>
            <pc:sldMk cId="4004404910" sldId="383"/>
            <ac:picMk id="6" creationId="{F4D4E529-69A0-F73B-E0CD-C8AB28B7434F}"/>
          </ac:picMkLst>
        </pc:picChg>
        <pc:picChg chg="add mod modCrop">
          <ac:chgData name="Hans Gelissen (DHL SSC Maastricht)" userId="1afa8510-4eed-4b73-a29e-678838cd8acd" providerId="ADAL" clId="{D4795083-EE21-4870-A6A1-CBEBAABF3C14}" dt="2023-06-05T09:58:57.667" v="2253" actId="18131"/>
          <ac:picMkLst>
            <pc:docMk/>
            <pc:sldMk cId="4004404910" sldId="383"/>
            <ac:picMk id="7" creationId="{BB805F75-DFDF-B6D4-CE99-8641650D41B1}"/>
          </ac:picMkLst>
        </pc:picChg>
      </pc:sldChg>
      <pc:sldChg chg="addSp delSp modSp mod">
        <pc:chgData name="Hans Gelissen (DHL SSC Maastricht)" userId="1afa8510-4eed-4b73-a29e-678838cd8acd" providerId="ADAL" clId="{D4795083-EE21-4870-A6A1-CBEBAABF3C14}" dt="2023-06-05T10:08:03.266" v="2735" actId="20577"/>
        <pc:sldMkLst>
          <pc:docMk/>
          <pc:sldMk cId="3099723956" sldId="384"/>
        </pc:sldMkLst>
        <pc:spChg chg="mod">
          <ac:chgData name="Hans Gelissen (DHL SSC Maastricht)" userId="1afa8510-4eed-4b73-a29e-678838cd8acd" providerId="ADAL" clId="{D4795083-EE21-4870-A6A1-CBEBAABF3C14}" dt="2023-06-05T10:07:28.719" v="2699" actId="20577"/>
          <ac:spMkLst>
            <pc:docMk/>
            <pc:sldMk cId="3099723956" sldId="384"/>
            <ac:spMk id="2" creationId="{55FB9CFA-4F6D-1D27-FB28-A8C35572A720}"/>
          </ac:spMkLst>
        </pc:spChg>
        <pc:spChg chg="add mod">
          <ac:chgData name="Hans Gelissen (DHL SSC Maastricht)" userId="1afa8510-4eed-4b73-a29e-678838cd8acd" providerId="ADAL" clId="{D4795083-EE21-4870-A6A1-CBEBAABF3C14}" dt="2023-06-05T09:49:35.423" v="2245" actId="478"/>
          <ac:spMkLst>
            <pc:docMk/>
            <pc:sldMk cId="3099723956" sldId="384"/>
            <ac:spMk id="4" creationId="{B9154291-58F2-8FDB-3381-7F236D435AD9}"/>
          </ac:spMkLst>
        </pc:spChg>
        <pc:spChg chg="mod">
          <ac:chgData name="Hans Gelissen (DHL SSC Maastricht)" userId="1afa8510-4eed-4b73-a29e-678838cd8acd" providerId="ADAL" clId="{D4795083-EE21-4870-A6A1-CBEBAABF3C14}" dt="2023-06-05T10:03:13.876" v="2541" actId="14100"/>
          <ac:spMkLst>
            <pc:docMk/>
            <pc:sldMk cId="3099723956" sldId="384"/>
            <ac:spMk id="9" creationId="{DD2786AF-8EAB-E546-21BB-CFB962B7978A}"/>
          </ac:spMkLst>
        </pc:spChg>
        <pc:spChg chg="mod">
          <ac:chgData name="Hans Gelissen (DHL SSC Maastricht)" userId="1afa8510-4eed-4b73-a29e-678838cd8acd" providerId="ADAL" clId="{D4795083-EE21-4870-A6A1-CBEBAABF3C14}" dt="2023-06-05T10:08:03.266" v="2735" actId="20577"/>
          <ac:spMkLst>
            <pc:docMk/>
            <pc:sldMk cId="3099723956" sldId="384"/>
            <ac:spMk id="10" creationId="{4744C21A-3A88-1FB9-ABC2-19A4EFC7F3AC}"/>
          </ac:spMkLst>
        </pc:spChg>
        <pc:picChg chg="add mod">
          <ac:chgData name="Hans Gelissen (DHL SSC Maastricht)" userId="1afa8510-4eed-4b73-a29e-678838cd8acd" providerId="ADAL" clId="{D4795083-EE21-4870-A6A1-CBEBAABF3C14}" dt="2023-06-05T09:59:57.891" v="2307" actId="1035"/>
          <ac:picMkLst>
            <pc:docMk/>
            <pc:sldMk cId="3099723956" sldId="384"/>
            <ac:picMk id="5" creationId="{DF273F2B-B10D-704A-66AF-0D3FC10121EF}"/>
          </ac:picMkLst>
        </pc:picChg>
        <pc:picChg chg="del">
          <ac:chgData name="Hans Gelissen (DHL SSC Maastricht)" userId="1afa8510-4eed-4b73-a29e-678838cd8acd" providerId="ADAL" clId="{D4795083-EE21-4870-A6A1-CBEBAABF3C14}" dt="2023-06-05T09:49:35.423" v="2245" actId="478"/>
          <ac:picMkLst>
            <pc:docMk/>
            <pc:sldMk cId="3099723956" sldId="384"/>
            <ac:picMk id="13" creationId="{73B70B5F-289A-700B-CB0A-3775F692805A}"/>
          </ac:picMkLst>
        </pc:picChg>
      </pc:sldChg>
      <pc:sldChg chg="ord">
        <pc:chgData name="Hans Gelissen (DHL SSC Maastricht)" userId="1afa8510-4eed-4b73-a29e-678838cd8acd" providerId="ADAL" clId="{D4795083-EE21-4870-A6A1-CBEBAABF3C14}" dt="2023-06-05T13:21:29.190" v="6344"/>
        <pc:sldMkLst>
          <pc:docMk/>
          <pc:sldMk cId="265077517" sldId="385"/>
        </pc:sldMkLst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1879198405" sldId="386"/>
        </pc:sldMkLst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3173234939" sldId="387"/>
        </pc:sldMkLst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4263608791" sldId="388"/>
        </pc:sldMkLst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3057783495" sldId="389"/>
        </pc:sldMkLst>
      </pc:sldChg>
      <pc:sldChg chg="modSp mod modClrScheme chgLayout">
        <pc:chgData name="Hans Gelissen (DHL SSC Maastricht)" userId="1afa8510-4eed-4b73-a29e-678838cd8acd" providerId="ADAL" clId="{D4795083-EE21-4870-A6A1-CBEBAABF3C14}" dt="2023-06-05T08:19:20.432" v="1118" actId="700"/>
        <pc:sldMkLst>
          <pc:docMk/>
          <pc:sldMk cId="2900983221" sldId="390"/>
        </pc:sldMkLst>
        <pc:spChg chg="mod ord">
          <ac:chgData name="Hans Gelissen (DHL SSC Maastricht)" userId="1afa8510-4eed-4b73-a29e-678838cd8acd" providerId="ADAL" clId="{D4795083-EE21-4870-A6A1-CBEBAABF3C14}" dt="2023-06-05T08:19:20.432" v="1118" actId="700"/>
          <ac:spMkLst>
            <pc:docMk/>
            <pc:sldMk cId="2900983221" sldId="390"/>
            <ac:spMk id="5" creationId="{83627CEC-EB08-0178-90BB-5F4C1A2A72BB}"/>
          </ac:spMkLst>
        </pc:spChg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2771895043" sldId="391"/>
        </pc:sldMkLst>
      </pc:sldChg>
      <pc:sldChg chg="del">
        <pc:chgData name="Hans Gelissen (DHL SSC Maastricht)" userId="1afa8510-4eed-4b73-a29e-678838cd8acd" providerId="ADAL" clId="{D4795083-EE21-4870-A6A1-CBEBAABF3C14}" dt="2023-06-05T10:24:57.128" v="2757" actId="47"/>
        <pc:sldMkLst>
          <pc:docMk/>
          <pc:sldMk cId="4233334860" sldId="392"/>
        </pc:sldMkLst>
      </pc:sldChg>
      <pc:sldChg chg="modSp add mod modClrScheme chgLayout">
        <pc:chgData name="Hans Gelissen (DHL SSC Maastricht)" userId="1afa8510-4eed-4b73-a29e-678838cd8acd" providerId="ADAL" clId="{D4795083-EE21-4870-A6A1-CBEBAABF3C14}" dt="2023-06-05T08:17:27.990" v="1079" actId="14100"/>
        <pc:sldMkLst>
          <pc:docMk/>
          <pc:sldMk cId="604794538" sldId="393"/>
        </pc:sldMkLst>
        <pc:spChg chg="mod ord">
          <ac:chgData name="Hans Gelissen (DHL SSC Maastricht)" userId="1afa8510-4eed-4b73-a29e-678838cd8acd" providerId="ADAL" clId="{D4795083-EE21-4870-A6A1-CBEBAABF3C14}" dt="2023-06-05T08:16:16.947" v="955" actId="20577"/>
          <ac:spMkLst>
            <pc:docMk/>
            <pc:sldMk cId="604794538" sldId="393"/>
            <ac:spMk id="2" creationId="{BF8DFE4F-E76B-0E22-4DE3-F4DC4CB90315}"/>
          </ac:spMkLst>
        </pc:spChg>
        <pc:spChg chg="mod">
          <ac:chgData name="Hans Gelissen (DHL SSC Maastricht)" userId="1afa8510-4eed-4b73-a29e-678838cd8acd" providerId="ADAL" clId="{D4795083-EE21-4870-A6A1-CBEBAABF3C14}" dt="2023-06-05T08:17:27.990" v="1079" actId="14100"/>
          <ac:spMkLst>
            <pc:docMk/>
            <pc:sldMk cId="604794538" sldId="393"/>
            <ac:spMk id="3" creationId="{3A6ED71D-17CE-7739-F30D-C52FA0CB08D6}"/>
          </ac:spMkLst>
        </pc:spChg>
        <pc:spChg chg="mod">
          <ac:chgData name="Hans Gelissen (DHL SSC Maastricht)" userId="1afa8510-4eed-4b73-a29e-678838cd8acd" providerId="ADAL" clId="{D4795083-EE21-4870-A6A1-CBEBAABF3C14}" dt="2023-06-05T08:17:23.079" v="1078" actId="14100"/>
          <ac:spMkLst>
            <pc:docMk/>
            <pc:sldMk cId="604794538" sldId="393"/>
            <ac:spMk id="4" creationId="{1657D975-0B75-A93A-8F76-D41AD3FF7434}"/>
          </ac:spMkLst>
        </pc:spChg>
      </pc:sldChg>
      <pc:sldChg chg="addSp delSp modSp new mod ord addAnim delAnim modAnim">
        <pc:chgData name="Hans Gelissen (DHL SSC Maastricht)" userId="1afa8510-4eed-4b73-a29e-678838cd8acd" providerId="ADAL" clId="{D4795083-EE21-4870-A6A1-CBEBAABF3C14}" dt="2023-06-07T07:38:44.399" v="12223" actId="478"/>
        <pc:sldMkLst>
          <pc:docMk/>
          <pc:sldMk cId="110949405" sldId="394"/>
        </pc:sldMkLst>
        <pc:spChg chg="mod">
          <ac:chgData name="Hans Gelissen (DHL SSC Maastricht)" userId="1afa8510-4eed-4b73-a29e-678838cd8acd" providerId="ADAL" clId="{D4795083-EE21-4870-A6A1-CBEBAABF3C14}" dt="2023-06-05T08:23:48.958" v="1181" actId="27636"/>
          <ac:spMkLst>
            <pc:docMk/>
            <pc:sldMk cId="110949405" sldId="394"/>
            <ac:spMk id="2" creationId="{F17D5004-E890-2ACA-2810-2BA25DCAB303}"/>
          </ac:spMkLst>
        </pc:spChg>
        <pc:spChg chg="del">
          <ac:chgData name="Hans Gelissen (DHL SSC Maastricht)" userId="1afa8510-4eed-4b73-a29e-678838cd8acd" providerId="ADAL" clId="{D4795083-EE21-4870-A6A1-CBEBAABF3C14}" dt="2023-06-05T08:22:44.143" v="1140" actId="478"/>
          <ac:spMkLst>
            <pc:docMk/>
            <pc:sldMk cId="110949405" sldId="394"/>
            <ac:spMk id="3" creationId="{A34DDD24-F722-EDEE-E735-5E8E4907960E}"/>
          </ac:spMkLst>
        </pc:spChg>
        <pc:spChg chg="add mod">
          <ac:chgData name="Hans Gelissen (DHL SSC Maastricht)" userId="1afa8510-4eed-4b73-a29e-678838cd8acd" providerId="ADAL" clId="{D4795083-EE21-4870-A6A1-CBEBAABF3C14}" dt="2023-06-05T08:23:59.951" v="1182" actId="1076"/>
          <ac:spMkLst>
            <pc:docMk/>
            <pc:sldMk cId="110949405" sldId="394"/>
            <ac:spMk id="4" creationId="{F520B223-E2DB-FAA4-238D-77F0DA28311C}"/>
          </ac:spMkLst>
        </pc:spChg>
        <pc:spChg chg="add mod">
          <ac:chgData name="Hans Gelissen (DHL SSC Maastricht)" userId="1afa8510-4eed-4b73-a29e-678838cd8acd" providerId="ADAL" clId="{D4795083-EE21-4870-A6A1-CBEBAABF3C14}" dt="2023-06-05T09:05:17.559" v="1582" actId="1076"/>
          <ac:spMkLst>
            <pc:docMk/>
            <pc:sldMk cId="110949405" sldId="394"/>
            <ac:spMk id="6" creationId="{B37C3E37-87A2-42AB-B49B-F1000F73DE25}"/>
          </ac:spMkLst>
        </pc:spChg>
        <pc:spChg chg="add del mod">
          <ac:chgData name="Hans Gelissen (DHL SSC Maastricht)" userId="1afa8510-4eed-4b73-a29e-678838cd8acd" providerId="ADAL" clId="{D4795083-EE21-4870-A6A1-CBEBAABF3C14}" dt="2023-06-05T08:37:07.351" v="1295" actId="478"/>
          <ac:spMkLst>
            <pc:docMk/>
            <pc:sldMk cId="110949405" sldId="394"/>
            <ac:spMk id="7" creationId="{2A96D377-C132-E987-213E-8470E3B255D0}"/>
          </ac:spMkLst>
        </pc:spChg>
        <pc:spChg chg="add mod">
          <ac:chgData name="Hans Gelissen (DHL SSC Maastricht)" userId="1afa8510-4eed-4b73-a29e-678838cd8acd" providerId="ADAL" clId="{D4795083-EE21-4870-A6A1-CBEBAABF3C14}" dt="2023-06-05T08:57:12.413" v="1406" actId="164"/>
          <ac:spMkLst>
            <pc:docMk/>
            <pc:sldMk cId="110949405" sldId="394"/>
            <ac:spMk id="8" creationId="{8DBC1C89-D0FB-E09C-89D4-3B11A94FB8EF}"/>
          </ac:spMkLst>
        </pc:spChg>
        <pc:spChg chg="add mod">
          <ac:chgData name="Hans Gelissen (DHL SSC Maastricht)" userId="1afa8510-4eed-4b73-a29e-678838cd8acd" providerId="ADAL" clId="{D4795083-EE21-4870-A6A1-CBEBAABF3C14}" dt="2023-06-05T10:40:59.919" v="2781" actId="207"/>
          <ac:spMkLst>
            <pc:docMk/>
            <pc:sldMk cId="110949405" sldId="394"/>
            <ac:spMk id="9" creationId="{94618889-893E-BE5B-9577-74E053D80606}"/>
          </ac:spMkLst>
        </pc:spChg>
        <pc:spChg chg="add mod">
          <ac:chgData name="Hans Gelissen (DHL SSC Maastricht)" userId="1afa8510-4eed-4b73-a29e-678838cd8acd" providerId="ADAL" clId="{D4795083-EE21-4870-A6A1-CBEBAABF3C14}" dt="2023-06-05T08:57:12.413" v="1406" actId="164"/>
          <ac:spMkLst>
            <pc:docMk/>
            <pc:sldMk cId="110949405" sldId="394"/>
            <ac:spMk id="10" creationId="{B1A778E9-820A-0AD3-871E-8C764E3507B8}"/>
          </ac:spMkLst>
        </pc:spChg>
        <pc:spChg chg="add mod">
          <ac:chgData name="Hans Gelissen (DHL SSC Maastricht)" userId="1afa8510-4eed-4b73-a29e-678838cd8acd" providerId="ADAL" clId="{D4795083-EE21-4870-A6A1-CBEBAABF3C14}" dt="2023-06-05T10:40:59.919" v="2781" actId="207"/>
          <ac:spMkLst>
            <pc:docMk/>
            <pc:sldMk cId="110949405" sldId="394"/>
            <ac:spMk id="13" creationId="{55F15C80-398E-246F-394B-4F6AF2790ACE}"/>
          </ac:spMkLst>
        </pc:spChg>
        <pc:spChg chg="add mod ord">
          <ac:chgData name="Hans Gelissen (DHL SSC Maastricht)" userId="1afa8510-4eed-4b73-a29e-678838cd8acd" providerId="ADAL" clId="{D4795083-EE21-4870-A6A1-CBEBAABF3C14}" dt="2023-06-05T08:57:12.413" v="1406" actId="164"/>
          <ac:spMkLst>
            <pc:docMk/>
            <pc:sldMk cId="110949405" sldId="394"/>
            <ac:spMk id="14" creationId="{B4D2004F-71C2-7B6D-FBD0-6F0813E67856}"/>
          </ac:spMkLst>
        </pc:spChg>
        <pc:spChg chg="add mod">
          <ac:chgData name="Hans Gelissen (DHL SSC Maastricht)" userId="1afa8510-4eed-4b73-a29e-678838cd8acd" providerId="ADAL" clId="{D4795083-EE21-4870-A6A1-CBEBAABF3C14}" dt="2023-06-05T08:57:12.413" v="1406" actId="164"/>
          <ac:spMkLst>
            <pc:docMk/>
            <pc:sldMk cId="110949405" sldId="394"/>
            <ac:spMk id="15" creationId="{C72238C3-CC00-93CE-E619-1E0A91A7C1D1}"/>
          </ac:spMkLst>
        </pc:spChg>
        <pc:spChg chg="add mod ord">
          <ac:chgData name="Hans Gelissen (DHL SSC Maastricht)" userId="1afa8510-4eed-4b73-a29e-678838cd8acd" providerId="ADAL" clId="{D4795083-EE21-4870-A6A1-CBEBAABF3C14}" dt="2023-06-05T08:57:12.413" v="1406" actId="164"/>
          <ac:spMkLst>
            <pc:docMk/>
            <pc:sldMk cId="110949405" sldId="394"/>
            <ac:spMk id="16" creationId="{00B02221-AC5A-FF02-E60C-B7031AC39FA1}"/>
          </ac:spMkLst>
        </pc:spChg>
        <pc:spChg chg="add mod">
          <ac:chgData name="Hans Gelissen (DHL SSC Maastricht)" userId="1afa8510-4eed-4b73-a29e-678838cd8acd" providerId="ADAL" clId="{D4795083-EE21-4870-A6A1-CBEBAABF3C14}" dt="2023-06-05T08:57:12.413" v="1406" actId="164"/>
          <ac:spMkLst>
            <pc:docMk/>
            <pc:sldMk cId="110949405" sldId="394"/>
            <ac:spMk id="17" creationId="{E7EFBA52-60C9-31A6-D40F-A5E4972CE4FC}"/>
          </ac:spMkLst>
        </pc:spChg>
        <pc:spChg chg="add del mod">
          <ac:chgData name="Hans Gelissen (DHL SSC Maastricht)" userId="1afa8510-4eed-4b73-a29e-678838cd8acd" providerId="ADAL" clId="{D4795083-EE21-4870-A6A1-CBEBAABF3C14}" dt="2023-06-05T08:34:30.504" v="1275" actId="478"/>
          <ac:spMkLst>
            <pc:docMk/>
            <pc:sldMk cId="110949405" sldId="394"/>
            <ac:spMk id="18" creationId="{223C40C9-10A6-2CC3-E823-4841B0AF46C1}"/>
          </ac:spMkLst>
        </pc:spChg>
        <pc:spChg chg="add del">
          <ac:chgData name="Hans Gelissen (DHL SSC Maastricht)" userId="1afa8510-4eed-4b73-a29e-678838cd8acd" providerId="ADAL" clId="{D4795083-EE21-4870-A6A1-CBEBAABF3C14}" dt="2023-06-05T08:34:52.257" v="1277" actId="478"/>
          <ac:spMkLst>
            <pc:docMk/>
            <pc:sldMk cId="110949405" sldId="394"/>
            <ac:spMk id="19" creationId="{9B8C69BC-A0C6-A85A-CB41-B5F8C81E647B}"/>
          </ac:spMkLst>
        </pc:spChg>
        <pc:spChg chg="add mod">
          <ac:chgData name="Hans Gelissen (DHL SSC Maastricht)" userId="1afa8510-4eed-4b73-a29e-678838cd8acd" providerId="ADAL" clId="{D4795083-EE21-4870-A6A1-CBEBAABF3C14}" dt="2023-06-05T08:57:12.413" v="1406" actId="164"/>
          <ac:spMkLst>
            <pc:docMk/>
            <pc:sldMk cId="110949405" sldId="394"/>
            <ac:spMk id="20" creationId="{D2D5342F-822B-C47E-3497-7930DBB82569}"/>
          </ac:spMkLst>
        </pc:spChg>
        <pc:spChg chg="add del mod">
          <ac:chgData name="Hans Gelissen (DHL SSC Maastricht)" userId="1afa8510-4eed-4b73-a29e-678838cd8acd" providerId="ADAL" clId="{D4795083-EE21-4870-A6A1-CBEBAABF3C14}" dt="2023-06-07T07:38:44.399" v="12223" actId="478"/>
          <ac:spMkLst>
            <pc:docMk/>
            <pc:sldMk cId="110949405" sldId="394"/>
            <ac:spMk id="21" creationId="{9805A4A9-7C4E-80D9-7077-44B03BAE7DFD}"/>
          </ac:spMkLst>
        </pc:spChg>
        <pc:spChg chg="add del mod">
          <ac:chgData name="Hans Gelissen (DHL SSC Maastricht)" userId="1afa8510-4eed-4b73-a29e-678838cd8acd" providerId="ADAL" clId="{D4795083-EE21-4870-A6A1-CBEBAABF3C14}" dt="2023-06-07T07:38:44.399" v="12223" actId="478"/>
          <ac:spMkLst>
            <pc:docMk/>
            <pc:sldMk cId="110949405" sldId="394"/>
            <ac:spMk id="22" creationId="{7629A17B-73EE-5F7C-9701-4FE0D22E8AB7}"/>
          </ac:spMkLst>
        </pc:spChg>
        <pc:spChg chg="add mod ord">
          <ac:chgData name="Hans Gelissen (DHL SSC Maastricht)" userId="1afa8510-4eed-4b73-a29e-678838cd8acd" providerId="ADAL" clId="{D4795083-EE21-4870-A6A1-CBEBAABF3C14}" dt="2023-06-05T09:14:30.898" v="1739" actId="164"/>
          <ac:spMkLst>
            <pc:docMk/>
            <pc:sldMk cId="110949405" sldId="394"/>
            <ac:spMk id="25" creationId="{B70FBCA0-7C05-BF3F-99CD-42C8DB4DF28E}"/>
          </ac:spMkLst>
        </pc:spChg>
        <pc:spChg chg="add del mod topLvl">
          <ac:chgData name="Hans Gelissen (DHL SSC Maastricht)" userId="1afa8510-4eed-4b73-a29e-678838cd8acd" providerId="ADAL" clId="{D4795083-EE21-4870-A6A1-CBEBAABF3C14}" dt="2023-06-05T09:13:40.445" v="1729"/>
          <ac:spMkLst>
            <pc:docMk/>
            <pc:sldMk cId="110949405" sldId="394"/>
            <ac:spMk id="32" creationId="{C6642E63-0C2D-D803-ED87-82868D822F87}"/>
          </ac:spMkLst>
        </pc:spChg>
        <pc:spChg chg="add del mod topLvl">
          <ac:chgData name="Hans Gelissen (DHL SSC Maastricht)" userId="1afa8510-4eed-4b73-a29e-678838cd8acd" providerId="ADAL" clId="{D4795083-EE21-4870-A6A1-CBEBAABF3C14}" dt="2023-06-05T09:12:21.828" v="1707"/>
          <ac:spMkLst>
            <pc:docMk/>
            <pc:sldMk cId="110949405" sldId="394"/>
            <ac:spMk id="33" creationId="{FC1B084A-C0A3-79A3-64B7-8BF9E0FC9CCC}"/>
          </ac:spMkLst>
        </pc:spChg>
        <pc:spChg chg="add del mod topLvl">
          <ac:chgData name="Hans Gelissen (DHL SSC Maastricht)" userId="1afa8510-4eed-4b73-a29e-678838cd8acd" providerId="ADAL" clId="{D4795083-EE21-4870-A6A1-CBEBAABF3C14}" dt="2023-06-05T09:13:40.445" v="1729"/>
          <ac:spMkLst>
            <pc:docMk/>
            <pc:sldMk cId="110949405" sldId="394"/>
            <ac:spMk id="34" creationId="{397E56FD-7BBD-0B31-4E45-F4488E04BEB6}"/>
          </ac:spMkLst>
        </pc:spChg>
        <pc:spChg chg="add del mod">
          <ac:chgData name="Hans Gelissen (DHL SSC Maastricht)" userId="1afa8510-4eed-4b73-a29e-678838cd8acd" providerId="ADAL" clId="{D4795083-EE21-4870-A6A1-CBEBAABF3C14}" dt="2023-06-05T09:02:40.397" v="1481" actId="478"/>
          <ac:spMkLst>
            <pc:docMk/>
            <pc:sldMk cId="110949405" sldId="394"/>
            <ac:spMk id="35" creationId="{39D1D651-43BF-4C48-0ABC-11F14EC01945}"/>
          </ac:spMkLst>
        </pc:spChg>
        <pc:spChg chg="add del mod topLvl">
          <ac:chgData name="Hans Gelissen (DHL SSC Maastricht)" userId="1afa8510-4eed-4b73-a29e-678838cd8acd" providerId="ADAL" clId="{D4795083-EE21-4870-A6A1-CBEBAABF3C14}" dt="2023-06-05T09:13:40.445" v="1729"/>
          <ac:spMkLst>
            <pc:docMk/>
            <pc:sldMk cId="110949405" sldId="394"/>
            <ac:spMk id="36" creationId="{F18A2345-26F6-CAD6-D089-25A275B8CD6F}"/>
          </ac:spMkLst>
        </pc:spChg>
        <pc:spChg chg="add del mod topLvl">
          <ac:chgData name="Hans Gelissen (DHL SSC Maastricht)" userId="1afa8510-4eed-4b73-a29e-678838cd8acd" providerId="ADAL" clId="{D4795083-EE21-4870-A6A1-CBEBAABF3C14}" dt="2023-06-05T09:13:40.445" v="1729"/>
          <ac:spMkLst>
            <pc:docMk/>
            <pc:sldMk cId="110949405" sldId="394"/>
            <ac:spMk id="37" creationId="{E2C75E8B-6548-0E9D-585B-8D88AD7506AD}"/>
          </ac:spMkLst>
        </pc:spChg>
        <pc:spChg chg="mod">
          <ac:chgData name="Hans Gelissen (DHL SSC Maastricht)" userId="1afa8510-4eed-4b73-a29e-678838cd8acd" providerId="ADAL" clId="{D4795083-EE21-4870-A6A1-CBEBAABF3C14}" dt="2023-06-05T09:04:09.113" v="1530"/>
          <ac:spMkLst>
            <pc:docMk/>
            <pc:sldMk cId="110949405" sldId="394"/>
            <ac:spMk id="40" creationId="{5E5CB662-4453-D8E5-1117-51E85E8DA43B}"/>
          </ac:spMkLst>
        </pc:spChg>
        <pc:spChg chg="mod">
          <ac:chgData name="Hans Gelissen (DHL SSC Maastricht)" userId="1afa8510-4eed-4b73-a29e-678838cd8acd" providerId="ADAL" clId="{D4795083-EE21-4870-A6A1-CBEBAABF3C14}" dt="2023-06-05T09:04:09.113" v="1530"/>
          <ac:spMkLst>
            <pc:docMk/>
            <pc:sldMk cId="110949405" sldId="394"/>
            <ac:spMk id="41" creationId="{1C3F140C-5F32-B173-6B09-052D29C2FFB8}"/>
          </ac:spMkLst>
        </pc:spChg>
        <pc:spChg chg="mod">
          <ac:chgData name="Hans Gelissen (DHL SSC Maastricht)" userId="1afa8510-4eed-4b73-a29e-678838cd8acd" providerId="ADAL" clId="{D4795083-EE21-4870-A6A1-CBEBAABF3C14}" dt="2023-06-05T09:04:09.113" v="1530"/>
          <ac:spMkLst>
            <pc:docMk/>
            <pc:sldMk cId="110949405" sldId="394"/>
            <ac:spMk id="42" creationId="{E2A43131-58B0-7554-F57F-CB455E1596F8}"/>
          </ac:spMkLst>
        </pc:spChg>
        <pc:spChg chg="mod">
          <ac:chgData name="Hans Gelissen (DHL SSC Maastricht)" userId="1afa8510-4eed-4b73-a29e-678838cd8acd" providerId="ADAL" clId="{D4795083-EE21-4870-A6A1-CBEBAABF3C14}" dt="2023-06-05T09:04:09.113" v="1530"/>
          <ac:spMkLst>
            <pc:docMk/>
            <pc:sldMk cId="110949405" sldId="394"/>
            <ac:spMk id="43" creationId="{01ABDA89-2CBC-4724-8496-04DC8CE63B0E}"/>
          </ac:spMkLst>
        </pc:spChg>
        <pc:spChg chg="mod">
          <ac:chgData name="Hans Gelissen (DHL SSC Maastricht)" userId="1afa8510-4eed-4b73-a29e-678838cd8acd" providerId="ADAL" clId="{D4795083-EE21-4870-A6A1-CBEBAABF3C14}" dt="2023-06-05T09:04:09.113" v="1530"/>
          <ac:spMkLst>
            <pc:docMk/>
            <pc:sldMk cId="110949405" sldId="394"/>
            <ac:spMk id="44" creationId="{56141E9B-E416-991A-1D1A-D4919E945404}"/>
          </ac:spMkLst>
        </pc:spChg>
        <pc:spChg chg="mod">
          <ac:chgData name="Hans Gelissen (DHL SSC Maastricht)" userId="1afa8510-4eed-4b73-a29e-678838cd8acd" providerId="ADAL" clId="{D4795083-EE21-4870-A6A1-CBEBAABF3C14}" dt="2023-06-05T09:04:16.866" v="1532"/>
          <ac:spMkLst>
            <pc:docMk/>
            <pc:sldMk cId="110949405" sldId="394"/>
            <ac:spMk id="46" creationId="{1E2A1413-0D63-7864-E44D-2FF9193FD67D}"/>
          </ac:spMkLst>
        </pc:spChg>
        <pc:spChg chg="mod">
          <ac:chgData name="Hans Gelissen (DHL SSC Maastricht)" userId="1afa8510-4eed-4b73-a29e-678838cd8acd" providerId="ADAL" clId="{D4795083-EE21-4870-A6A1-CBEBAABF3C14}" dt="2023-06-05T09:04:16.866" v="1532"/>
          <ac:spMkLst>
            <pc:docMk/>
            <pc:sldMk cId="110949405" sldId="394"/>
            <ac:spMk id="47" creationId="{D36ECA72-AD05-AB8D-D97E-760F50CFD760}"/>
          </ac:spMkLst>
        </pc:spChg>
        <pc:spChg chg="mod">
          <ac:chgData name="Hans Gelissen (DHL SSC Maastricht)" userId="1afa8510-4eed-4b73-a29e-678838cd8acd" providerId="ADAL" clId="{D4795083-EE21-4870-A6A1-CBEBAABF3C14}" dt="2023-06-05T09:04:16.866" v="1532"/>
          <ac:spMkLst>
            <pc:docMk/>
            <pc:sldMk cId="110949405" sldId="394"/>
            <ac:spMk id="48" creationId="{98BA80DA-F2E1-0770-A200-7B01DC0A0EB4}"/>
          </ac:spMkLst>
        </pc:spChg>
        <pc:spChg chg="mod">
          <ac:chgData name="Hans Gelissen (DHL SSC Maastricht)" userId="1afa8510-4eed-4b73-a29e-678838cd8acd" providerId="ADAL" clId="{D4795083-EE21-4870-A6A1-CBEBAABF3C14}" dt="2023-06-05T09:04:16.866" v="1532"/>
          <ac:spMkLst>
            <pc:docMk/>
            <pc:sldMk cId="110949405" sldId="394"/>
            <ac:spMk id="49" creationId="{C2283131-6A9A-9CCA-27CA-79E0F1497B1C}"/>
          </ac:spMkLst>
        </pc:spChg>
        <pc:spChg chg="mod">
          <ac:chgData name="Hans Gelissen (DHL SSC Maastricht)" userId="1afa8510-4eed-4b73-a29e-678838cd8acd" providerId="ADAL" clId="{D4795083-EE21-4870-A6A1-CBEBAABF3C14}" dt="2023-06-05T09:04:16.866" v="1532"/>
          <ac:spMkLst>
            <pc:docMk/>
            <pc:sldMk cId="110949405" sldId="394"/>
            <ac:spMk id="50" creationId="{0FC97F3A-1E3B-71E1-9DCE-DB75355C739A}"/>
          </ac:spMkLst>
        </pc:spChg>
        <pc:spChg chg="add mod">
          <ac:chgData name="Hans Gelissen (DHL SSC Maastricht)" userId="1afa8510-4eed-4b73-a29e-678838cd8acd" providerId="ADAL" clId="{D4795083-EE21-4870-A6A1-CBEBAABF3C14}" dt="2023-06-05T09:04:54.116" v="1556" actId="571"/>
          <ac:spMkLst>
            <pc:docMk/>
            <pc:sldMk cId="110949405" sldId="394"/>
            <ac:spMk id="51" creationId="{23D2D942-C27E-E4CA-B25C-1E4704D6796C}"/>
          </ac:spMkLst>
        </pc:spChg>
        <pc:spChg chg="del mod topLvl">
          <ac:chgData name="Hans Gelissen (DHL SSC Maastricht)" userId="1afa8510-4eed-4b73-a29e-678838cd8acd" providerId="ADAL" clId="{D4795083-EE21-4870-A6A1-CBEBAABF3C14}" dt="2023-06-05T09:13:53.075" v="1731"/>
          <ac:spMkLst>
            <pc:docMk/>
            <pc:sldMk cId="110949405" sldId="394"/>
            <ac:spMk id="53" creationId="{E403E153-81D0-F21B-8D81-0B01CC86DCD1}"/>
          </ac:spMkLst>
        </pc:spChg>
        <pc:spChg chg="del mod topLvl">
          <ac:chgData name="Hans Gelissen (DHL SSC Maastricht)" userId="1afa8510-4eed-4b73-a29e-678838cd8acd" providerId="ADAL" clId="{D4795083-EE21-4870-A6A1-CBEBAABF3C14}" dt="2023-06-05T09:11:34.829" v="1699"/>
          <ac:spMkLst>
            <pc:docMk/>
            <pc:sldMk cId="110949405" sldId="394"/>
            <ac:spMk id="54" creationId="{54B40095-AAEF-9F93-686F-7478C280B3EF}"/>
          </ac:spMkLst>
        </pc:spChg>
        <pc:spChg chg="del mod topLvl">
          <ac:chgData name="Hans Gelissen (DHL SSC Maastricht)" userId="1afa8510-4eed-4b73-a29e-678838cd8acd" providerId="ADAL" clId="{D4795083-EE21-4870-A6A1-CBEBAABF3C14}" dt="2023-06-05T09:13:53.075" v="1731"/>
          <ac:spMkLst>
            <pc:docMk/>
            <pc:sldMk cId="110949405" sldId="394"/>
            <ac:spMk id="55" creationId="{E522708A-28D6-C74A-DD4D-7E38BCCE2FF3}"/>
          </ac:spMkLst>
        </pc:spChg>
        <pc:spChg chg="del mod topLvl">
          <ac:chgData name="Hans Gelissen (DHL SSC Maastricht)" userId="1afa8510-4eed-4b73-a29e-678838cd8acd" providerId="ADAL" clId="{D4795083-EE21-4870-A6A1-CBEBAABF3C14}" dt="2023-06-05T09:13:53.075" v="1731"/>
          <ac:spMkLst>
            <pc:docMk/>
            <pc:sldMk cId="110949405" sldId="394"/>
            <ac:spMk id="56" creationId="{79DA2083-7628-08EB-39DF-0C5A087283E1}"/>
          </ac:spMkLst>
        </pc:spChg>
        <pc:spChg chg="del mod topLvl">
          <ac:chgData name="Hans Gelissen (DHL SSC Maastricht)" userId="1afa8510-4eed-4b73-a29e-678838cd8acd" providerId="ADAL" clId="{D4795083-EE21-4870-A6A1-CBEBAABF3C14}" dt="2023-06-05T09:13:53.075" v="1731"/>
          <ac:spMkLst>
            <pc:docMk/>
            <pc:sldMk cId="110949405" sldId="394"/>
            <ac:spMk id="57" creationId="{65FE123B-7432-2A88-BB0E-B9A26875EC83}"/>
          </ac:spMkLst>
        </pc:spChg>
        <pc:spChg chg="add del mod">
          <ac:chgData name="Hans Gelissen (DHL SSC Maastricht)" userId="1afa8510-4eed-4b73-a29e-678838cd8acd" providerId="ADAL" clId="{D4795083-EE21-4870-A6A1-CBEBAABF3C14}" dt="2023-06-05T09:11:34.829" v="1699"/>
          <ac:spMkLst>
            <pc:docMk/>
            <pc:sldMk cId="110949405" sldId="394"/>
            <ac:spMk id="58" creationId="{4F25EF94-0021-EB95-E932-18B17020408A}"/>
          </ac:spMkLst>
        </pc:spChg>
        <pc:spChg chg="add del mod">
          <ac:chgData name="Hans Gelissen (DHL SSC Maastricht)" userId="1afa8510-4eed-4b73-a29e-678838cd8acd" providerId="ADAL" clId="{D4795083-EE21-4870-A6A1-CBEBAABF3C14}" dt="2023-06-05T09:12:21.828" v="1707"/>
          <ac:spMkLst>
            <pc:docMk/>
            <pc:sldMk cId="110949405" sldId="394"/>
            <ac:spMk id="59" creationId="{5886371C-CD9C-D19D-C19D-0B2A3933CD56}"/>
          </ac:spMkLst>
        </pc:spChg>
        <pc:spChg chg="del mod topLvl">
          <ac:chgData name="Hans Gelissen (DHL SSC Maastricht)" userId="1afa8510-4eed-4b73-a29e-678838cd8acd" providerId="ADAL" clId="{D4795083-EE21-4870-A6A1-CBEBAABF3C14}" dt="2023-06-05T09:13:53.075" v="1731"/>
          <ac:spMkLst>
            <pc:docMk/>
            <pc:sldMk cId="110949405" sldId="394"/>
            <ac:spMk id="60" creationId="{270675EA-CEAF-3D2D-3906-AC0A642782BE}"/>
          </ac:spMkLst>
        </pc:spChg>
        <pc:spChg chg="add del mod">
          <ac:chgData name="Hans Gelissen (DHL SSC Maastricht)" userId="1afa8510-4eed-4b73-a29e-678838cd8acd" providerId="ADAL" clId="{D4795083-EE21-4870-A6A1-CBEBAABF3C14}" dt="2023-06-05T09:13:40.445" v="1729"/>
          <ac:spMkLst>
            <pc:docMk/>
            <pc:sldMk cId="110949405" sldId="394"/>
            <ac:spMk id="62" creationId="{786644A7-808B-7607-BC0B-CDFEAABAEBA2}"/>
          </ac:spMkLst>
        </pc:spChg>
        <pc:spChg chg="mod">
          <ac:chgData name="Hans Gelissen (DHL SSC Maastricht)" userId="1afa8510-4eed-4b73-a29e-678838cd8acd" providerId="ADAL" clId="{D4795083-EE21-4870-A6A1-CBEBAABF3C14}" dt="2023-06-05T09:13:06.336" v="1716"/>
          <ac:spMkLst>
            <pc:docMk/>
            <pc:sldMk cId="110949405" sldId="394"/>
            <ac:spMk id="63" creationId="{8B515F5F-B430-2BFD-9BE4-1C189FE857A7}"/>
          </ac:spMkLst>
        </pc:spChg>
        <pc:spChg chg="mod">
          <ac:chgData name="Hans Gelissen (DHL SSC Maastricht)" userId="1afa8510-4eed-4b73-a29e-678838cd8acd" providerId="ADAL" clId="{D4795083-EE21-4870-A6A1-CBEBAABF3C14}" dt="2023-06-05T10:40:39.674" v="2779" actId="207"/>
          <ac:spMkLst>
            <pc:docMk/>
            <pc:sldMk cId="110949405" sldId="394"/>
            <ac:spMk id="64" creationId="{72ADA5B5-E730-FE56-0D61-937A7C58B18F}"/>
          </ac:spMkLst>
        </pc:spChg>
        <pc:spChg chg="mod">
          <ac:chgData name="Hans Gelissen (DHL SSC Maastricht)" userId="1afa8510-4eed-4b73-a29e-678838cd8acd" providerId="ADAL" clId="{D4795083-EE21-4870-A6A1-CBEBAABF3C14}" dt="2023-06-06T12:44:59.764" v="12163" actId="1036"/>
          <ac:spMkLst>
            <pc:docMk/>
            <pc:sldMk cId="110949405" sldId="394"/>
            <ac:spMk id="65" creationId="{DBF01FFA-83C4-3712-DA79-5F7FDFBBCB2A}"/>
          </ac:spMkLst>
        </pc:spChg>
        <pc:spChg chg="add mod">
          <ac:chgData name="Hans Gelissen (DHL SSC Maastricht)" userId="1afa8510-4eed-4b73-a29e-678838cd8acd" providerId="ADAL" clId="{D4795083-EE21-4870-A6A1-CBEBAABF3C14}" dt="2023-06-05T10:40:39.674" v="2779" actId="207"/>
          <ac:spMkLst>
            <pc:docMk/>
            <pc:sldMk cId="110949405" sldId="394"/>
            <ac:spMk id="66" creationId="{0947135E-C9EE-3BDA-0985-F0EF2A5F7DFD}"/>
          </ac:spMkLst>
        </pc:spChg>
        <pc:spChg chg="add mod">
          <ac:chgData name="Hans Gelissen (DHL SSC Maastricht)" userId="1afa8510-4eed-4b73-a29e-678838cd8acd" providerId="ADAL" clId="{D4795083-EE21-4870-A6A1-CBEBAABF3C14}" dt="2023-06-05T10:40:39.674" v="2779" actId="207"/>
          <ac:spMkLst>
            <pc:docMk/>
            <pc:sldMk cId="110949405" sldId="394"/>
            <ac:spMk id="67" creationId="{D87691AF-282C-A423-CB6B-8096D670D8DB}"/>
          </ac:spMkLst>
        </pc:spChg>
        <pc:grpChg chg="add mod">
          <ac:chgData name="Hans Gelissen (DHL SSC Maastricht)" userId="1afa8510-4eed-4b73-a29e-678838cd8acd" providerId="ADAL" clId="{D4795083-EE21-4870-A6A1-CBEBAABF3C14}" dt="2023-06-05T08:57:16.721" v="1407" actId="1076"/>
          <ac:grpSpMkLst>
            <pc:docMk/>
            <pc:sldMk cId="110949405" sldId="394"/>
            <ac:grpSpMk id="23" creationId="{9F01AA9B-86A0-EB05-0D0E-C12E9CCF2B48}"/>
          </ac:grpSpMkLst>
        </pc:grpChg>
        <pc:grpChg chg="add del mod">
          <ac:chgData name="Hans Gelissen (DHL SSC Maastricht)" userId="1afa8510-4eed-4b73-a29e-678838cd8acd" providerId="ADAL" clId="{D4795083-EE21-4870-A6A1-CBEBAABF3C14}" dt="2023-06-05T09:12:08.469" v="1704" actId="165"/>
          <ac:grpSpMkLst>
            <pc:docMk/>
            <pc:sldMk cId="110949405" sldId="394"/>
            <ac:grpSpMk id="38" creationId="{D16E8F14-2597-BFB3-4BC9-4760FF258EB9}"/>
          </ac:grpSpMkLst>
        </pc:grpChg>
        <pc:grpChg chg="add del mod">
          <ac:chgData name="Hans Gelissen (DHL SSC Maastricht)" userId="1afa8510-4eed-4b73-a29e-678838cd8acd" providerId="ADAL" clId="{D4795083-EE21-4870-A6A1-CBEBAABF3C14}" dt="2023-06-05T09:10:54.391" v="1693" actId="478"/>
          <ac:grpSpMkLst>
            <pc:docMk/>
            <pc:sldMk cId="110949405" sldId="394"/>
            <ac:grpSpMk id="39" creationId="{CDB0B272-DD94-3D90-01E8-52636A6559F2}"/>
          </ac:grpSpMkLst>
        </pc:grpChg>
        <pc:grpChg chg="add del mod">
          <ac:chgData name="Hans Gelissen (DHL SSC Maastricht)" userId="1afa8510-4eed-4b73-a29e-678838cd8acd" providerId="ADAL" clId="{D4795083-EE21-4870-A6A1-CBEBAABF3C14}" dt="2023-06-05T09:10:55.325" v="1694" actId="478"/>
          <ac:grpSpMkLst>
            <pc:docMk/>
            <pc:sldMk cId="110949405" sldId="394"/>
            <ac:grpSpMk id="45" creationId="{DA7FAAAC-7FA6-9590-D0F4-75A942D3D244}"/>
          </ac:grpSpMkLst>
        </pc:grpChg>
        <pc:grpChg chg="add del mod">
          <ac:chgData name="Hans Gelissen (DHL SSC Maastricht)" userId="1afa8510-4eed-4b73-a29e-678838cd8acd" providerId="ADAL" clId="{D4795083-EE21-4870-A6A1-CBEBAABF3C14}" dt="2023-06-05T09:11:27.597" v="1698" actId="165"/>
          <ac:grpSpMkLst>
            <pc:docMk/>
            <pc:sldMk cId="110949405" sldId="394"/>
            <ac:grpSpMk id="52" creationId="{C2EC60FB-6C57-CF55-F84A-01C7964AC45E}"/>
          </ac:grpSpMkLst>
        </pc:grpChg>
        <pc:grpChg chg="add del mod">
          <ac:chgData name="Hans Gelissen (DHL SSC Maastricht)" userId="1afa8510-4eed-4b73-a29e-678838cd8acd" providerId="ADAL" clId="{D4795083-EE21-4870-A6A1-CBEBAABF3C14}" dt="2023-06-05T09:13:46.382" v="1730" actId="165"/>
          <ac:grpSpMkLst>
            <pc:docMk/>
            <pc:sldMk cId="110949405" sldId="394"/>
            <ac:grpSpMk id="61" creationId="{3DE2A4EE-5865-55BB-63F7-AAB5BEEE888B}"/>
          </ac:grpSpMkLst>
        </pc:grpChg>
        <pc:grpChg chg="add mod">
          <ac:chgData name="Hans Gelissen (DHL SSC Maastricht)" userId="1afa8510-4eed-4b73-a29e-678838cd8acd" providerId="ADAL" clId="{D4795083-EE21-4870-A6A1-CBEBAABF3C14}" dt="2023-06-05T09:14:32.872" v="1740" actId="1076"/>
          <ac:grpSpMkLst>
            <pc:docMk/>
            <pc:sldMk cId="110949405" sldId="394"/>
            <ac:grpSpMk id="68" creationId="{B8D29F59-9925-9D63-9270-51A2802C6C27}"/>
          </ac:grpSpMkLst>
        </pc:grpChg>
        <pc:picChg chg="add del mod">
          <ac:chgData name="Hans Gelissen (DHL SSC Maastricht)" userId="1afa8510-4eed-4b73-a29e-678838cd8acd" providerId="ADAL" clId="{D4795083-EE21-4870-A6A1-CBEBAABF3C14}" dt="2023-06-05T08:56:58.249" v="1404" actId="478"/>
          <ac:picMkLst>
            <pc:docMk/>
            <pc:sldMk cId="110949405" sldId="394"/>
            <ac:picMk id="5" creationId="{513A9E77-2AFD-DF0D-2CA1-09EB5785CB1F}"/>
          </ac:picMkLst>
        </pc:picChg>
        <pc:picChg chg="add del mod">
          <ac:chgData name="Hans Gelissen (DHL SSC Maastricht)" userId="1afa8510-4eed-4b73-a29e-678838cd8acd" providerId="ADAL" clId="{D4795083-EE21-4870-A6A1-CBEBAABF3C14}" dt="2023-06-05T09:14:35.447" v="1741" actId="478"/>
          <ac:picMkLst>
            <pc:docMk/>
            <pc:sldMk cId="110949405" sldId="394"/>
            <ac:picMk id="24" creationId="{FD70E400-45BE-8E11-D946-AE3728E9FC95}"/>
          </ac:picMkLst>
        </pc:picChg>
        <pc:cxnChg chg="add mod">
          <ac:chgData name="Hans Gelissen (DHL SSC Maastricht)" userId="1afa8510-4eed-4b73-a29e-678838cd8acd" providerId="ADAL" clId="{D4795083-EE21-4870-A6A1-CBEBAABF3C14}" dt="2023-06-05T08:57:12.413" v="1406" actId="164"/>
          <ac:cxnSpMkLst>
            <pc:docMk/>
            <pc:sldMk cId="110949405" sldId="394"/>
            <ac:cxnSpMk id="12" creationId="{6D03C034-55BF-5CE2-8872-EC9380AC11CF}"/>
          </ac:cxnSpMkLst>
        </pc:cxnChg>
        <pc:cxnChg chg="add mod">
          <ac:chgData name="Hans Gelissen (DHL SSC Maastricht)" userId="1afa8510-4eed-4b73-a29e-678838cd8acd" providerId="ADAL" clId="{D4795083-EE21-4870-A6A1-CBEBAABF3C14}" dt="2023-06-05T09:14:30.898" v="1739" actId="164"/>
          <ac:cxnSpMkLst>
            <pc:docMk/>
            <pc:sldMk cId="110949405" sldId="394"/>
            <ac:cxnSpMk id="26" creationId="{770403D8-B300-4BCA-6BE0-17128D7E1ECD}"/>
          </ac:cxnSpMkLst>
        </pc:cxnChg>
      </pc:sldChg>
      <pc:sldChg chg="addSp delSp modSp new mod modClrScheme chgLayout">
        <pc:chgData name="Hans Gelissen (DHL SSC Maastricht)" userId="1afa8510-4eed-4b73-a29e-678838cd8acd" providerId="ADAL" clId="{D4795083-EE21-4870-A6A1-CBEBAABF3C14}" dt="2023-06-06T12:39:18.075" v="12119" actId="20577"/>
        <pc:sldMkLst>
          <pc:docMk/>
          <pc:sldMk cId="591459912" sldId="395"/>
        </pc:sldMkLst>
        <pc:spChg chg="mod ord">
          <ac:chgData name="Hans Gelissen (DHL SSC Maastricht)" userId="1afa8510-4eed-4b73-a29e-678838cd8acd" providerId="ADAL" clId="{D4795083-EE21-4870-A6A1-CBEBAABF3C14}" dt="2023-06-06T12:39:18.075" v="12119" actId="20577"/>
          <ac:spMkLst>
            <pc:docMk/>
            <pc:sldMk cId="591459912" sldId="395"/>
            <ac:spMk id="2" creationId="{0E406F24-FBDF-45AD-3149-513BCA43EA62}"/>
          </ac:spMkLst>
        </pc:spChg>
        <pc:spChg chg="del mod ord">
          <ac:chgData name="Hans Gelissen (DHL SSC Maastricht)" userId="1afa8510-4eed-4b73-a29e-678838cd8acd" providerId="ADAL" clId="{D4795083-EE21-4870-A6A1-CBEBAABF3C14}" dt="2023-06-05T09:30:12.831" v="2057" actId="700"/>
          <ac:spMkLst>
            <pc:docMk/>
            <pc:sldMk cId="591459912" sldId="395"/>
            <ac:spMk id="3" creationId="{4945400E-9D62-F008-227F-B4E503E10D39}"/>
          </ac:spMkLst>
        </pc:spChg>
        <pc:spChg chg="add mod ord">
          <ac:chgData name="Hans Gelissen (DHL SSC Maastricht)" userId="1afa8510-4eed-4b73-a29e-678838cd8acd" providerId="ADAL" clId="{D4795083-EE21-4870-A6A1-CBEBAABF3C14}" dt="2023-06-05T09:38:25.041" v="2155" actId="1076"/>
          <ac:spMkLst>
            <pc:docMk/>
            <pc:sldMk cId="591459912" sldId="395"/>
            <ac:spMk id="4" creationId="{AF717DB1-7691-35C9-777C-DDE6EEEA5050}"/>
          </ac:spMkLst>
        </pc:spChg>
      </pc:sldChg>
      <pc:sldChg chg="addSp delSp modSp add mod modClrScheme chgLayout">
        <pc:chgData name="Hans Gelissen (DHL SSC Maastricht)" userId="1afa8510-4eed-4b73-a29e-678838cd8acd" providerId="ADAL" clId="{D4795083-EE21-4870-A6A1-CBEBAABF3C14}" dt="2023-06-06T12:39:38.372" v="12160" actId="20577"/>
        <pc:sldMkLst>
          <pc:docMk/>
          <pc:sldMk cId="3654698751" sldId="396"/>
        </pc:sldMkLst>
        <pc:spChg chg="mod ord">
          <ac:chgData name="Hans Gelissen (DHL SSC Maastricht)" userId="1afa8510-4eed-4b73-a29e-678838cd8acd" providerId="ADAL" clId="{D4795083-EE21-4870-A6A1-CBEBAABF3C14}" dt="2023-06-06T12:39:38.372" v="12160" actId="20577"/>
          <ac:spMkLst>
            <pc:docMk/>
            <pc:sldMk cId="3654698751" sldId="396"/>
            <ac:spMk id="2" creationId="{0E406F24-FBDF-45AD-3149-513BCA43EA62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30:55.424" v="2061" actId="700"/>
          <ac:spMkLst>
            <pc:docMk/>
            <pc:sldMk cId="3654698751" sldId="396"/>
            <ac:spMk id="3" creationId="{29EB581B-334D-D9F2-D0FE-B6DD8504DC00}"/>
          </ac:spMkLst>
        </pc:spChg>
        <pc:spChg chg="del mod ord">
          <ac:chgData name="Hans Gelissen (DHL SSC Maastricht)" userId="1afa8510-4eed-4b73-a29e-678838cd8acd" providerId="ADAL" clId="{D4795083-EE21-4870-A6A1-CBEBAABF3C14}" dt="2023-06-05T09:30:43.693" v="2060" actId="700"/>
          <ac:spMkLst>
            <pc:docMk/>
            <pc:sldMk cId="3654698751" sldId="396"/>
            <ac:spMk id="4" creationId="{AF717DB1-7691-35C9-777C-DDE6EEEA5050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31:04.756" v="2062" actId="700"/>
          <ac:spMkLst>
            <pc:docMk/>
            <pc:sldMk cId="3654698751" sldId="396"/>
            <ac:spMk id="5" creationId="{316FBDB0-B1CB-FA11-2381-323F384623EF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31:11.766" v="2063" actId="700"/>
          <ac:spMkLst>
            <pc:docMk/>
            <pc:sldMk cId="3654698751" sldId="396"/>
            <ac:spMk id="6" creationId="{E3B2B6A4-98C2-C20D-53B3-ABD22D31C02B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31:18.890" v="2064" actId="700"/>
          <ac:spMkLst>
            <pc:docMk/>
            <pc:sldMk cId="3654698751" sldId="396"/>
            <ac:spMk id="7" creationId="{90701CC1-36B6-E713-6AF3-C5B8254DA239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31:26.041" v="2065" actId="700"/>
          <ac:spMkLst>
            <pc:docMk/>
            <pc:sldMk cId="3654698751" sldId="396"/>
            <ac:spMk id="8" creationId="{7A6FEE46-5F89-43D9-E734-6C60BE9FF722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31:46.658" v="2070" actId="700"/>
          <ac:spMkLst>
            <pc:docMk/>
            <pc:sldMk cId="3654698751" sldId="396"/>
            <ac:spMk id="9" creationId="{F0976058-05B1-8526-7102-3263AC8F9B06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31:58.986" v="2072" actId="700"/>
          <ac:spMkLst>
            <pc:docMk/>
            <pc:sldMk cId="3654698751" sldId="396"/>
            <ac:spMk id="10" creationId="{E18A9F30-5DCF-93C9-0AF9-670B90A1E685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32:04.920" v="2073" actId="700"/>
          <ac:spMkLst>
            <pc:docMk/>
            <pc:sldMk cId="3654698751" sldId="396"/>
            <ac:spMk id="11" creationId="{E52F8E90-79A1-9043-BAED-DE0ADA3322CA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32:14.214" v="2074" actId="700"/>
          <ac:spMkLst>
            <pc:docMk/>
            <pc:sldMk cId="3654698751" sldId="396"/>
            <ac:spMk id="12" creationId="{65C1DC6C-B770-3530-1440-E633DCE6B634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32:20.465" v="2075" actId="700"/>
          <ac:spMkLst>
            <pc:docMk/>
            <pc:sldMk cId="3654698751" sldId="396"/>
            <ac:spMk id="13" creationId="{F3151492-F5E8-2BFA-943A-99FD1B1A6ACC}"/>
          </ac:spMkLst>
        </pc:spChg>
        <pc:spChg chg="add del mod ord">
          <ac:chgData name="Hans Gelissen (DHL SSC Maastricht)" userId="1afa8510-4eed-4b73-a29e-678838cd8acd" providerId="ADAL" clId="{D4795083-EE21-4870-A6A1-CBEBAABF3C14}" dt="2023-06-05T09:32:29.807" v="2076" actId="700"/>
          <ac:spMkLst>
            <pc:docMk/>
            <pc:sldMk cId="3654698751" sldId="396"/>
            <ac:spMk id="14" creationId="{3D52D8AA-F42A-37E3-2281-8A6E0F31530C}"/>
          </ac:spMkLst>
        </pc:spChg>
        <pc:spChg chg="add mod ord">
          <ac:chgData name="Hans Gelissen (DHL SSC Maastricht)" userId="1afa8510-4eed-4b73-a29e-678838cd8acd" providerId="ADAL" clId="{D4795083-EE21-4870-A6A1-CBEBAABF3C14}" dt="2023-06-05T09:40:19.131" v="2232" actId="6549"/>
          <ac:spMkLst>
            <pc:docMk/>
            <pc:sldMk cId="3654698751" sldId="396"/>
            <ac:spMk id="15" creationId="{DD9513B3-3B2B-69B9-E545-5230F7AA0441}"/>
          </ac:spMkLst>
        </pc:spChg>
      </pc:sldChg>
      <pc:sldChg chg="add del">
        <pc:chgData name="Hans Gelissen (DHL SSC Maastricht)" userId="1afa8510-4eed-4b73-a29e-678838cd8acd" providerId="ADAL" clId="{D4795083-EE21-4870-A6A1-CBEBAABF3C14}" dt="2023-06-05T09:46:48.753" v="2234"/>
        <pc:sldMkLst>
          <pc:docMk/>
          <pc:sldMk cId="142461135" sldId="397"/>
        </pc:sldMkLst>
      </pc:sldChg>
      <pc:sldChg chg="add del">
        <pc:chgData name="Hans Gelissen (DHL SSC Maastricht)" userId="1afa8510-4eed-4b73-a29e-678838cd8acd" providerId="ADAL" clId="{D4795083-EE21-4870-A6A1-CBEBAABF3C14}" dt="2023-06-05T09:47:15.418" v="2237" actId="47"/>
        <pc:sldMkLst>
          <pc:docMk/>
          <pc:sldMk cId="1542748477" sldId="397"/>
        </pc:sldMkLst>
      </pc:sldChg>
      <pc:sldChg chg="addSp delSp modSp new mod modClrScheme modAnim chgLayout">
        <pc:chgData name="Hans Gelissen (DHL SSC Maastricht)" userId="1afa8510-4eed-4b73-a29e-678838cd8acd" providerId="ADAL" clId="{D4795083-EE21-4870-A6A1-CBEBAABF3C14}" dt="2023-06-05T11:00:04.810" v="2982" actId="1076"/>
        <pc:sldMkLst>
          <pc:docMk/>
          <pc:sldMk cId="754143519" sldId="398"/>
        </pc:sldMkLst>
        <pc:spChg chg="del mod ord">
          <ac:chgData name="Hans Gelissen (DHL SSC Maastricht)" userId="1afa8510-4eed-4b73-a29e-678838cd8acd" providerId="ADAL" clId="{D4795083-EE21-4870-A6A1-CBEBAABF3C14}" dt="2023-06-05T10:42:28.119" v="2789" actId="700"/>
          <ac:spMkLst>
            <pc:docMk/>
            <pc:sldMk cId="754143519" sldId="398"/>
            <ac:spMk id="2" creationId="{5EB55963-2ED2-C1E7-9ABD-D06F094CD6BF}"/>
          </ac:spMkLst>
        </pc:spChg>
        <pc:spChg chg="del">
          <ac:chgData name="Hans Gelissen (DHL SSC Maastricht)" userId="1afa8510-4eed-4b73-a29e-678838cd8acd" providerId="ADAL" clId="{D4795083-EE21-4870-A6A1-CBEBAABF3C14}" dt="2023-06-05T10:42:16.854" v="2786" actId="478"/>
          <ac:spMkLst>
            <pc:docMk/>
            <pc:sldMk cId="754143519" sldId="398"/>
            <ac:spMk id="3" creationId="{76F77ACC-B350-D80B-F869-101C144789AF}"/>
          </ac:spMkLst>
        </pc:spChg>
        <pc:spChg chg="add mod">
          <ac:chgData name="Hans Gelissen (DHL SSC Maastricht)" userId="1afa8510-4eed-4b73-a29e-678838cd8acd" providerId="ADAL" clId="{D4795083-EE21-4870-A6A1-CBEBAABF3C14}" dt="2023-06-05T10:59:58.603" v="2980" actId="1076"/>
          <ac:spMkLst>
            <pc:docMk/>
            <pc:sldMk cId="754143519" sldId="398"/>
            <ac:spMk id="5" creationId="{39077DD3-FCDD-30C7-5480-C1A08E3944E5}"/>
          </ac:spMkLst>
        </pc:spChg>
        <pc:spChg chg="add mod">
          <ac:chgData name="Hans Gelissen (DHL SSC Maastricht)" userId="1afa8510-4eed-4b73-a29e-678838cd8acd" providerId="ADAL" clId="{D4795083-EE21-4870-A6A1-CBEBAABF3C14}" dt="2023-06-05T11:00:01.619" v="2981" actId="1076"/>
          <ac:spMkLst>
            <pc:docMk/>
            <pc:sldMk cId="754143519" sldId="398"/>
            <ac:spMk id="6" creationId="{AE4264F6-105D-962D-91FA-7687A44C3AAB}"/>
          </ac:spMkLst>
        </pc:spChg>
        <pc:spChg chg="add mod">
          <ac:chgData name="Hans Gelissen (DHL SSC Maastricht)" userId="1afa8510-4eed-4b73-a29e-678838cd8acd" providerId="ADAL" clId="{D4795083-EE21-4870-A6A1-CBEBAABF3C14}" dt="2023-06-05T11:00:04.810" v="2982" actId="1076"/>
          <ac:spMkLst>
            <pc:docMk/>
            <pc:sldMk cId="754143519" sldId="398"/>
            <ac:spMk id="7" creationId="{0D6484F5-76C1-835C-50B8-BB61D5B4A92B}"/>
          </ac:spMkLst>
        </pc:spChg>
        <pc:spChg chg="add mod ord">
          <ac:chgData name="Hans Gelissen (DHL SSC Maastricht)" userId="1afa8510-4eed-4b73-a29e-678838cd8acd" providerId="ADAL" clId="{D4795083-EE21-4870-A6A1-CBEBAABF3C14}" dt="2023-06-05T10:59:36.190" v="2972" actId="700"/>
          <ac:spMkLst>
            <pc:docMk/>
            <pc:sldMk cId="754143519" sldId="398"/>
            <ac:spMk id="8" creationId="{FCAFDEBF-F3F6-9340-0412-8E769BC5631F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0:52:43.470" v="2835" actId="478"/>
          <ac:spMkLst>
            <pc:docMk/>
            <pc:sldMk cId="754143519" sldId="398"/>
            <ac:spMk id="9" creationId="{DA628780-08E6-C86C-9C06-F71C83BB5C8F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0:59:36.190" v="2972" actId="700"/>
          <ac:spMkLst>
            <pc:docMk/>
            <pc:sldMk cId="754143519" sldId="398"/>
            <ac:spMk id="19" creationId="{12AB2980-45D4-712E-6FA0-660920178A45}"/>
          </ac:spMkLst>
        </pc:spChg>
        <pc:grpChg chg="add del mod">
          <ac:chgData name="Hans Gelissen (DHL SSC Maastricht)" userId="1afa8510-4eed-4b73-a29e-678838cd8acd" providerId="ADAL" clId="{D4795083-EE21-4870-A6A1-CBEBAABF3C14}" dt="2023-06-05T10:42:38.735" v="2791"/>
          <ac:grpSpMkLst>
            <pc:docMk/>
            <pc:sldMk cId="754143519" sldId="398"/>
            <ac:grpSpMk id="10" creationId="{BAC99C11-5044-D323-774A-F32801AFC984}"/>
          </ac:grpSpMkLst>
        </pc:grpChg>
        <pc:picChg chg="add del mod">
          <ac:chgData name="Hans Gelissen (DHL SSC Maastricht)" userId="1afa8510-4eed-4b73-a29e-678838cd8acd" providerId="ADAL" clId="{D4795083-EE21-4870-A6A1-CBEBAABF3C14}" dt="2023-06-05T10:49:40.881" v="2804" actId="478"/>
          <ac:picMkLst>
            <pc:docMk/>
            <pc:sldMk cId="754143519" sldId="398"/>
            <ac:picMk id="4" creationId="{7A491D64-D955-DF6E-07DB-6D560693BCCC}"/>
          </ac:picMkLst>
        </pc:picChg>
        <pc:picChg chg="mod">
          <ac:chgData name="Hans Gelissen (DHL SSC Maastricht)" userId="1afa8510-4eed-4b73-a29e-678838cd8acd" providerId="ADAL" clId="{D4795083-EE21-4870-A6A1-CBEBAABF3C14}" dt="2023-06-05T10:42:36.327" v="2790"/>
          <ac:picMkLst>
            <pc:docMk/>
            <pc:sldMk cId="754143519" sldId="398"/>
            <ac:picMk id="11" creationId="{5BA15C83-AD1E-7BD4-0884-073C80869E9D}"/>
          </ac:picMkLst>
        </pc:picChg>
        <pc:picChg chg="mod">
          <ac:chgData name="Hans Gelissen (DHL SSC Maastricht)" userId="1afa8510-4eed-4b73-a29e-678838cd8acd" providerId="ADAL" clId="{D4795083-EE21-4870-A6A1-CBEBAABF3C14}" dt="2023-06-05T10:42:36.327" v="2790"/>
          <ac:picMkLst>
            <pc:docMk/>
            <pc:sldMk cId="754143519" sldId="398"/>
            <ac:picMk id="12" creationId="{59A2549E-7F6F-3B88-1361-A0E8712CA383}"/>
          </ac:picMkLst>
        </pc:picChg>
        <pc:picChg chg="add del mod modCrop">
          <ac:chgData name="Hans Gelissen (DHL SSC Maastricht)" userId="1afa8510-4eed-4b73-a29e-678838cd8acd" providerId="ADAL" clId="{D4795083-EE21-4870-A6A1-CBEBAABF3C14}" dt="2023-06-05T10:51:38.568" v="2834" actId="478"/>
          <ac:picMkLst>
            <pc:docMk/>
            <pc:sldMk cId="754143519" sldId="398"/>
            <ac:picMk id="14" creationId="{6FEDD9E8-34BB-FF22-F091-5399E00C9448}"/>
          </ac:picMkLst>
        </pc:picChg>
        <pc:picChg chg="add del mod">
          <ac:chgData name="Hans Gelissen (DHL SSC Maastricht)" userId="1afa8510-4eed-4b73-a29e-678838cd8acd" providerId="ADAL" clId="{D4795083-EE21-4870-A6A1-CBEBAABF3C14}" dt="2023-06-05T10:54:01.850" v="2878" actId="478"/>
          <ac:picMkLst>
            <pc:docMk/>
            <pc:sldMk cId="754143519" sldId="398"/>
            <ac:picMk id="16" creationId="{4D4BA503-1BDC-35F3-868D-6217312BD847}"/>
          </ac:picMkLst>
        </pc:picChg>
        <pc:picChg chg="add mod ord modCrop">
          <ac:chgData name="Hans Gelissen (DHL SSC Maastricht)" userId="1afa8510-4eed-4b73-a29e-678838cd8acd" providerId="ADAL" clId="{D4795083-EE21-4870-A6A1-CBEBAABF3C14}" dt="2023-06-05T10:59:56.445" v="2979" actId="1076"/>
          <ac:picMkLst>
            <pc:docMk/>
            <pc:sldMk cId="754143519" sldId="398"/>
            <ac:picMk id="18" creationId="{CADB1EA9-DCBD-8EFE-4D39-46E2642C089D}"/>
          </ac:picMkLst>
        </pc:picChg>
        <pc:picChg chg="add del mod">
          <ac:chgData name="Hans Gelissen (DHL SSC Maastricht)" userId="1afa8510-4eed-4b73-a29e-678838cd8acd" providerId="ADAL" clId="{D4795083-EE21-4870-A6A1-CBEBAABF3C14}" dt="2023-06-05T10:45:56.227" v="2803" actId="478"/>
          <ac:picMkLst>
            <pc:docMk/>
            <pc:sldMk cId="754143519" sldId="398"/>
            <ac:picMk id="1026" creationId="{FC8F73CF-C412-CA79-35C4-BC65BD53CA56}"/>
          </ac:picMkLst>
        </pc:picChg>
        <pc:picChg chg="add del mod">
          <ac:chgData name="Hans Gelissen (DHL SSC Maastricht)" userId="1afa8510-4eed-4b73-a29e-678838cd8acd" providerId="ADAL" clId="{D4795083-EE21-4870-A6A1-CBEBAABF3C14}" dt="2023-06-05T10:57:04.755" v="2909" actId="478"/>
          <ac:picMkLst>
            <pc:docMk/>
            <pc:sldMk cId="754143519" sldId="398"/>
            <ac:picMk id="1028" creationId="{9BD40FE0-D558-2C8D-A22B-D97A7579940E}"/>
          </ac:picMkLst>
        </pc:picChg>
      </pc:sldChg>
      <pc:sldChg chg="addSp delSp modSp add mod modClrScheme addAnim delAnim modAnim chgLayout">
        <pc:chgData name="Hans Gelissen (DHL SSC Maastricht)" userId="1afa8510-4eed-4b73-a29e-678838cd8acd" providerId="ADAL" clId="{D4795083-EE21-4870-A6A1-CBEBAABF3C14}" dt="2023-06-07T07:40:28.213" v="12225" actId="478"/>
        <pc:sldMkLst>
          <pc:docMk/>
          <pc:sldMk cId="4243317250" sldId="399"/>
        </pc:sldMkLst>
        <pc:spChg chg="del mod ord">
          <ac:chgData name="Hans Gelissen (DHL SSC Maastricht)" userId="1afa8510-4eed-4b73-a29e-678838cd8acd" providerId="ADAL" clId="{D4795083-EE21-4870-A6A1-CBEBAABF3C14}" dt="2023-06-05T11:02:10.072" v="2991" actId="700"/>
          <ac:spMkLst>
            <pc:docMk/>
            <pc:sldMk cId="4243317250" sldId="399"/>
            <ac:spMk id="2" creationId="{5EB55963-2ED2-C1E7-9ABD-D06F094CD6BF}"/>
          </ac:spMkLst>
        </pc:spChg>
        <pc:spChg chg="del mod ord">
          <ac:chgData name="Hans Gelissen (DHL SSC Maastricht)" userId="1afa8510-4eed-4b73-a29e-678838cd8acd" providerId="ADAL" clId="{D4795083-EE21-4870-A6A1-CBEBAABF3C14}" dt="2023-06-05T11:02:10.072" v="2991" actId="700"/>
          <ac:spMkLst>
            <pc:docMk/>
            <pc:sldMk cId="4243317250" sldId="399"/>
            <ac:spMk id="3" creationId="{76F77ACC-B350-D80B-F869-101C144789AF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1:06:38.116" v="3053" actId="700"/>
          <ac:spMkLst>
            <pc:docMk/>
            <pc:sldMk cId="4243317250" sldId="399"/>
            <ac:spMk id="4" creationId="{E1324253-0A73-0912-3843-DC0777BA86C8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1:06:38.116" v="3053" actId="700"/>
          <ac:spMkLst>
            <pc:docMk/>
            <pc:sldMk cId="4243317250" sldId="399"/>
            <ac:spMk id="5" creationId="{44CE2D1B-7497-4A96-2DED-02F9B8CFEF91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1:07:18.615" v="3054" actId="700"/>
          <ac:spMkLst>
            <pc:docMk/>
            <pc:sldMk cId="4243317250" sldId="399"/>
            <ac:spMk id="9" creationId="{F84EA897-4B14-ADC6-AFDF-6A82A4126933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1:07:18.615" v="3054" actId="700"/>
          <ac:spMkLst>
            <pc:docMk/>
            <pc:sldMk cId="4243317250" sldId="399"/>
            <ac:spMk id="10" creationId="{D0B2B964-C547-96BD-D56B-041B8F8F607C}"/>
          </ac:spMkLst>
        </pc:spChg>
        <pc:spChg chg="add mod ord">
          <ac:chgData name="Hans Gelissen (DHL SSC Maastricht)" userId="1afa8510-4eed-4b73-a29e-678838cd8acd" providerId="ADAL" clId="{D4795083-EE21-4870-A6A1-CBEBAABF3C14}" dt="2023-06-05T11:22:07.895" v="3655"/>
          <ac:spMkLst>
            <pc:docMk/>
            <pc:sldMk cId="4243317250" sldId="399"/>
            <ac:spMk id="11" creationId="{511BBD94-9246-CC57-6239-A2397D4342EA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1:10:09.315" v="3063" actId="478"/>
          <ac:spMkLst>
            <pc:docMk/>
            <pc:sldMk cId="4243317250" sldId="399"/>
            <ac:spMk id="12" creationId="{ECB27526-86F4-7A7D-2206-A4F6D9481FE0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12.512" v="3656" actId="478"/>
          <ac:spMkLst>
            <pc:docMk/>
            <pc:sldMk cId="4243317250" sldId="399"/>
            <ac:spMk id="14" creationId="{AB9CB8A0-BE7F-4BAB-91EF-B3B48E5A681A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12.512" v="3656" actId="478"/>
          <ac:spMkLst>
            <pc:docMk/>
            <pc:sldMk cId="4243317250" sldId="399"/>
            <ac:spMk id="15" creationId="{DD684041-0261-EAB1-6CA0-D6ECCCC402AE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12.512" v="3656" actId="478"/>
          <ac:spMkLst>
            <pc:docMk/>
            <pc:sldMk cId="4243317250" sldId="399"/>
            <ac:spMk id="16" creationId="{6E7837A1-834F-ED45-1D3C-770723E08376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12.512" v="3656" actId="478"/>
          <ac:spMkLst>
            <pc:docMk/>
            <pc:sldMk cId="4243317250" sldId="399"/>
            <ac:spMk id="17" creationId="{60711273-F259-7801-BA23-0883F1D27948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12.512" v="3656" actId="478"/>
          <ac:spMkLst>
            <pc:docMk/>
            <pc:sldMk cId="4243317250" sldId="399"/>
            <ac:spMk id="18" creationId="{4227E617-72B7-9E1B-3A5E-759BC11CBE8F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12.512" v="3656" actId="478"/>
          <ac:spMkLst>
            <pc:docMk/>
            <pc:sldMk cId="4243317250" sldId="399"/>
            <ac:spMk id="19" creationId="{A3D797E4-58CD-DBCD-1111-A0D3BEB0A5AA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12.512" v="3656" actId="478"/>
          <ac:spMkLst>
            <pc:docMk/>
            <pc:sldMk cId="4243317250" sldId="399"/>
            <ac:spMk id="20" creationId="{2B4DE371-BE4B-D1C3-3531-9E5284886AE2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12.512" v="3656" actId="478"/>
          <ac:spMkLst>
            <pc:docMk/>
            <pc:sldMk cId="4243317250" sldId="399"/>
            <ac:spMk id="21" creationId="{EED7762F-336A-250C-99AA-BFFD4ABA9164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12.512" v="3656" actId="478"/>
          <ac:spMkLst>
            <pc:docMk/>
            <pc:sldMk cId="4243317250" sldId="399"/>
            <ac:spMk id="22" creationId="{2F72CDE5-BA58-4834-AE28-9F7340F3D9B6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12.512" v="3656" actId="478"/>
          <ac:spMkLst>
            <pc:docMk/>
            <pc:sldMk cId="4243317250" sldId="399"/>
            <ac:spMk id="23" creationId="{3E57C236-D40E-5ED9-4EE2-1D079E8CB6D0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12.512" v="3656" actId="478"/>
          <ac:spMkLst>
            <pc:docMk/>
            <pc:sldMk cId="4243317250" sldId="399"/>
            <ac:spMk id="24" creationId="{B4F93BFF-B3BF-6EF5-6763-696A8EF0C67E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12.512" v="3656" actId="478"/>
          <ac:spMkLst>
            <pc:docMk/>
            <pc:sldMk cId="4243317250" sldId="399"/>
            <ac:spMk id="25" creationId="{34A42275-341F-886F-79D3-76D5D178BED4}"/>
          </ac:spMkLst>
        </pc:spChg>
        <pc:spChg chg="add del mod">
          <ac:chgData name="Hans Gelissen (DHL SSC Maastricht)" userId="1afa8510-4eed-4b73-a29e-678838cd8acd" providerId="ADAL" clId="{D4795083-EE21-4870-A6A1-CBEBAABF3C14}" dt="2023-06-05T11:11:34.761" v="3099"/>
          <ac:spMkLst>
            <pc:docMk/>
            <pc:sldMk cId="4243317250" sldId="399"/>
            <ac:spMk id="26" creationId="{C13C3AD5-044A-D049-E9D2-1D4EC641F34F}"/>
          </ac:spMkLst>
        </pc:spChg>
        <pc:spChg chg="add del mod">
          <ac:chgData name="Hans Gelissen (DHL SSC Maastricht)" userId="1afa8510-4eed-4b73-a29e-678838cd8acd" providerId="ADAL" clId="{D4795083-EE21-4870-A6A1-CBEBAABF3C14}" dt="2023-06-05T11:22:32.948" v="3658" actId="478"/>
          <ac:spMkLst>
            <pc:docMk/>
            <pc:sldMk cId="4243317250" sldId="399"/>
            <ac:spMk id="27" creationId="{29591967-9452-88B5-9D0C-9D6253E1C4A4}"/>
          </ac:spMkLst>
        </pc:spChg>
        <pc:spChg chg="add mod">
          <ac:chgData name="Hans Gelissen (DHL SSC Maastricht)" userId="1afa8510-4eed-4b73-a29e-678838cd8acd" providerId="ADAL" clId="{D4795083-EE21-4870-A6A1-CBEBAABF3C14}" dt="2023-06-05T11:42:19.552" v="3824" actId="1076"/>
          <ac:spMkLst>
            <pc:docMk/>
            <pc:sldMk cId="4243317250" sldId="399"/>
            <ac:spMk id="28" creationId="{C06F013C-B2FC-D6EF-87C4-0A7A55591ECB}"/>
          </ac:spMkLst>
        </pc:spChg>
        <pc:spChg chg="add del">
          <ac:chgData name="Hans Gelissen (DHL SSC Maastricht)" userId="1afa8510-4eed-4b73-a29e-678838cd8acd" providerId="ADAL" clId="{D4795083-EE21-4870-A6A1-CBEBAABF3C14}" dt="2023-06-05T11:25:33.127" v="3670" actId="478"/>
          <ac:spMkLst>
            <pc:docMk/>
            <pc:sldMk cId="4243317250" sldId="399"/>
            <ac:spMk id="29" creationId="{27431CA9-C78D-175C-BC17-C45FD1E86742}"/>
          </ac:spMkLst>
        </pc:spChg>
        <pc:spChg chg="add del">
          <ac:chgData name="Hans Gelissen (DHL SSC Maastricht)" userId="1afa8510-4eed-4b73-a29e-678838cd8acd" providerId="ADAL" clId="{D4795083-EE21-4870-A6A1-CBEBAABF3C14}" dt="2023-06-05T11:25:37.274" v="3672"/>
          <ac:spMkLst>
            <pc:docMk/>
            <pc:sldMk cId="4243317250" sldId="399"/>
            <ac:spMk id="30" creationId="{272B033C-8B0E-9834-E600-799EBF503A8F}"/>
          </ac:spMkLst>
        </pc:spChg>
        <pc:spChg chg="add del mod ord">
          <ac:chgData name="Hans Gelissen (DHL SSC Maastricht)" userId="1afa8510-4eed-4b73-a29e-678838cd8acd" providerId="ADAL" clId="{D4795083-EE21-4870-A6A1-CBEBAABF3C14}" dt="2023-06-07T07:40:28.213" v="12225" actId="478"/>
          <ac:spMkLst>
            <pc:docMk/>
            <pc:sldMk cId="4243317250" sldId="399"/>
            <ac:spMk id="32" creationId="{FA43A87E-0F10-B3CB-5448-63DB660B900A}"/>
          </ac:spMkLst>
        </pc:spChg>
        <pc:picChg chg="add mod ord">
          <ac:chgData name="Hans Gelissen (DHL SSC Maastricht)" userId="1afa8510-4eed-4b73-a29e-678838cd8acd" providerId="ADAL" clId="{D4795083-EE21-4870-A6A1-CBEBAABF3C14}" dt="2023-06-05T11:10:57.595" v="3077" actId="166"/>
          <ac:picMkLst>
            <pc:docMk/>
            <pc:sldMk cId="4243317250" sldId="399"/>
            <ac:picMk id="6" creationId="{2E26CC62-2185-FC8E-6481-CF58B101BB1C}"/>
          </ac:picMkLst>
        </pc:picChg>
        <pc:picChg chg="add mod ord">
          <ac:chgData name="Hans Gelissen (DHL SSC Maastricht)" userId="1afa8510-4eed-4b73-a29e-678838cd8acd" providerId="ADAL" clId="{D4795083-EE21-4870-A6A1-CBEBAABF3C14}" dt="2023-06-05T11:10:57.595" v="3077" actId="166"/>
          <ac:picMkLst>
            <pc:docMk/>
            <pc:sldMk cId="4243317250" sldId="399"/>
            <ac:picMk id="7" creationId="{3F621081-E98C-3652-B151-3AECCF0501E6}"/>
          </ac:picMkLst>
        </pc:picChg>
        <pc:picChg chg="add del mod">
          <ac:chgData name="Hans Gelissen (DHL SSC Maastricht)" userId="1afa8510-4eed-4b73-a29e-678838cd8acd" providerId="ADAL" clId="{D4795083-EE21-4870-A6A1-CBEBAABF3C14}" dt="2023-06-05T11:04:29.892" v="3029" actId="21"/>
          <ac:picMkLst>
            <pc:docMk/>
            <pc:sldMk cId="4243317250" sldId="399"/>
            <ac:picMk id="8" creationId="{5B73CDE7-F1EC-F190-AE1D-46212BF9D7B2}"/>
          </ac:picMkLst>
        </pc:picChg>
        <pc:picChg chg="add mod ord">
          <ac:chgData name="Hans Gelissen (DHL SSC Maastricht)" userId="1afa8510-4eed-4b73-a29e-678838cd8acd" providerId="ADAL" clId="{D4795083-EE21-4870-A6A1-CBEBAABF3C14}" dt="2023-06-05T11:10:47.958" v="3076" actId="166"/>
          <ac:picMkLst>
            <pc:docMk/>
            <pc:sldMk cId="4243317250" sldId="399"/>
            <ac:picMk id="13" creationId="{761DE566-12CE-2C9E-C861-34A3A092885C}"/>
          </ac:picMkLst>
        </pc:picChg>
        <pc:picChg chg="add del mod">
          <ac:chgData name="Hans Gelissen (DHL SSC Maastricht)" userId="1afa8510-4eed-4b73-a29e-678838cd8acd" providerId="ADAL" clId="{D4795083-EE21-4870-A6A1-CBEBAABF3C14}" dt="2023-06-05T11:25:48.206" v="3675" actId="478"/>
          <ac:picMkLst>
            <pc:docMk/>
            <pc:sldMk cId="4243317250" sldId="399"/>
            <ac:picMk id="31" creationId="{56DA8A43-EAFA-2930-A236-4D65B9592992}"/>
          </ac:picMkLst>
        </pc:picChg>
        <pc:picChg chg="add del mod">
          <ac:chgData name="Hans Gelissen (DHL SSC Maastricht)" userId="1afa8510-4eed-4b73-a29e-678838cd8acd" providerId="ADAL" clId="{D4795083-EE21-4870-A6A1-CBEBAABF3C14}" dt="2023-06-05T11:36:17.302" v="3709" actId="478"/>
          <ac:picMkLst>
            <pc:docMk/>
            <pc:sldMk cId="4243317250" sldId="399"/>
            <ac:picMk id="34" creationId="{A7540F6D-EDFB-6ABD-A9AE-A77C548F86B2}"/>
          </ac:picMkLst>
        </pc:picChg>
        <pc:picChg chg="add del mod">
          <ac:chgData name="Hans Gelissen (DHL SSC Maastricht)" userId="1afa8510-4eed-4b73-a29e-678838cd8acd" providerId="ADAL" clId="{D4795083-EE21-4870-A6A1-CBEBAABF3C14}" dt="2023-06-05T11:34:56.054" v="3708" actId="478"/>
          <ac:picMkLst>
            <pc:docMk/>
            <pc:sldMk cId="4243317250" sldId="399"/>
            <ac:picMk id="36" creationId="{77EF38E5-4692-6D99-9562-32F86972469D}"/>
          </ac:picMkLst>
        </pc:picChg>
        <pc:picChg chg="add mod">
          <ac:chgData name="Hans Gelissen (DHL SSC Maastricht)" userId="1afa8510-4eed-4b73-a29e-678838cd8acd" providerId="ADAL" clId="{D4795083-EE21-4870-A6A1-CBEBAABF3C14}" dt="2023-06-05T11:42:19.552" v="3824" actId="1076"/>
          <ac:picMkLst>
            <pc:docMk/>
            <pc:sldMk cId="4243317250" sldId="399"/>
            <ac:picMk id="37" creationId="{C8B048EE-0773-5BA5-3F74-23C5E4F596F3}"/>
          </ac:picMkLst>
        </pc:picChg>
        <pc:picChg chg="add del mod">
          <ac:chgData name="Hans Gelissen (DHL SSC Maastricht)" userId="1afa8510-4eed-4b73-a29e-678838cd8acd" providerId="ADAL" clId="{D4795083-EE21-4870-A6A1-CBEBAABF3C14}" dt="2023-06-05T11:39:57.115" v="3800" actId="478"/>
          <ac:picMkLst>
            <pc:docMk/>
            <pc:sldMk cId="4243317250" sldId="399"/>
            <ac:picMk id="38" creationId="{0146B27F-E042-38E8-A1D2-A953BB18AE9F}"/>
          </ac:picMkLst>
        </pc:picChg>
        <pc:picChg chg="add del mod">
          <ac:chgData name="Hans Gelissen (DHL SSC Maastricht)" userId="1afa8510-4eed-4b73-a29e-678838cd8acd" providerId="ADAL" clId="{D4795083-EE21-4870-A6A1-CBEBAABF3C14}" dt="2023-06-05T11:41:12.826" v="3806" actId="478"/>
          <ac:picMkLst>
            <pc:docMk/>
            <pc:sldMk cId="4243317250" sldId="399"/>
            <ac:picMk id="39" creationId="{ADF5DC6C-379C-E846-8B93-BC5863E7A510}"/>
          </ac:picMkLst>
        </pc:picChg>
        <pc:picChg chg="add del mod">
          <ac:chgData name="Hans Gelissen (DHL SSC Maastricht)" userId="1afa8510-4eed-4b73-a29e-678838cd8acd" providerId="ADAL" clId="{D4795083-EE21-4870-A6A1-CBEBAABF3C14}" dt="2023-06-05T11:42:07.579" v="3823" actId="478"/>
          <ac:picMkLst>
            <pc:docMk/>
            <pc:sldMk cId="4243317250" sldId="399"/>
            <ac:picMk id="40" creationId="{0E81F8CD-C6F0-90E6-D324-B71ED22281B4}"/>
          </ac:picMkLst>
        </pc:picChg>
        <pc:picChg chg="add del mod ord">
          <ac:chgData name="Hans Gelissen (DHL SSC Maastricht)" userId="1afa8510-4eed-4b73-a29e-678838cd8acd" providerId="ADAL" clId="{D4795083-EE21-4870-A6A1-CBEBAABF3C14}" dt="2023-06-05T11:57:59.494" v="4343" actId="478"/>
          <ac:picMkLst>
            <pc:docMk/>
            <pc:sldMk cId="4243317250" sldId="399"/>
            <ac:picMk id="41" creationId="{781EC484-71E0-7863-4F3F-F0D3160152FC}"/>
          </ac:picMkLst>
        </pc:picChg>
        <pc:picChg chg="add del mod">
          <ac:chgData name="Hans Gelissen (DHL SSC Maastricht)" userId="1afa8510-4eed-4b73-a29e-678838cd8acd" providerId="ADAL" clId="{D4795083-EE21-4870-A6A1-CBEBAABF3C14}" dt="2023-06-05T11:32:10.971" v="3684" actId="478"/>
          <ac:picMkLst>
            <pc:docMk/>
            <pc:sldMk cId="4243317250" sldId="399"/>
            <ac:picMk id="7174" creationId="{1F03F2B0-ACE6-3E7A-630B-1BD44AAFB6CC}"/>
          </ac:picMkLst>
        </pc:picChg>
        <pc:picChg chg="add mod">
          <ac:chgData name="Hans Gelissen (DHL SSC Maastricht)" userId="1afa8510-4eed-4b73-a29e-678838cd8acd" providerId="ADAL" clId="{D4795083-EE21-4870-A6A1-CBEBAABF3C14}" dt="2023-06-05T11:57:08.500" v="4339" actId="1038"/>
          <ac:picMkLst>
            <pc:docMk/>
            <pc:sldMk cId="4243317250" sldId="399"/>
            <ac:picMk id="7176" creationId="{D323237E-00BE-F48F-3C67-61A4F117C4F7}"/>
          </ac:picMkLst>
        </pc:picChg>
        <pc:picChg chg="add mod">
          <ac:chgData name="Hans Gelissen (DHL SSC Maastricht)" userId="1afa8510-4eed-4b73-a29e-678838cd8acd" providerId="ADAL" clId="{D4795083-EE21-4870-A6A1-CBEBAABF3C14}" dt="2023-06-05T11:42:19.552" v="3824" actId="1076"/>
          <ac:picMkLst>
            <pc:docMk/>
            <pc:sldMk cId="4243317250" sldId="399"/>
            <ac:picMk id="7178" creationId="{6D193ECC-1117-2E07-76C3-32D020FB440D}"/>
          </ac:picMkLst>
        </pc:picChg>
        <pc:picChg chg="add mod">
          <ac:chgData name="Hans Gelissen (DHL SSC Maastricht)" userId="1afa8510-4eed-4b73-a29e-678838cd8acd" providerId="ADAL" clId="{D4795083-EE21-4870-A6A1-CBEBAABF3C14}" dt="2023-06-05T11:45:25.652" v="3859" actId="1038"/>
          <ac:picMkLst>
            <pc:docMk/>
            <pc:sldMk cId="4243317250" sldId="399"/>
            <ac:picMk id="7180" creationId="{3DB7683F-D71D-1455-2D87-1B7E83569A0B}"/>
          </ac:picMkLst>
        </pc:picChg>
      </pc:sldChg>
      <pc:sldChg chg="addSp delSp modSp add mod modClrScheme chgLayout">
        <pc:chgData name="Hans Gelissen (DHL SSC Maastricht)" userId="1afa8510-4eed-4b73-a29e-678838cd8acd" providerId="ADAL" clId="{D4795083-EE21-4870-A6A1-CBEBAABF3C14}" dt="2023-06-06T13:52:35.972" v="12175" actId="20577"/>
        <pc:sldMkLst>
          <pc:docMk/>
          <pc:sldMk cId="1557536270" sldId="400"/>
        </pc:sldMkLst>
        <pc:spChg chg="del mod ord">
          <ac:chgData name="Hans Gelissen (DHL SSC Maastricht)" userId="1afa8510-4eed-4b73-a29e-678838cd8acd" providerId="ADAL" clId="{D4795083-EE21-4870-A6A1-CBEBAABF3C14}" dt="2023-06-05T11:59:00.362" v="4351" actId="700"/>
          <ac:spMkLst>
            <pc:docMk/>
            <pc:sldMk cId="1557536270" sldId="400"/>
            <ac:spMk id="2" creationId="{5EB55963-2ED2-C1E7-9ABD-D06F094CD6BF}"/>
          </ac:spMkLst>
        </pc:spChg>
        <pc:spChg chg="del">
          <ac:chgData name="Hans Gelissen (DHL SSC Maastricht)" userId="1afa8510-4eed-4b73-a29e-678838cd8acd" providerId="ADAL" clId="{D4795083-EE21-4870-A6A1-CBEBAABF3C14}" dt="2023-06-05T11:59:00.362" v="4351" actId="700"/>
          <ac:spMkLst>
            <pc:docMk/>
            <pc:sldMk cId="1557536270" sldId="400"/>
            <ac:spMk id="3" creationId="{76F77ACC-B350-D80B-F869-101C144789AF}"/>
          </ac:spMkLst>
        </pc:spChg>
        <pc:spChg chg="add mod">
          <ac:chgData name="Hans Gelissen (DHL SSC Maastricht)" userId="1afa8510-4eed-4b73-a29e-678838cd8acd" providerId="ADAL" clId="{D4795083-EE21-4870-A6A1-CBEBAABF3C14}" dt="2023-06-05T12:01:07.503" v="4553" actId="14100"/>
          <ac:spMkLst>
            <pc:docMk/>
            <pc:sldMk cId="1557536270" sldId="400"/>
            <ac:spMk id="4" creationId="{6AC2ACEC-F66D-402A-C111-2902D0534414}"/>
          </ac:spMkLst>
        </pc:spChg>
        <pc:spChg chg="add mod">
          <ac:chgData name="Hans Gelissen (DHL SSC Maastricht)" userId="1afa8510-4eed-4b73-a29e-678838cd8acd" providerId="ADAL" clId="{D4795083-EE21-4870-A6A1-CBEBAABF3C14}" dt="2023-06-05T12:02:38.984" v="4639" actId="1076"/>
          <ac:spMkLst>
            <pc:docMk/>
            <pc:sldMk cId="1557536270" sldId="400"/>
            <ac:spMk id="5" creationId="{930FC171-2D7B-0F6D-C5FC-E0B98F1F5B10}"/>
          </ac:spMkLst>
        </pc:spChg>
        <pc:spChg chg="add mod ord">
          <ac:chgData name="Hans Gelissen (DHL SSC Maastricht)" userId="1afa8510-4eed-4b73-a29e-678838cd8acd" providerId="ADAL" clId="{D4795083-EE21-4870-A6A1-CBEBAABF3C14}" dt="2023-06-06T13:52:35.972" v="12175" actId="20577"/>
          <ac:spMkLst>
            <pc:docMk/>
            <pc:sldMk cId="1557536270" sldId="400"/>
            <ac:spMk id="6" creationId="{7534A2D9-3072-26C4-1EBB-218B5532DDB4}"/>
          </ac:spMkLst>
        </pc:spChg>
      </pc:sldChg>
      <pc:sldChg chg="addSp delSp modSp add mod ord modClrScheme modAnim chgLayout">
        <pc:chgData name="Hans Gelissen (DHL SSC Maastricht)" userId="1afa8510-4eed-4b73-a29e-678838cd8acd" providerId="ADAL" clId="{D4795083-EE21-4870-A6A1-CBEBAABF3C14}" dt="2023-06-07T07:43:32.061" v="12231" actId="478"/>
        <pc:sldMkLst>
          <pc:docMk/>
          <pc:sldMk cId="668524695" sldId="401"/>
        </pc:sldMkLst>
        <pc:spChg chg="mod ord">
          <ac:chgData name="Hans Gelissen (DHL SSC Maastricht)" userId="1afa8510-4eed-4b73-a29e-678838cd8acd" providerId="ADAL" clId="{D4795083-EE21-4870-A6A1-CBEBAABF3C14}" dt="2023-06-06T13:55:19.080" v="12176" actId="20577"/>
          <ac:spMkLst>
            <pc:docMk/>
            <pc:sldMk cId="668524695" sldId="401"/>
            <ac:spMk id="2" creationId="{5EB55963-2ED2-C1E7-9ABD-D06F094CD6BF}"/>
          </ac:spMkLst>
        </pc:spChg>
        <pc:spChg chg="del">
          <ac:chgData name="Hans Gelissen (DHL SSC Maastricht)" userId="1afa8510-4eed-4b73-a29e-678838cd8acd" providerId="ADAL" clId="{D4795083-EE21-4870-A6A1-CBEBAABF3C14}" dt="2023-06-05T12:09:44.611" v="4654" actId="478"/>
          <ac:spMkLst>
            <pc:docMk/>
            <pc:sldMk cId="668524695" sldId="401"/>
            <ac:spMk id="3" creationId="{76F77ACC-B350-D80B-F869-101C144789AF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2:11:11.281" v="4685" actId="478"/>
          <ac:spMkLst>
            <pc:docMk/>
            <pc:sldMk cId="668524695" sldId="401"/>
            <ac:spMk id="4" creationId="{8677AE25-12F3-09DF-A25D-F26748407645}"/>
          </ac:spMkLst>
        </pc:spChg>
        <pc:spChg chg="add del mod">
          <ac:chgData name="Hans Gelissen (DHL SSC Maastricht)" userId="1afa8510-4eed-4b73-a29e-678838cd8acd" providerId="ADAL" clId="{D4795083-EE21-4870-A6A1-CBEBAABF3C14}" dt="2023-06-05T12:13:34.559" v="4703" actId="21"/>
          <ac:spMkLst>
            <pc:docMk/>
            <pc:sldMk cId="668524695" sldId="401"/>
            <ac:spMk id="7" creationId="{A7CF347A-967D-4AAF-46A3-3755F098E565}"/>
          </ac:spMkLst>
        </pc:spChg>
        <pc:spChg chg="add del mod">
          <ac:chgData name="Hans Gelissen (DHL SSC Maastricht)" userId="1afa8510-4eed-4b73-a29e-678838cd8acd" providerId="ADAL" clId="{D4795083-EE21-4870-A6A1-CBEBAABF3C14}" dt="2023-06-05T12:13:34.559" v="4703" actId="21"/>
          <ac:spMkLst>
            <pc:docMk/>
            <pc:sldMk cId="668524695" sldId="401"/>
            <ac:spMk id="8" creationId="{47FAFCED-8579-2766-63E4-3FE317421495}"/>
          </ac:spMkLst>
        </pc:spChg>
        <pc:spChg chg="add del mod">
          <ac:chgData name="Hans Gelissen (DHL SSC Maastricht)" userId="1afa8510-4eed-4b73-a29e-678838cd8acd" providerId="ADAL" clId="{D4795083-EE21-4870-A6A1-CBEBAABF3C14}" dt="2023-06-05T12:13:34.559" v="4703" actId="21"/>
          <ac:spMkLst>
            <pc:docMk/>
            <pc:sldMk cId="668524695" sldId="401"/>
            <ac:spMk id="9" creationId="{1BFD9DCD-53DD-7E53-A20A-5CACD4D4B401}"/>
          </ac:spMkLst>
        </pc:spChg>
        <pc:spChg chg="add del mod">
          <ac:chgData name="Hans Gelissen (DHL SSC Maastricht)" userId="1afa8510-4eed-4b73-a29e-678838cd8acd" providerId="ADAL" clId="{D4795083-EE21-4870-A6A1-CBEBAABF3C14}" dt="2023-06-07T07:43:32.061" v="12231" actId="478"/>
          <ac:spMkLst>
            <pc:docMk/>
            <pc:sldMk cId="668524695" sldId="401"/>
            <ac:spMk id="12" creationId="{FDDA39FF-D1F9-E839-58EB-4A7ECE2A284C}"/>
          </ac:spMkLst>
        </pc:spChg>
        <pc:spChg chg="add del mod">
          <ac:chgData name="Hans Gelissen (DHL SSC Maastricht)" userId="1afa8510-4eed-4b73-a29e-678838cd8acd" providerId="ADAL" clId="{D4795083-EE21-4870-A6A1-CBEBAABF3C14}" dt="2023-06-07T07:43:32.061" v="12231" actId="478"/>
          <ac:spMkLst>
            <pc:docMk/>
            <pc:sldMk cId="668524695" sldId="401"/>
            <ac:spMk id="13" creationId="{4787A2F4-E205-7542-E806-71C8EBEB631F}"/>
          </ac:spMkLst>
        </pc:spChg>
        <pc:spChg chg="add del mod">
          <ac:chgData name="Hans Gelissen (DHL SSC Maastricht)" userId="1afa8510-4eed-4b73-a29e-678838cd8acd" providerId="ADAL" clId="{D4795083-EE21-4870-A6A1-CBEBAABF3C14}" dt="2023-06-07T07:43:32.061" v="12231" actId="478"/>
          <ac:spMkLst>
            <pc:docMk/>
            <pc:sldMk cId="668524695" sldId="401"/>
            <ac:spMk id="14" creationId="{4E5018CC-D22B-2889-9794-21F0484F2487}"/>
          </ac:spMkLst>
        </pc:spChg>
        <pc:spChg chg="add del mod">
          <ac:chgData name="Hans Gelissen (DHL SSC Maastricht)" userId="1afa8510-4eed-4b73-a29e-678838cd8acd" providerId="ADAL" clId="{D4795083-EE21-4870-A6A1-CBEBAABF3C14}" dt="2023-06-07T07:43:32.061" v="12231" actId="478"/>
          <ac:spMkLst>
            <pc:docMk/>
            <pc:sldMk cId="668524695" sldId="401"/>
            <ac:spMk id="15" creationId="{140329FC-4C14-860B-7E3C-47C0E94A1A76}"/>
          </ac:spMkLst>
        </pc:spChg>
        <pc:spChg chg="add del mod">
          <ac:chgData name="Hans Gelissen (DHL SSC Maastricht)" userId="1afa8510-4eed-4b73-a29e-678838cd8acd" providerId="ADAL" clId="{D4795083-EE21-4870-A6A1-CBEBAABF3C14}" dt="2023-06-07T07:43:32.061" v="12231" actId="478"/>
          <ac:spMkLst>
            <pc:docMk/>
            <pc:sldMk cId="668524695" sldId="401"/>
            <ac:spMk id="16" creationId="{D194D3DA-2AD6-54DD-DD3E-F2EFA9CF6362}"/>
          </ac:spMkLst>
        </pc:spChg>
        <pc:spChg chg="add del mod">
          <ac:chgData name="Hans Gelissen (DHL SSC Maastricht)" userId="1afa8510-4eed-4b73-a29e-678838cd8acd" providerId="ADAL" clId="{D4795083-EE21-4870-A6A1-CBEBAABF3C14}" dt="2023-06-07T07:43:32.061" v="12231" actId="478"/>
          <ac:spMkLst>
            <pc:docMk/>
            <pc:sldMk cId="668524695" sldId="401"/>
            <ac:spMk id="17" creationId="{D7CF0875-61EB-1860-D99D-979D24B2E675}"/>
          </ac:spMkLst>
        </pc:spChg>
        <pc:picChg chg="add del mod">
          <ac:chgData name="Hans Gelissen (DHL SSC Maastricht)" userId="1afa8510-4eed-4b73-a29e-678838cd8acd" providerId="ADAL" clId="{D4795083-EE21-4870-A6A1-CBEBAABF3C14}" dt="2023-06-05T12:18:38.013" v="4733" actId="478"/>
          <ac:picMkLst>
            <pc:docMk/>
            <pc:sldMk cId="668524695" sldId="401"/>
            <ac:picMk id="6" creationId="{2771E65D-E42C-C5BC-A597-FB5E46FFE950}"/>
          </ac:picMkLst>
        </pc:picChg>
        <pc:picChg chg="add mod ord modCrop">
          <ac:chgData name="Hans Gelissen (DHL SSC Maastricht)" userId="1afa8510-4eed-4b73-a29e-678838cd8acd" providerId="ADAL" clId="{D4795083-EE21-4870-A6A1-CBEBAABF3C14}" dt="2023-06-05T13:19:06.074" v="6334" actId="167"/>
          <ac:picMkLst>
            <pc:docMk/>
            <pc:sldMk cId="668524695" sldId="401"/>
            <ac:picMk id="11" creationId="{E07A7832-823E-3FFB-689E-9B198B768CD2}"/>
          </ac:picMkLst>
        </pc:picChg>
        <pc:picChg chg="add mod ord">
          <ac:chgData name="Hans Gelissen (DHL SSC Maastricht)" userId="1afa8510-4eed-4b73-a29e-678838cd8acd" providerId="ADAL" clId="{D4795083-EE21-4870-A6A1-CBEBAABF3C14}" dt="2023-06-05T13:39:16.999" v="6808"/>
          <ac:picMkLst>
            <pc:docMk/>
            <pc:sldMk cId="668524695" sldId="401"/>
            <ac:picMk id="18" creationId="{AAD7AAD6-5C89-4B62-BB30-0F58080CB7CF}"/>
          </ac:picMkLst>
        </pc:picChg>
        <pc:picChg chg="add del mod">
          <ac:chgData name="Hans Gelissen (DHL SSC Maastricht)" userId="1afa8510-4eed-4b73-a29e-678838cd8acd" providerId="ADAL" clId="{D4795083-EE21-4870-A6A1-CBEBAABF3C14}" dt="2023-06-05T13:18:42.031" v="6328"/>
          <ac:picMkLst>
            <pc:docMk/>
            <pc:sldMk cId="668524695" sldId="401"/>
            <ac:picMk id="19" creationId="{33B08315-23C4-A299-B3E5-522AE9E5506F}"/>
          </ac:picMkLst>
        </pc:picChg>
        <pc:picChg chg="add del mod">
          <ac:chgData name="Hans Gelissen (DHL SSC Maastricht)" userId="1afa8510-4eed-4b73-a29e-678838cd8acd" providerId="ADAL" clId="{D4795083-EE21-4870-A6A1-CBEBAABF3C14}" dt="2023-06-05T13:18:42.031" v="6328"/>
          <ac:picMkLst>
            <pc:docMk/>
            <pc:sldMk cId="668524695" sldId="401"/>
            <ac:picMk id="20" creationId="{F0636550-D88E-1EF5-0588-0BD2002BA952}"/>
          </ac:picMkLst>
        </pc:picChg>
        <pc:picChg chg="add mod ord">
          <ac:chgData name="Hans Gelissen (DHL SSC Maastricht)" userId="1afa8510-4eed-4b73-a29e-678838cd8acd" providerId="ADAL" clId="{D4795083-EE21-4870-A6A1-CBEBAABF3C14}" dt="2023-06-05T13:19:02.478" v="6333" actId="167"/>
          <ac:picMkLst>
            <pc:docMk/>
            <pc:sldMk cId="668524695" sldId="401"/>
            <ac:picMk id="21" creationId="{94EFD196-B658-E7D9-E99A-1758A4B49E5B}"/>
          </ac:picMkLst>
        </pc:picChg>
      </pc:sldChg>
      <pc:sldChg chg="addSp delSp modSp add mod addAnim delAnim modAnim">
        <pc:chgData name="Hans Gelissen (DHL SSC Maastricht)" userId="1afa8510-4eed-4b73-a29e-678838cd8acd" providerId="ADAL" clId="{D4795083-EE21-4870-A6A1-CBEBAABF3C14}" dt="2023-06-07T07:41:27.756" v="12227" actId="478"/>
        <pc:sldMkLst>
          <pc:docMk/>
          <pc:sldMk cId="1368075594" sldId="402"/>
        </pc:sldMkLst>
        <pc:spChg chg="mod">
          <ac:chgData name="Hans Gelissen (DHL SSC Maastricht)" userId="1afa8510-4eed-4b73-a29e-678838cd8acd" providerId="ADAL" clId="{D4795083-EE21-4870-A6A1-CBEBAABF3C14}" dt="2023-06-05T11:48:07.767" v="3964" actId="20577"/>
          <ac:spMkLst>
            <pc:docMk/>
            <pc:sldMk cId="1368075594" sldId="402"/>
            <ac:spMk id="4" creationId="{E1324253-0A73-0912-3843-DC0777BA86C8}"/>
          </ac:spMkLst>
        </pc:spChg>
        <pc:spChg chg="del">
          <ac:chgData name="Hans Gelissen (DHL SSC Maastricht)" userId="1afa8510-4eed-4b73-a29e-678838cd8acd" providerId="ADAL" clId="{D4795083-EE21-4870-A6A1-CBEBAABF3C14}" dt="2023-06-05T11:45:53.808" v="3860" actId="478"/>
          <ac:spMkLst>
            <pc:docMk/>
            <pc:sldMk cId="1368075594" sldId="402"/>
            <ac:spMk id="5" creationId="{44CE2D1B-7497-4A96-2DED-02F9B8CFEF91}"/>
          </ac:spMkLst>
        </pc:spChg>
        <pc:spChg chg="add mod">
          <ac:chgData name="Hans Gelissen (DHL SSC Maastricht)" userId="1afa8510-4eed-4b73-a29e-678838cd8acd" providerId="ADAL" clId="{D4795083-EE21-4870-A6A1-CBEBAABF3C14}" dt="2023-06-05T11:46:52.049" v="3911" actId="14100"/>
          <ac:spMkLst>
            <pc:docMk/>
            <pc:sldMk cId="1368075594" sldId="402"/>
            <ac:spMk id="8" creationId="{492F1691-EE48-2835-1239-9409F0EA0D3D}"/>
          </ac:spMkLst>
        </pc:spChg>
        <pc:spChg chg="add del mod">
          <ac:chgData name="Hans Gelissen (DHL SSC Maastricht)" userId="1afa8510-4eed-4b73-a29e-678838cd8acd" providerId="ADAL" clId="{D4795083-EE21-4870-A6A1-CBEBAABF3C14}" dt="2023-06-07T07:41:27.756" v="12227" actId="478"/>
          <ac:spMkLst>
            <pc:docMk/>
            <pc:sldMk cId="1368075594" sldId="402"/>
            <ac:spMk id="9" creationId="{B0481C5B-1D00-908B-4809-B39FB993AFB9}"/>
          </ac:spMkLst>
        </pc:spChg>
        <pc:picChg chg="add mod">
          <ac:chgData name="Hans Gelissen (DHL SSC Maastricht)" userId="1afa8510-4eed-4b73-a29e-678838cd8acd" providerId="ADAL" clId="{D4795083-EE21-4870-A6A1-CBEBAABF3C14}" dt="2023-06-05T11:05:12.523" v="3042"/>
          <ac:picMkLst>
            <pc:docMk/>
            <pc:sldMk cId="1368075594" sldId="402"/>
            <ac:picMk id="2" creationId="{2F6311C2-547A-2EF3-29E1-92529C6BAFA9}"/>
          </ac:picMkLst>
        </pc:picChg>
        <pc:picChg chg="add mod">
          <ac:chgData name="Hans Gelissen (DHL SSC Maastricht)" userId="1afa8510-4eed-4b73-a29e-678838cd8acd" providerId="ADAL" clId="{D4795083-EE21-4870-A6A1-CBEBAABF3C14}" dt="2023-06-05T11:07:43.916" v="3058"/>
          <ac:picMkLst>
            <pc:docMk/>
            <pc:sldMk cId="1368075594" sldId="402"/>
            <ac:picMk id="3" creationId="{2DC90BE8-D27D-3687-28EE-8E010B093C8C}"/>
          </ac:picMkLst>
        </pc:picChg>
        <pc:picChg chg="del">
          <ac:chgData name="Hans Gelissen (DHL SSC Maastricht)" userId="1afa8510-4eed-4b73-a29e-678838cd8acd" providerId="ADAL" clId="{D4795083-EE21-4870-A6A1-CBEBAABF3C14}" dt="2023-06-05T11:04:06.685" v="3024" actId="478"/>
          <ac:picMkLst>
            <pc:docMk/>
            <pc:sldMk cId="1368075594" sldId="402"/>
            <ac:picMk id="7" creationId="{3F621081-E98C-3652-B151-3AECCF0501E6}"/>
          </ac:picMkLst>
        </pc:picChg>
        <pc:picChg chg="add del mod ord">
          <ac:chgData name="Hans Gelissen (DHL SSC Maastricht)" userId="1afa8510-4eed-4b73-a29e-678838cd8acd" providerId="ADAL" clId="{D4795083-EE21-4870-A6A1-CBEBAABF3C14}" dt="2023-06-05T11:58:04.342" v="4345" actId="478"/>
          <ac:picMkLst>
            <pc:docMk/>
            <pc:sldMk cId="1368075594" sldId="402"/>
            <ac:picMk id="10" creationId="{CA767A17-ACBC-6306-2333-3B2423CBB301}"/>
          </ac:picMkLst>
        </pc:picChg>
      </pc:sldChg>
      <pc:sldChg chg="addSp delSp modSp add mod addAnim delAnim modAnim">
        <pc:chgData name="Hans Gelissen (DHL SSC Maastricht)" userId="1afa8510-4eed-4b73-a29e-678838cd8acd" providerId="ADAL" clId="{D4795083-EE21-4870-A6A1-CBEBAABF3C14}" dt="2023-06-07T07:42:31.801" v="12229" actId="478"/>
        <pc:sldMkLst>
          <pc:docMk/>
          <pc:sldMk cId="2963034743" sldId="403"/>
        </pc:sldMkLst>
        <pc:spChg chg="mod">
          <ac:chgData name="Hans Gelissen (DHL SSC Maastricht)" userId="1afa8510-4eed-4b73-a29e-678838cd8acd" providerId="ADAL" clId="{D4795083-EE21-4870-A6A1-CBEBAABF3C14}" dt="2023-06-05T11:48:12.034" v="3966" actId="20577"/>
          <ac:spMkLst>
            <pc:docMk/>
            <pc:sldMk cId="2963034743" sldId="403"/>
            <ac:spMk id="4" creationId="{E1324253-0A73-0912-3843-DC0777BA86C8}"/>
          </ac:spMkLst>
        </pc:spChg>
        <pc:spChg chg="del">
          <ac:chgData name="Hans Gelissen (DHL SSC Maastricht)" userId="1afa8510-4eed-4b73-a29e-678838cd8acd" providerId="ADAL" clId="{D4795083-EE21-4870-A6A1-CBEBAABF3C14}" dt="2023-06-05T11:48:15.359" v="3967" actId="478"/>
          <ac:spMkLst>
            <pc:docMk/>
            <pc:sldMk cId="2963034743" sldId="403"/>
            <ac:spMk id="5" creationId="{44CE2D1B-7497-4A96-2DED-02F9B8CFEF91}"/>
          </ac:spMkLst>
        </pc:spChg>
        <pc:spChg chg="mod topLvl">
          <ac:chgData name="Hans Gelissen (DHL SSC Maastricht)" userId="1afa8510-4eed-4b73-a29e-678838cd8acd" providerId="ADAL" clId="{D4795083-EE21-4870-A6A1-CBEBAABF3C14}" dt="2023-06-05T11:52:20.668" v="4291" actId="164"/>
          <ac:spMkLst>
            <pc:docMk/>
            <pc:sldMk cId="2963034743" sldId="403"/>
            <ac:spMk id="9" creationId="{F8A87CEB-07A1-B5DF-D186-8EDC2955F724}"/>
          </ac:spMkLst>
        </pc:spChg>
        <pc:spChg chg="mod topLvl">
          <ac:chgData name="Hans Gelissen (DHL SSC Maastricht)" userId="1afa8510-4eed-4b73-a29e-678838cd8acd" providerId="ADAL" clId="{D4795083-EE21-4870-A6A1-CBEBAABF3C14}" dt="2023-06-05T11:52:20.668" v="4291" actId="164"/>
          <ac:spMkLst>
            <pc:docMk/>
            <pc:sldMk cId="2963034743" sldId="403"/>
            <ac:spMk id="10" creationId="{FAC044F7-1D04-9AA6-8C09-41C5C1BF5391}"/>
          </ac:spMkLst>
        </pc:spChg>
        <pc:spChg chg="mod topLvl">
          <ac:chgData name="Hans Gelissen (DHL SSC Maastricht)" userId="1afa8510-4eed-4b73-a29e-678838cd8acd" providerId="ADAL" clId="{D4795083-EE21-4870-A6A1-CBEBAABF3C14}" dt="2023-06-05T12:02:08.148" v="4617" actId="20577"/>
          <ac:spMkLst>
            <pc:docMk/>
            <pc:sldMk cId="2963034743" sldId="403"/>
            <ac:spMk id="11" creationId="{31E79BB7-5207-7EE0-FD0E-5B82FA208013}"/>
          </ac:spMkLst>
        </pc:spChg>
        <pc:spChg chg="del mod topLvl">
          <ac:chgData name="Hans Gelissen (DHL SSC Maastricht)" userId="1afa8510-4eed-4b73-a29e-678838cd8acd" providerId="ADAL" clId="{D4795083-EE21-4870-A6A1-CBEBAABF3C14}" dt="2023-06-05T11:48:33.158" v="3970" actId="478"/>
          <ac:spMkLst>
            <pc:docMk/>
            <pc:sldMk cId="2963034743" sldId="403"/>
            <ac:spMk id="12" creationId="{47F06104-02D8-31B2-0E08-2B0BBD0EF0BD}"/>
          </ac:spMkLst>
        </pc:spChg>
        <pc:spChg chg="del mod topLvl">
          <ac:chgData name="Hans Gelissen (DHL SSC Maastricht)" userId="1afa8510-4eed-4b73-a29e-678838cd8acd" providerId="ADAL" clId="{D4795083-EE21-4870-A6A1-CBEBAABF3C14}" dt="2023-06-05T11:48:33.158" v="3970" actId="478"/>
          <ac:spMkLst>
            <pc:docMk/>
            <pc:sldMk cId="2963034743" sldId="403"/>
            <ac:spMk id="13" creationId="{25021E3F-69FC-91AC-5AD0-0DC2B09AC145}"/>
          </ac:spMkLst>
        </pc:spChg>
        <pc:spChg chg="del mod topLvl">
          <ac:chgData name="Hans Gelissen (DHL SSC Maastricht)" userId="1afa8510-4eed-4b73-a29e-678838cd8acd" providerId="ADAL" clId="{D4795083-EE21-4870-A6A1-CBEBAABF3C14}" dt="2023-06-05T11:48:33.158" v="3970" actId="478"/>
          <ac:spMkLst>
            <pc:docMk/>
            <pc:sldMk cId="2963034743" sldId="403"/>
            <ac:spMk id="14" creationId="{C61B04BC-15DB-3DBD-4314-4C3A21624567}"/>
          </ac:spMkLst>
        </pc:spChg>
        <pc:spChg chg="add del mod">
          <ac:chgData name="Hans Gelissen (DHL SSC Maastricht)" userId="1afa8510-4eed-4b73-a29e-678838cd8acd" providerId="ADAL" clId="{D4795083-EE21-4870-A6A1-CBEBAABF3C14}" dt="2023-06-07T07:42:31.801" v="12229" actId="478"/>
          <ac:spMkLst>
            <pc:docMk/>
            <pc:sldMk cId="2963034743" sldId="403"/>
            <ac:spMk id="15" creationId="{FA70F109-94F0-D993-9C23-F1A5AD39309A}"/>
          </ac:spMkLst>
        </pc:spChg>
        <pc:spChg chg="add del mod">
          <ac:chgData name="Hans Gelissen (DHL SSC Maastricht)" userId="1afa8510-4eed-4b73-a29e-678838cd8acd" providerId="ADAL" clId="{D4795083-EE21-4870-A6A1-CBEBAABF3C14}" dt="2023-06-07T07:42:31.801" v="12229" actId="478"/>
          <ac:spMkLst>
            <pc:docMk/>
            <pc:sldMk cId="2963034743" sldId="403"/>
            <ac:spMk id="16" creationId="{28AE026A-F70B-7903-97A8-3A67F225D976}"/>
          </ac:spMkLst>
        </pc:spChg>
        <pc:spChg chg="add del mod">
          <ac:chgData name="Hans Gelissen (DHL SSC Maastricht)" userId="1afa8510-4eed-4b73-a29e-678838cd8acd" providerId="ADAL" clId="{D4795083-EE21-4870-A6A1-CBEBAABF3C14}" dt="2023-06-07T07:42:31.801" v="12229" actId="478"/>
          <ac:spMkLst>
            <pc:docMk/>
            <pc:sldMk cId="2963034743" sldId="403"/>
            <ac:spMk id="17" creationId="{91585F11-342D-7521-ED7B-2A093FDF8129}"/>
          </ac:spMkLst>
        </pc:spChg>
        <pc:grpChg chg="add del mod">
          <ac:chgData name="Hans Gelissen (DHL SSC Maastricht)" userId="1afa8510-4eed-4b73-a29e-678838cd8acd" providerId="ADAL" clId="{D4795083-EE21-4870-A6A1-CBEBAABF3C14}" dt="2023-06-05T11:48:30.148" v="3969" actId="165"/>
          <ac:grpSpMkLst>
            <pc:docMk/>
            <pc:sldMk cId="2963034743" sldId="403"/>
            <ac:grpSpMk id="8" creationId="{2538F579-AE0F-69FE-844E-058B08E8386A}"/>
          </ac:grpSpMkLst>
        </pc:grpChg>
        <pc:grpChg chg="add del mod">
          <ac:chgData name="Hans Gelissen (DHL SSC Maastricht)" userId="1afa8510-4eed-4b73-a29e-678838cd8acd" providerId="ADAL" clId="{D4795083-EE21-4870-A6A1-CBEBAABF3C14}" dt="2023-06-07T07:42:31.801" v="12229" actId="478"/>
          <ac:grpSpMkLst>
            <pc:docMk/>
            <pc:sldMk cId="2963034743" sldId="403"/>
            <ac:grpSpMk id="18" creationId="{409A6436-8C34-B7BB-0000-B166CE79D51C}"/>
          </ac:grpSpMkLst>
        </pc:grpChg>
        <pc:picChg chg="add mod ord">
          <ac:chgData name="Hans Gelissen (DHL SSC Maastricht)" userId="1afa8510-4eed-4b73-a29e-678838cd8acd" providerId="ADAL" clId="{D4795083-EE21-4870-A6A1-CBEBAABF3C14}" dt="2023-06-05T11:48:21.210" v="3968" actId="166"/>
          <ac:picMkLst>
            <pc:docMk/>
            <pc:sldMk cId="2963034743" sldId="403"/>
            <ac:picMk id="2" creationId="{40071259-7DD4-04CD-75C6-077F60C5F8D6}"/>
          </ac:picMkLst>
        </pc:picChg>
        <pc:picChg chg="add mod ord">
          <ac:chgData name="Hans Gelissen (DHL SSC Maastricht)" userId="1afa8510-4eed-4b73-a29e-678838cd8acd" providerId="ADAL" clId="{D4795083-EE21-4870-A6A1-CBEBAABF3C14}" dt="2023-06-05T11:48:21.210" v="3968" actId="166"/>
          <ac:picMkLst>
            <pc:docMk/>
            <pc:sldMk cId="2963034743" sldId="403"/>
            <ac:picMk id="3" creationId="{E4FDAF2F-ADAE-B35E-B2F5-1AD47181EB33}"/>
          </ac:picMkLst>
        </pc:picChg>
        <pc:picChg chg="ord">
          <ac:chgData name="Hans Gelissen (DHL SSC Maastricht)" userId="1afa8510-4eed-4b73-a29e-678838cd8acd" providerId="ADAL" clId="{D4795083-EE21-4870-A6A1-CBEBAABF3C14}" dt="2023-06-05T11:48:21.210" v="3968" actId="166"/>
          <ac:picMkLst>
            <pc:docMk/>
            <pc:sldMk cId="2963034743" sldId="403"/>
            <ac:picMk id="6" creationId="{2E26CC62-2185-FC8E-6481-CF58B101BB1C}"/>
          </ac:picMkLst>
        </pc:picChg>
        <pc:picChg chg="del mod">
          <ac:chgData name="Hans Gelissen (DHL SSC Maastricht)" userId="1afa8510-4eed-4b73-a29e-678838cd8acd" providerId="ADAL" clId="{D4795083-EE21-4870-A6A1-CBEBAABF3C14}" dt="2023-06-05T11:04:01.060" v="3023" actId="478"/>
          <ac:picMkLst>
            <pc:docMk/>
            <pc:sldMk cId="2963034743" sldId="403"/>
            <ac:picMk id="7" creationId="{3F621081-E98C-3652-B151-3AECCF0501E6}"/>
          </ac:picMkLst>
        </pc:picChg>
        <pc:picChg chg="add del mod ord">
          <ac:chgData name="Hans Gelissen (DHL SSC Maastricht)" userId="1afa8510-4eed-4b73-a29e-678838cd8acd" providerId="ADAL" clId="{D4795083-EE21-4870-A6A1-CBEBAABF3C14}" dt="2023-06-05T11:58:06.819" v="4346" actId="478"/>
          <ac:picMkLst>
            <pc:docMk/>
            <pc:sldMk cId="2963034743" sldId="403"/>
            <ac:picMk id="19" creationId="{583BD6DE-B44A-0A1B-394C-106EC9DF1889}"/>
          </ac:picMkLst>
        </pc:picChg>
      </pc:sldChg>
      <pc:sldChg chg="addSp delSp modSp add mod ord modAnim">
        <pc:chgData name="Hans Gelissen (DHL SSC Maastricht)" userId="1afa8510-4eed-4b73-a29e-678838cd8acd" providerId="ADAL" clId="{D4795083-EE21-4870-A6A1-CBEBAABF3C14}" dt="2023-06-07T09:25:44.702" v="12628" actId="21"/>
        <pc:sldMkLst>
          <pc:docMk/>
          <pc:sldMk cId="510000669" sldId="404"/>
        </pc:sldMkLst>
        <pc:spChg chg="mod">
          <ac:chgData name="Hans Gelissen (DHL SSC Maastricht)" userId="1afa8510-4eed-4b73-a29e-678838cd8acd" providerId="ADAL" clId="{D4795083-EE21-4870-A6A1-CBEBAABF3C14}" dt="2023-06-05T11:48:02.531" v="3958" actId="20577"/>
          <ac:spMkLst>
            <pc:docMk/>
            <pc:sldMk cId="510000669" sldId="404"/>
            <ac:spMk id="11" creationId="{511BBD94-9246-CC57-6239-A2397D4342EA}"/>
          </ac:spMkLst>
        </pc:spChg>
        <pc:spChg chg="mod">
          <ac:chgData name="Hans Gelissen (DHL SSC Maastricht)" userId="1afa8510-4eed-4b73-a29e-678838cd8acd" providerId="ADAL" clId="{D4795083-EE21-4870-A6A1-CBEBAABF3C14}" dt="2023-06-05T11:21:12.498" v="3640" actId="164"/>
          <ac:spMkLst>
            <pc:docMk/>
            <pc:sldMk cId="510000669" sldId="404"/>
            <ac:spMk id="14" creationId="{AB9CB8A0-BE7F-4BAB-91EF-B3B48E5A681A}"/>
          </ac:spMkLst>
        </pc:spChg>
        <pc:spChg chg="mod">
          <ac:chgData name="Hans Gelissen (DHL SSC Maastricht)" userId="1afa8510-4eed-4b73-a29e-678838cd8acd" providerId="ADAL" clId="{D4795083-EE21-4870-A6A1-CBEBAABF3C14}" dt="2023-06-05T11:21:12.498" v="3640" actId="164"/>
          <ac:spMkLst>
            <pc:docMk/>
            <pc:sldMk cId="510000669" sldId="404"/>
            <ac:spMk id="15" creationId="{DD684041-0261-EAB1-6CA0-D6ECCCC402AE}"/>
          </ac:spMkLst>
        </pc:spChg>
        <pc:spChg chg="mod">
          <ac:chgData name="Hans Gelissen (DHL SSC Maastricht)" userId="1afa8510-4eed-4b73-a29e-678838cd8acd" providerId="ADAL" clId="{D4795083-EE21-4870-A6A1-CBEBAABF3C14}" dt="2023-06-05T11:21:12.498" v="3640" actId="164"/>
          <ac:spMkLst>
            <pc:docMk/>
            <pc:sldMk cId="510000669" sldId="404"/>
            <ac:spMk id="16" creationId="{6E7837A1-834F-ED45-1D3C-770723E08376}"/>
          </ac:spMkLst>
        </pc:spChg>
        <pc:spChg chg="mod">
          <ac:chgData name="Hans Gelissen (DHL SSC Maastricht)" userId="1afa8510-4eed-4b73-a29e-678838cd8acd" providerId="ADAL" clId="{D4795083-EE21-4870-A6A1-CBEBAABF3C14}" dt="2023-06-05T11:21:12.498" v="3640" actId="164"/>
          <ac:spMkLst>
            <pc:docMk/>
            <pc:sldMk cId="510000669" sldId="404"/>
            <ac:spMk id="17" creationId="{60711273-F259-7801-BA23-0883F1D27948}"/>
          </ac:spMkLst>
        </pc:spChg>
        <pc:spChg chg="mod">
          <ac:chgData name="Hans Gelissen (DHL SSC Maastricht)" userId="1afa8510-4eed-4b73-a29e-678838cd8acd" providerId="ADAL" clId="{D4795083-EE21-4870-A6A1-CBEBAABF3C14}" dt="2023-06-05T11:21:12.498" v="3640" actId="164"/>
          <ac:spMkLst>
            <pc:docMk/>
            <pc:sldMk cId="510000669" sldId="404"/>
            <ac:spMk id="18" creationId="{4227E617-72B7-9E1B-3A5E-759BC11CBE8F}"/>
          </ac:spMkLst>
        </pc:spChg>
        <pc:spChg chg="mod">
          <ac:chgData name="Hans Gelissen (DHL SSC Maastricht)" userId="1afa8510-4eed-4b73-a29e-678838cd8acd" providerId="ADAL" clId="{D4795083-EE21-4870-A6A1-CBEBAABF3C14}" dt="2023-06-05T11:21:12.498" v="3640" actId="164"/>
          <ac:spMkLst>
            <pc:docMk/>
            <pc:sldMk cId="510000669" sldId="404"/>
            <ac:spMk id="19" creationId="{A3D797E4-58CD-DBCD-1111-A0D3BEB0A5AA}"/>
          </ac:spMkLst>
        </pc:spChg>
        <pc:spChg chg="mod">
          <ac:chgData name="Hans Gelissen (DHL SSC Maastricht)" userId="1afa8510-4eed-4b73-a29e-678838cd8acd" providerId="ADAL" clId="{D4795083-EE21-4870-A6A1-CBEBAABF3C14}" dt="2023-06-06T12:58:27.419" v="12165" actId="20577"/>
          <ac:spMkLst>
            <pc:docMk/>
            <pc:sldMk cId="510000669" sldId="404"/>
            <ac:spMk id="23" creationId="{3E57C236-D40E-5ED9-4EE2-1D079E8CB6D0}"/>
          </ac:spMkLst>
        </pc:spChg>
        <pc:grpChg chg="add mod">
          <ac:chgData name="Hans Gelissen (DHL SSC Maastricht)" userId="1afa8510-4eed-4b73-a29e-678838cd8acd" providerId="ADAL" clId="{D4795083-EE21-4870-A6A1-CBEBAABF3C14}" dt="2023-06-05T11:21:12.498" v="3640" actId="164"/>
          <ac:grpSpMkLst>
            <pc:docMk/>
            <pc:sldMk cId="510000669" sldId="404"/>
            <ac:grpSpMk id="2" creationId="{E3B737AC-8EFC-602F-4F7B-5298EC202AB6}"/>
          </ac:grpSpMkLst>
        </pc:grpChg>
        <pc:picChg chg="add del mod ord">
          <ac:chgData name="Hans Gelissen (DHL SSC Maastricht)" userId="1afa8510-4eed-4b73-a29e-678838cd8acd" providerId="ADAL" clId="{D4795083-EE21-4870-A6A1-CBEBAABF3C14}" dt="2023-06-05T11:53:29.904" v="4300" actId="478"/>
          <ac:picMkLst>
            <pc:docMk/>
            <pc:sldMk cId="510000669" sldId="404"/>
            <ac:picMk id="3" creationId="{B86A6AE0-29FD-8EC5-A048-A172750A1F55}"/>
          </ac:picMkLst>
        </pc:picChg>
        <pc:picChg chg="add del mod ord">
          <ac:chgData name="Hans Gelissen (DHL SSC Maastricht)" userId="1afa8510-4eed-4b73-a29e-678838cd8acd" providerId="ADAL" clId="{D4795083-EE21-4870-A6A1-CBEBAABF3C14}" dt="2023-06-05T11:58:02.193" v="4344" actId="478"/>
          <ac:picMkLst>
            <pc:docMk/>
            <pc:sldMk cId="510000669" sldId="404"/>
            <ac:picMk id="4" creationId="{DA755D06-96EA-4E18-9784-DB2108EC78AF}"/>
          </ac:picMkLst>
        </pc:picChg>
        <pc:picChg chg="add del mod modCrop">
          <ac:chgData name="Hans Gelissen (DHL SSC Maastricht)" userId="1afa8510-4eed-4b73-a29e-678838cd8acd" providerId="ADAL" clId="{D4795083-EE21-4870-A6A1-CBEBAABF3C14}" dt="2023-06-07T09:25:44.702" v="12628" actId="21"/>
          <ac:picMkLst>
            <pc:docMk/>
            <pc:sldMk cId="510000669" sldId="404"/>
            <ac:picMk id="13" creationId="{761DE566-12CE-2C9E-C861-34A3A092885C}"/>
          </ac:picMkLst>
        </pc:picChg>
      </pc:sldChg>
      <pc:sldChg chg="addSp delSp modSp add del mod ord modClrScheme modAnim chgLayout">
        <pc:chgData name="Hans Gelissen (DHL SSC Maastricht)" userId="1afa8510-4eed-4b73-a29e-678838cd8acd" providerId="ADAL" clId="{D4795083-EE21-4870-A6A1-CBEBAABF3C14}" dt="2023-06-05T13:00:00.302" v="5680" actId="47"/>
        <pc:sldMkLst>
          <pc:docMk/>
          <pc:sldMk cId="1420960918" sldId="405"/>
        </pc:sldMkLst>
        <pc:spChg chg="mod ord">
          <ac:chgData name="Hans Gelissen (DHL SSC Maastricht)" userId="1afa8510-4eed-4b73-a29e-678838cd8acd" providerId="ADAL" clId="{D4795083-EE21-4870-A6A1-CBEBAABF3C14}" dt="2023-06-05T12:29:26.051" v="4856" actId="700"/>
          <ac:spMkLst>
            <pc:docMk/>
            <pc:sldMk cId="1420960918" sldId="405"/>
            <ac:spMk id="2" creationId="{5EB55963-2ED2-C1E7-9ABD-D06F094CD6BF}"/>
          </ac:spMkLst>
        </pc:spChg>
        <pc:spChg chg="del">
          <ac:chgData name="Hans Gelissen (DHL SSC Maastricht)" userId="1afa8510-4eed-4b73-a29e-678838cd8acd" providerId="ADAL" clId="{D4795083-EE21-4870-A6A1-CBEBAABF3C14}" dt="2023-06-05T12:08:56.984" v="4640" actId="478"/>
          <ac:spMkLst>
            <pc:docMk/>
            <pc:sldMk cId="1420960918" sldId="405"/>
            <ac:spMk id="3" creationId="{76F77ACC-B350-D80B-F869-101C144789AF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5" creationId="{832AC2A3-B031-423E-344F-79E633CEAD33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6" creationId="{52010D29-71C4-50CB-78F9-FC632DB68083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7" creationId="{4D44AE01-8F0B-DD78-908E-48A3BD4075A7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8" creationId="{47E5CB3D-2062-152E-C6F7-C0563C86DDC0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9" creationId="{3C7C438A-CAED-F980-54D9-CD8492E47C72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10" creationId="{6C8E763E-B2FB-C614-7616-976687DF1EA5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11" creationId="{E659AA29-B49D-AD50-1689-F3B58E922A40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12" creationId="{EF80E2DF-0614-1C93-3442-EDF52EB1E683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13" creationId="{C4B16E72-08DC-0C1F-A7FB-730A8618495F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14" creationId="{09AD7D12-43F8-771E-ADC6-42A9F22CE776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15" creationId="{E1BC7EFB-7544-33EE-295C-E488C7CC8274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16" creationId="{3D4CC745-558E-E00F-ED3E-7689484F91D4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17" creationId="{CA0C6150-35C9-A035-2D10-13A70A9908BC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18" creationId="{0E388B91-9619-0368-CEBC-A2517408FE5A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19" creationId="{B84B4061-4852-36A3-5C13-BC2D8365BBCF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20" creationId="{95B5E7AB-3651-D69F-B7CE-DD8BE3526799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21" creationId="{5EACAF29-69ED-8F14-0FBB-6F286F9EB876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22" creationId="{395B9155-8E8C-1C5E-D0E3-C32FF6167ADB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23" creationId="{B345B4BB-8362-E652-B66F-0EA3CE87A5B0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24" creationId="{C435C8D5-A880-ABE0-EDF2-07BEE1309123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25" creationId="{EAA30D5B-7840-6054-3836-BFC952B4C4A6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26" creationId="{43DD4E48-AB0B-4A5B-31C0-7B1E1A8EEF55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27" creationId="{B9040C59-254F-6B64-0565-DFA72A34458E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28" creationId="{7035EFAD-A33E-3C9B-B153-1425261215E2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29" creationId="{1AF06D13-E749-5FB6-9052-9A6D3E17125F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30" creationId="{4E2A11B3-0B83-F897-D6D9-A95C809E9FD8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31" creationId="{FD7D9E3F-89D9-FAF5-3929-8BF3FA544F23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32" creationId="{BFFD6A11-8889-9155-52F4-E974DBFD61E5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33" creationId="{5EED64F1-DE59-BC77-EEAC-BA34A7312106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35" creationId="{0E7F5E10-7FA6-00A3-A904-F33CE6031D31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36" creationId="{11CACEDE-9DEB-556F-27C4-4D4A232B7457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37" creationId="{38AA7A31-EF33-0F1A-F83B-F0744F9E7D7F}"/>
          </ac:spMkLst>
        </pc:spChg>
        <pc:spChg chg="mod">
          <ac:chgData name="Hans Gelissen (DHL SSC Maastricht)" userId="1afa8510-4eed-4b73-a29e-678838cd8acd" providerId="ADAL" clId="{D4795083-EE21-4870-A6A1-CBEBAABF3C14}" dt="2023-06-05T12:08:57.673" v="4641"/>
          <ac:spMkLst>
            <pc:docMk/>
            <pc:sldMk cId="1420960918" sldId="405"/>
            <ac:spMk id="38" creationId="{70AB5A8E-DE8B-E657-89DB-5840D1027134}"/>
          </ac:spMkLst>
        </pc:spChg>
        <pc:spChg chg="mod">
          <ac:chgData name="Hans Gelissen (DHL SSC Maastricht)" userId="1afa8510-4eed-4b73-a29e-678838cd8acd" providerId="ADAL" clId="{D4795083-EE21-4870-A6A1-CBEBAABF3C14}" dt="2023-06-05T12:09:14.539" v="4650" actId="1076"/>
          <ac:spMkLst>
            <pc:docMk/>
            <pc:sldMk cId="1420960918" sldId="405"/>
            <ac:spMk id="40" creationId="{11E7BB9E-E4DD-5571-F84F-9231E5768E5D}"/>
          </ac:spMkLst>
        </pc:spChg>
        <pc:spChg chg="mod">
          <ac:chgData name="Hans Gelissen (DHL SSC Maastricht)" userId="1afa8510-4eed-4b73-a29e-678838cd8acd" providerId="ADAL" clId="{D4795083-EE21-4870-A6A1-CBEBAABF3C14}" dt="2023-06-05T12:09:14.539" v="4650" actId="1076"/>
          <ac:spMkLst>
            <pc:docMk/>
            <pc:sldMk cId="1420960918" sldId="405"/>
            <ac:spMk id="41" creationId="{8FA16332-433C-00F6-8D0F-1F5D53A480D6}"/>
          </ac:spMkLst>
        </pc:spChg>
        <pc:spChg chg="mod">
          <ac:chgData name="Hans Gelissen (DHL SSC Maastricht)" userId="1afa8510-4eed-4b73-a29e-678838cd8acd" providerId="ADAL" clId="{D4795083-EE21-4870-A6A1-CBEBAABF3C14}" dt="2023-06-05T12:09:14.539" v="4650" actId="1076"/>
          <ac:spMkLst>
            <pc:docMk/>
            <pc:sldMk cId="1420960918" sldId="405"/>
            <ac:spMk id="42" creationId="{6D2B4405-FF3C-4297-B13F-D819C123431B}"/>
          </ac:spMkLst>
        </pc:spChg>
        <pc:spChg chg="mod">
          <ac:chgData name="Hans Gelissen (DHL SSC Maastricht)" userId="1afa8510-4eed-4b73-a29e-678838cd8acd" providerId="ADAL" clId="{D4795083-EE21-4870-A6A1-CBEBAABF3C14}" dt="2023-06-05T12:09:14.539" v="4650" actId="1076"/>
          <ac:spMkLst>
            <pc:docMk/>
            <pc:sldMk cId="1420960918" sldId="405"/>
            <ac:spMk id="43" creationId="{C075D10B-5786-C352-2329-1A012A682B55}"/>
          </ac:spMkLst>
        </pc:spChg>
        <pc:spChg chg="mod">
          <ac:chgData name="Hans Gelissen (DHL SSC Maastricht)" userId="1afa8510-4eed-4b73-a29e-678838cd8acd" providerId="ADAL" clId="{D4795083-EE21-4870-A6A1-CBEBAABF3C14}" dt="2023-06-05T12:09:14.539" v="4650" actId="1076"/>
          <ac:spMkLst>
            <pc:docMk/>
            <pc:sldMk cId="1420960918" sldId="405"/>
            <ac:spMk id="44" creationId="{D1749414-900B-BB4A-56FD-117102C817A4}"/>
          </ac:spMkLst>
        </pc:spChg>
        <pc:spChg chg="mod">
          <ac:chgData name="Hans Gelissen (DHL SSC Maastricht)" userId="1afa8510-4eed-4b73-a29e-678838cd8acd" providerId="ADAL" clId="{D4795083-EE21-4870-A6A1-CBEBAABF3C14}" dt="2023-06-05T12:09:14.539" v="4650" actId="1076"/>
          <ac:spMkLst>
            <pc:docMk/>
            <pc:sldMk cId="1420960918" sldId="405"/>
            <ac:spMk id="45" creationId="{E20506B3-4782-9DA5-812E-76B8B82E2610}"/>
          </ac:spMkLst>
        </pc:spChg>
        <pc:spChg chg="mod">
          <ac:chgData name="Hans Gelissen (DHL SSC Maastricht)" userId="1afa8510-4eed-4b73-a29e-678838cd8acd" providerId="ADAL" clId="{D4795083-EE21-4870-A6A1-CBEBAABF3C14}" dt="2023-06-05T12:09:14.539" v="4650" actId="1076"/>
          <ac:spMkLst>
            <pc:docMk/>
            <pc:sldMk cId="1420960918" sldId="405"/>
            <ac:spMk id="46" creationId="{C02E2CDE-6FFA-9A8B-D39F-3CB24CC426C9}"/>
          </ac:spMkLst>
        </pc:spChg>
        <pc:spChg chg="mod">
          <ac:chgData name="Hans Gelissen (DHL SSC Maastricht)" userId="1afa8510-4eed-4b73-a29e-678838cd8acd" providerId="ADAL" clId="{D4795083-EE21-4870-A6A1-CBEBAABF3C14}" dt="2023-06-05T12:09:14.539" v="4650" actId="1076"/>
          <ac:spMkLst>
            <pc:docMk/>
            <pc:sldMk cId="1420960918" sldId="405"/>
            <ac:spMk id="47" creationId="{7B975BD6-725D-97FE-CDBE-8EC0609A23A4}"/>
          </ac:spMkLst>
        </pc:spChg>
        <pc:spChg chg="mod">
          <ac:chgData name="Hans Gelissen (DHL SSC Maastricht)" userId="1afa8510-4eed-4b73-a29e-678838cd8acd" providerId="ADAL" clId="{D4795083-EE21-4870-A6A1-CBEBAABF3C14}" dt="2023-06-05T12:09:14.539" v="4650" actId="1076"/>
          <ac:spMkLst>
            <pc:docMk/>
            <pc:sldMk cId="1420960918" sldId="405"/>
            <ac:spMk id="48" creationId="{402D01F5-ACD4-CE75-FBF2-7109B5327BA1}"/>
          </ac:spMkLst>
        </pc:spChg>
        <pc:spChg chg="mod">
          <ac:chgData name="Hans Gelissen (DHL SSC Maastricht)" userId="1afa8510-4eed-4b73-a29e-678838cd8acd" providerId="ADAL" clId="{D4795083-EE21-4870-A6A1-CBEBAABF3C14}" dt="2023-06-05T12:09:14.539" v="4650" actId="1076"/>
          <ac:spMkLst>
            <pc:docMk/>
            <pc:sldMk cId="1420960918" sldId="405"/>
            <ac:spMk id="49" creationId="{1F4AEC65-8CB0-FB6E-A128-65703C279A9E}"/>
          </ac:spMkLst>
        </pc:spChg>
        <pc:spChg chg="mod">
          <ac:chgData name="Hans Gelissen (DHL SSC Maastricht)" userId="1afa8510-4eed-4b73-a29e-678838cd8acd" providerId="ADAL" clId="{D4795083-EE21-4870-A6A1-CBEBAABF3C14}" dt="2023-06-05T12:09:14.539" v="4650" actId="1076"/>
          <ac:spMkLst>
            <pc:docMk/>
            <pc:sldMk cId="1420960918" sldId="405"/>
            <ac:spMk id="50" creationId="{701F9D0A-A4A8-04B8-D713-42D0FEA1EF2F}"/>
          </ac:spMkLst>
        </pc:spChg>
        <pc:spChg chg="mod">
          <ac:chgData name="Hans Gelissen (DHL SSC Maastricht)" userId="1afa8510-4eed-4b73-a29e-678838cd8acd" providerId="ADAL" clId="{D4795083-EE21-4870-A6A1-CBEBAABF3C14}" dt="2023-06-05T12:09:14.539" v="4650" actId="1076"/>
          <ac:spMkLst>
            <pc:docMk/>
            <pc:sldMk cId="1420960918" sldId="405"/>
            <ac:spMk id="51" creationId="{4E9DAE6B-C0CF-4ADE-5154-8C80E07BCD71}"/>
          </ac:spMkLst>
        </pc:spChg>
        <pc:spChg chg="add del mod">
          <ac:chgData name="Hans Gelissen (DHL SSC Maastricht)" userId="1afa8510-4eed-4b73-a29e-678838cd8acd" providerId="ADAL" clId="{D4795083-EE21-4870-A6A1-CBEBAABF3C14}" dt="2023-06-05T12:09:33.131" v="4653"/>
          <ac:spMkLst>
            <pc:docMk/>
            <pc:sldMk cId="1420960918" sldId="405"/>
            <ac:spMk id="52" creationId="{9DFF30C1-611C-B2E6-D7C1-9DE6A26A464D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54" creationId="{05842132-6A6E-8A94-9909-E613770D7847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55" creationId="{384ACFF0-1122-4D61-AEB7-D6E46369EC59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56" creationId="{832C7451-C5AA-5BAC-1386-F2CC1C904D02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57" creationId="{7A09A834-B543-51F0-24F3-D77862F10569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58" creationId="{29C16FA3-071D-D0F1-0869-88F041240587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59" creationId="{D324DEBD-6BAC-124F-99BC-7A3213299789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60" creationId="{76B03B23-77A3-99A6-54DB-374E6C17E3EA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61" creationId="{50D53542-807A-D131-8866-5FC77EC34EE6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62" creationId="{E556FFC0-0081-EBFB-111E-7D8EBCF1DCA4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63" creationId="{D75C2BAA-8B13-8C81-895C-1C1FB30151DE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64" creationId="{73FE8794-03BC-B801-2FE8-807CB7B21F99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65" creationId="{6816190D-5D63-DB99-0EE3-5CEBECBE93DA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67" creationId="{A6BFAA61-7506-2EF2-BDA8-A99EB50633FC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68" creationId="{81603E20-E1D6-0796-CC84-D5E3574DBDF0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69" creationId="{631360C6-45FF-3AE0-7D79-9A6E52CF95EA}"/>
          </ac:spMkLst>
        </pc:spChg>
        <pc:spChg chg="mod">
          <ac:chgData name="Hans Gelissen (DHL SSC Maastricht)" userId="1afa8510-4eed-4b73-a29e-678838cd8acd" providerId="ADAL" clId="{D4795083-EE21-4870-A6A1-CBEBAABF3C14}" dt="2023-06-05T12:09:27.273" v="4652"/>
          <ac:spMkLst>
            <pc:docMk/>
            <pc:sldMk cId="1420960918" sldId="405"/>
            <ac:spMk id="70" creationId="{BBB55DDE-AD21-2687-8507-994E2201313D}"/>
          </ac:spMkLst>
        </pc:spChg>
        <pc:spChg chg="add del mod">
          <ac:chgData name="Hans Gelissen (DHL SSC Maastricht)" userId="1afa8510-4eed-4b73-a29e-678838cd8acd" providerId="ADAL" clId="{D4795083-EE21-4870-A6A1-CBEBAABF3C14}" dt="2023-06-05T12:09:33.131" v="4653"/>
          <ac:spMkLst>
            <pc:docMk/>
            <pc:sldMk cId="1420960918" sldId="405"/>
            <ac:spMk id="71" creationId="{AFB21C26-283B-DF96-4BD8-26ED66C26C8B}"/>
          </ac:spMkLst>
        </pc:spChg>
        <pc:spChg chg="add del mod">
          <ac:chgData name="Hans Gelissen (DHL SSC Maastricht)" userId="1afa8510-4eed-4b73-a29e-678838cd8acd" providerId="ADAL" clId="{D4795083-EE21-4870-A6A1-CBEBAABF3C14}" dt="2023-06-05T12:28:19.542" v="4811" actId="478"/>
          <ac:spMkLst>
            <pc:docMk/>
            <pc:sldMk cId="1420960918" sldId="405"/>
            <ac:spMk id="72" creationId="{880E9AD3-4EE6-DD90-4A0F-02B76278FD85}"/>
          </ac:spMkLst>
        </pc:spChg>
        <pc:spChg chg="add del mod">
          <ac:chgData name="Hans Gelissen (DHL SSC Maastricht)" userId="1afa8510-4eed-4b73-a29e-678838cd8acd" providerId="ADAL" clId="{D4795083-EE21-4870-A6A1-CBEBAABF3C14}" dt="2023-06-05T12:28:19.542" v="4811" actId="478"/>
          <ac:spMkLst>
            <pc:docMk/>
            <pc:sldMk cId="1420960918" sldId="405"/>
            <ac:spMk id="73" creationId="{DE0016B6-1392-FD70-15F3-A63F8EFBFBF7}"/>
          </ac:spMkLst>
        </pc:spChg>
        <pc:spChg chg="add del mod">
          <ac:chgData name="Hans Gelissen (DHL SSC Maastricht)" userId="1afa8510-4eed-4b73-a29e-678838cd8acd" providerId="ADAL" clId="{D4795083-EE21-4870-A6A1-CBEBAABF3C14}" dt="2023-06-05T12:28:19.542" v="4811" actId="478"/>
          <ac:spMkLst>
            <pc:docMk/>
            <pc:sldMk cId="1420960918" sldId="405"/>
            <ac:spMk id="74" creationId="{CBBB2C1E-DFC6-A7E9-CECA-7C404F8B8F55}"/>
          </ac:spMkLst>
        </pc:spChg>
        <pc:spChg chg="add del mod">
          <ac:chgData name="Hans Gelissen (DHL SSC Maastricht)" userId="1afa8510-4eed-4b73-a29e-678838cd8acd" providerId="ADAL" clId="{D4795083-EE21-4870-A6A1-CBEBAABF3C14}" dt="2023-06-05T12:28:28.175" v="4815" actId="478"/>
          <ac:spMkLst>
            <pc:docMk/>
            <pc:sldMk cId="1420960918" sldId="405"/>
            <ac:spMk id="75" creationId="{71F99FEE-2996-6532-51FA-29E44D579FB7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77" creationId="{5285D658-A802-D83B-BFB3-AE79405B2312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78" creationId="{912C863D-C87B-BA3C-AC6E-679F51DEFA8A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79" creationId="{34B0ADC2-59F6-2E5B-D021-D77AA0DF6E47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80" creationId="{8E1DE9D2-0BBA-AC5F-906B-972ECECE7442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81" creationId="{01B08B18-1BAF-46A9-7B3D-42CD865C192F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82" creationId="{85005506-644A-4C4A-C903-7BD284359D22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83" creationId="{CFBA77AE-96B8-E2E8-C355-4EFD6CA89487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84" creationId="{0337E950-F5F8-C8A2-4F3E-675612707181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85" creationId="{2C274896-7A23-8A96-094D-1728B5EDC43E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86" creationId="{FCD3A295-C144-49A3-DB4A-A96C5F6013A4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87" creationId="{3C525997-ACAF-1157-C9CE-30631484D29E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88" creationId="{0E43780D-2D5B-F4BF-D94A-A1F9513E2333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89" creationId="{F6EE7918-E34D-2AFE-8917-A46C709CC93C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90" creationId="{BE41FFFB-ABE2-E5F5-215C-0B2A1155A2F2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91" creationId="{83A7888C-78BA-4CED-E60D-1427C2C55E3B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92" creationId="{310D3465-935A-D387-F467-456EFF488476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93" creationId="{47F9BB6C-8509-7D81-9CFD-B28333642642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94" creationId="{2362FD2B-6D08-8C2A-8D0E-20397EE94143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95" creationId="{9E0157ED-AA76-6A3F-10E8-1C81DC3768E9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96" creationId="{8BC980AB-6A87-4DD3-952D-E60FAE63F65F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97" creationId="{4A3E3676-032D-08CA-7C91-92CA6DB3EA5D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98" creationId="{6F2B497A-3F3A-453C-40D3-7A9C39688B00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99" creationId="{DD80CAF6-32DA-79DB-FF77-1943E2949FAE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00" creationId="{24744674-A28D-9F41-A175-A15C2FE620F6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01" creationId="{DCF3E6BB-0F9A-402F-81EA-40B94079F643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02" creationId="{1E1A2010-24A5-FCE5-12B6-2604D83DB807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03" creationId="{82AF0511-BA1A-DCE4-7D3F-6799376C5463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04" creationId="{A4B2485E-40AB-17E7-BAA0-EAB74C3FCE7F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05" creationId="{6BE8AFFA-5D64-BD21-502E-07A5B5CE5CAC}"/>
          </ac:spMkLst>
        </pc:spChg>
        <pc:spChg chg="add mod">
          <ac:chgData name="Hans Gelissen (DHL SSC Maastricht)" userId="1afa8510-4eed-4b73-a29e-678838cd8acd" providerId="ADAL" clId="{D4795083-EE21-4870-A6A1-CBEBAABF3C14}" dt="2023-06-05T12:29:35.403" v="4858" actId="1076"/>
          <ac:spMkLst>
            <pc:docMk/>
            <pc:sldMk cId="1420960918" sldId="405"/>
            <ac:spMk id="106" creationId="{C5BF47D1-AE77-E81D-C954-D6D2DCC37FDE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08" creationId="{AA3F86A9-CC75-C6BA-961C-DB94FB1E21D0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09" creationId="{10925873-8BF0-666F-BCA8-C72FB9BF7730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10" creationId="{9EF8DD62-188E-1F30-896B-CC5944C8BEF9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11" creationId="{7604C64A-6DB9-149E-52E2-47EF8E88D56D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12" creationId="{0DBC1C31-035C-EDEC-4A3A-DDE115CFB784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13" creationId="{A3883C7C-9428-66A3-CC0B-E34D2D9089E9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14" creationId="{A1F8A450-5ABC-B361-3255-7BB663A67AE4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15" creationId="{6BEE5ED5-97C4-4409-1C16-283DCE1439E3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16" creationId="{2E64D91A-9182-71EC-DFA4-CDB323AEB1A7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17" creationId="{E8A6CC30-DC4A-1BA1-ADE2-E6FA188F5E52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18" creationId="{790C2F21-5F0D-BBC2-F8BC-C2CB9B5D579E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19" creationId="{F4EFF972-68B9-46A4-D48E-EB7B414B42B4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21" creationId="{6BA70E13-29C8-695F-2586-D9D12AF12B02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22" creationId="{763FA274-DB59-C534-B3EE-DFF32048A33E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23" creationId="{7BE53E38-FAA8-9B29-9CDD-8B7EDBAA650B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24" creationId="{A97DC1A3-28A7-29E7-CB68-C8453043488D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26" creationId="{B080466E-2243-2B4E-F706-981D96ECB8C4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27" creationId="{5207F589-6282-1C1A-EC38-6268E40F57CF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28" creationId="{6D654C77-FBE8-8A1B-547B-290316B22F38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29" creationId="{EE65C541-E8AA-E5BD-4052-B60F5A467FF6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31" creationId="{CE8E42F8-3080-BD98-F860-01134B64738B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32" creationId="{61B18C4B-AD6F-C52F-7506-29A3EA5904BA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33" creationId="{BFFE5675-6AB0-EF80-9555-81193DECA5D9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34" creationId="{4712F99B-FC60-8C16-633B-EB0002147D72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35" creationId="{EA2BB65C-B51C-6CE2-CD5C-5D546A3BEA95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36" creationId="{DDF4A090-7C29-25FC-7BCE-BB40E95498F1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37" creationId="{D643A2D8-DEE9-1DD8-B994-A538C954DADB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38" creationId="{49EC01A5-4B43-B3B0-ADA7-EF96D765F40F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39" creationId="{4BAE2698-F9C1-A4B4-F97B-12066CC22048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40" creationId="{01536AF9-7EB1-40C1-C48B-493080624210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41" creationId="{0A65F661-79B0-9110-8E6D-D10A8060D308}"/>
          </ac:spMkLst>
        </pc:spChg>
        <pc:spChg chg="mod">
          <ac:chgData name="Hans Gelissen (DHL SSC Maastricht)" userId="1afa8510-4eed-4b73-a29e-678838cd8acd" providerId="ADAL" clId="{D4795083-EE21-4870-A6A1-CBEBAABF3C14}" dt="2023-06-05T12:28:24.354" v="4814" actId="1076"/>
          <ac:spMkLst>
            <pc:docMk/>
            <pc:sldMk cId="1420960918" sldId="405"/>
            <ac:spMk id="142" creationId="{096E65EA-532D-AE17-3D2B-65EFA1E00069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2:29:31.234" v="4857" actId="478"/>
          <ac:spMkLst>
            <pc:docMk/>
            <pc:sldMk cId="1420960918" sldId="405"/>
            <ac:spMk id="143" creationId="{CF9A28ED-2CF8-0AE1-8DDB-0B008AE5765F}"/>
          </ac:spMkLst>
        </pc:spChg>
        <pc:grpChg chg="add del mod">
          <ac:chgData name="Hans Gelissen (DHL SSC Maastricht)" userId="1afa8510-4eed-4b73-a29e-678838cd8acd" providerId="ADAL" clId="{D4795083-EE21-4870-A6A1-CBEBAABF3C14}" dt="2023-06-05T12:09:17.576" v="4651" actId="478"/>
          <ac:grpSpMkLst>
            <pc:docMk/>
            <pc:sldMk cId="1420960918" sldId="405"/>
            <ac:grpSpMk id="4" creationId="{2B2D8B02-335A-930C-083C-F02D880B3BBA}"/>
          </ac:grpSpMkLst>
        </pc:grpChg>
        <pc:grpChg chg="add del mod">
          <ac:chgData name="Hans Gelissen (DHL SSC Maastricht)" userId="1afa8510-4eed-4b73-a29e-678838cd8acd" providerId="ADAL" clId="{D4795083-EE21-4870-A6A1-CBEBAABF3C14}" dt="2023-06-05T12:09:17.576" v="4651" actId="478"/>
          <ac:grpSpMkLst>
            <pc:docMk/>
            <pc:sldMk cId="1420960918" sldId="405"/>
            <ac:grpSpMk id="34" creationId="{5E9076E2-615E-35DF-FF18-3828BCA8524E}"/>
          </ac:grpSpMkLst>
        </pc:grpChg>
        <pc:grpChg chg="add del mod">
          <ac:chgData name="Hans Gelissen (DHL SSC Maastricht)" userId="1afa8510-4eed-4b73-a29e-678838cd8acd" providerId="ADAL" clId="{D4795083-EE21-4870-A6A1-CBEBAABF3C14}" dt="2023-06-05T12:09:17.576" v="4651" actId="478"/>
          <ac:grpSpMkLst>
            <pc:docMk/>
            <pc:sldMk cId="1420960918" sldId="405"/>
            <ac:grpSpMk id="39" creationId="{E4A919C8-6CCF-A7B7-3288-8DCB6807C7CB}"/>
          </ac:grpSpMkLst>
        </pc:grpChg>
        <pc:grpChg chg="add del mod">
          <ac:chgData name="Hans Gelissen (DHL SSC Maastricht)" userId="1afa8510-4eed-4b73-a29e-678838cd8acd" providerId="ADAL" clId="{D4795083-EE21-4870-A6A1-CBEBAABF3C14}" dt="2023-06-05T12:09:33.131" v="4653"/>
          <ac:grpSpMkLst>
            <pc:docMk/>
            <pc:sldMk cId="1420960918" sldId="405"/>
            <ac:grpSpMk id="53" creationId="{FAA32759-5D85-864C-5605-4E8DBF28186F}"/>
          </ac:grpSpMkLst>
        </pc:grpChg>
        <pc:grpChg chg="add del mod">
          <ac:chgData name="Hans Gelissen (DHL SSC Maastricht)" userId="1afa8510-4eed-4b73-a29e-678838cd8acd" providerId="ADAL" clId="{D4795083-EE21-4870-A6A1-CBEBAABF3C14}" dt="2023-06-05T12:09:33.131" v="4653"/>
          <ac:grpSpMkLst>
            <pc:docMk/>
            <pc:sldMk cId="1420960918" sldId="405"/>
            <ac:grpSpMk id="66" creationId="{9600B3D9-CF4E-EC39-5A7A-CD90623930EF}"/>
          </ac:grpSpMkLst>
        </pc:grpChg>
        <pc:grpChg chg="add mod">
          <ac:chgData name="Hans Gelissen (DHL SSC Maastricht)" userId="1afa8510-4eed-4b73-a29e-678838cd8acd" providerId="ADAL" clId="{D4795083-EE21-4870-A6A1-CBEBAABF3C14}" dt="2023-06-05T12:28:24.354" v="4814" actId="1076"/>
          <ac:grpSpMkLst>
            <pc:docMk/>
            <pc:sldMk cId="1420960918" sldId="405"/>
            <ac:grpSpMk id="76" creationId="{EB5ACDEE-0534-277C-D5F3-B63A7296D9F2}"/>
          </ac:grpSpMkLst>
        </pc:grpChg>
        <pc:grpChg chg="add mod">
          <ac:chgData name="Hans Gelissen (DHL SSC Maastricht)" userId="1afa8510-4eed-4b73-a29e-678838cd8acd" providerId="ADAL" clId="{D4795083-EE21-4870-A6A1-CBEBAABF3C14}" dt="2023-06-05T12:28:24.354" v="4814" actId="1076"/>
          <ac:grpSpMkLst>
            <pc:docMk/>
            <pc:sldMk cId="1420960918" sldId="405"/>
            <ac:grpSpMk id="107" creationId="{C42D12F0-CEE9-1B55-300E-B02D5DEA6471}"/>
          </ac:grpSpMkLst>
        </pc:grpChg>
        <pc:grpChg chg="add mod">
          <ac:chgData name="Hans Gelissen (DHL SSC Maastricht)" userId="1afa8510-4eed-4b73-a29e-678838cd8acd" providerId="ADAL" clId="{D4795083-EE21-4870-A6A1-CBEBAABF3C14}" dt="2023-06-05T12:28:24.354" v="4814" actId="1076"/>
          <ac:grpSpMkLst>
            <pc:docMk/>
            <pc:sldMk cId="1420960918" sldId="405"/>
            <ac:grpSpMk id="120" creationId="{39CCBC0F-CE39-6FCF-1A2E-ECF1607562B0}"/>
          </ac:grpSpMkLst>
        </pc:grpChg>
        <pc:grpChg chg="add mod">
          <ac:chgData name="Hans Gelissen (DHL SSC Maastricht)" userId="1afa8510-4eed-4b73-a29e-678838cd8acd" providerId="ADAL" clId="{D4795083-EE21-4870-A6A1-CBEBAABF3C14}" dt="2023-06-05T12:28:24.354" v="4814" actId="1076"/>
          <ac:grpSpMkLst>
            <pc:docMk/>
            <pc:sldMk cId="1420960918" sldId="405"/>
            <ac:grpSpMk id="125" creationId="{98E7C784-2751-D82A-037A-494E04D6B49E}"/>
          </ac:grpSpMkLst>
        </pc:grpChg>
        <pc:grpChg chg="add mod">
          <ac:chgData name="Hans Gelissen (DHL SSC Maastricht)" userId="1afa8510-4eed-4b73-a29e-678838cd8acd" providerId="ADAL" clId="{D4795083-EE21-4870-A6A1-CBEBAABF3C14}" dt="2023-06-05T12:28:24.354" v="4814" actId="1076"/>
          <ac:grpSpMkLst>
            <pc:docMk/>
            <pc:sldMk cId="1420960918" sldId="405"/>
            <ac:grpSpMk id="130" creationId="{7320E6AC-E260-C322-B0DF-D749F1A5D98F}"/>
          </ac:grpSpMkLst>
        </pc:grpChg>
      </pc:sldChg>
      <pc:sldChg chg="add del">
        <pc:chgData name="Hans Gelissen (DHL SSC Maastricht)" userId="1afa8510-4eed-4b73-a29e-678838cd8acd" providerId="ADAL" clId="{D4795083-EE21-4870-A6A1-CBEBAABF3C14}" dt="2023-06-05T11:58:34.168" v="4348"/>
        <pc:sldMkLst>
          <pc:docMk/>
          <pc:sldMk cId="2748468812" sldId="405"/>
        </pc:sldMkLst>
      </pc:sldChg>
      <pc:sldChg chg="addSp delSp modSp add mod modClrScheme modAnim chgLayout">
        <pc:chgData name="Hans Gelissen (DHL SSC Maastricht)" userId="1afa8510-4eed-4b73-a29e-678838cd8acd" providerId="ADAL" clId="{D4795083-EE21-4870-A6A1-CBEBAABF3C14}" dt="2023-06-05T13:06:58.128" v="5766" actId="1037"/>
        <pc:sldMkLst>
          <pc:docMk/>
          <pc:sldMk cId="3067100344" sldId="406"/>
        </pc:sldMkLst>
        <pc:spChg chg="del mod ord">
          <ac:chgData name="Hans Gelissen (DHL SSC Maastricht)" userId="1afa8510-4eed-4b73-a29e-678838cd8acd" providerId="ADAL" clId="{D4795083-EE21-4870-A6A1-CBEBAABF3C14}" dt="2023-06-05T12:30:06.581" v="4859" actId="700"/>
          <ac:spMkLst>
            <pc:docMk/>
            <pc:sldMk cId="3067100344" sldId="406"/>
            <ac:spMk id="2" creationId="{5EB55963-2ED2-C1E7-9ABD-D06F094CD6BF}"/>
          </ac:spMkLst>
        </pc:spChg>
        <pc:spChg chg="del mod ord">
          <ac:chgData name="Hans Gelissen (DHL SSC Maastricht)" userId="1afa8510-4eed-4b73-a29e-678838cd8acd" providerId="ADAL" clId="{D4795083-EE21-4870-A6A1-CBEBAABF3C14}" dt="2023-06-05T12:30:06.581" v="4859" actId="700"/>
          <ac:spMkLst>
            <pc:docMk/>
            <pc:sldMk cId="3067100344" sldId="406"/>
            <ac:spMk id="3" creationId="{76F77ACC-B350-D80B-F869-101C144789AF}"/>
          </ac:spMkLst>
        </pc:spChg>
        <pc:spChg chg="add mod ord">
          <ac:chgData name="Hans Gelissen (DHL SSC Maastricht)" userId="1afa8510-4eed-4b73-a29e-678838cd8acd" providerId="ADAL" clId="{D4795083-EE21-4870-A6A1-CBEBAABF3C14}" dt="2023-06-05T12:30:17.375" v="4887" actId="20577"/>
          <ac:spMkLst>
            <pc:docMk/>
            <pc:sldMk cId="3067100344" sldId="406"/>
            <ac:spMk id="4" creationId="{3FBC54A0-8289-F154-5432-EB608B763827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2:30:10.223" v="4860" actId="478"/>
          <ac:spMkLst>
            <pc:docMk/>
            <pc:sldMk cId="3067100344" sldId="406"/>
            <ac:spMk id="5" creationId="{1FA9BE65-FB06-0EDB-6C1C-BBA89870B957}"/>
          </ac:spMkLst>
        </pc:spChg>
        <pc:spChg chg="mod topLvl">
          <ac:chgData name="Hans Gelissen (DHL SSC Maastricht)" userId="1afa8510-4eed-4b73-a29e-678838cd8acd" providerId="ADAL" clId="{D4795083-EE21-4870-A6A1-CBEBAABF3C14}" dt="2023-06-05T12:54:14.285" v="5607" actId="1076"/>
          <ac:spMkLst>
            <pc:docMk/>
            <pc:sldMk cId="3067100344" sldId="406"/>
            <ac:spMk id="7" creationId="{BA3591F1-9746-FBC4-DA24-C37E5E8479B7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34.227" v="5727" actId="164"/>
          <ac:spMkLst>
            <pc:docMk/>
            <pc:sldMk cId="3067100344" sldId="406"/>
            <ac:spMk id="8" creationId="{13EBD71D-4F65-9965-957E-75784589F040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34.227" v="5727" actId="164"/>
          <ac:spMkLst>
            <pc:docMk/>
            <pc:sldMk cId="3067100344" sldId="406"/>
            <ac:spMk id="9" creationId="{F0684AED-2CC3-B76E-BCD1-5B09CD599CB8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34.227" v="5727" actId="164"/>
          <ac:spMkLst>
            <pc:docMk/>
            <pc:sldMk cId="3067100344" sldId="406"/>
            <ac:spMk id="10" creationId="{46948CED-672F-DC6E-F0AB-8F7ACF80AAA2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34.227" v="5727" actId="164"/>
          <ac:spMkLst>
            <pc:docMk/>
            <pc:sldMk cId="3067100344" sldId="406"/>
            <ac:spMk id="11" creationId="{5A241183-979A-C60B-7D9D-248CC29A9D16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34.227" v="5727" actId="164"/>
          <ac:spMkLst>
            <pc:docMk/>
            <pc:sldMk cId="3067100344" sldId="406"/>
            <ac:spMk id="12" creationId="{E0C13ABB-59AC-39C8-563B-8D61201A2388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34.227" v="5727" actId="164"/>
          <ac:spMkLst>
            <pc:docMk/>
            <pc:sldMk cId="3067100344" sldId="406"/>
            <ac:spMk id="13" creationId="{AEA0FDDA-6825-E904-5F67-4B33536C28BA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43.430" v="5728" actId="164"/>
          <ac:spMkLst>
            <pc:docMk/>
            <pc:sldMk cId="3067100344" sldId="406"/>
            <ac:spMk id="14" creationId="{0CAFC6AE-5C1D-0256-F3B5-3F80D513261B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43.430" v="5728" actId="164"/>
          <ac:spMkLst>
            <pc:docMk/>
            <pc:sldMk cId="3067100344" sldId="406"/>
            <ac:spMk id="15" creationId="{2C03E6E9-F9A4-05A3-2909-A0897C188ABC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43.430" v="5728" actId="164"/>
          <ac:spMkLst>
            <pc:docMk/>
            <pc:sldMk cId="3067100344" sldId="406"/>
            <ac:spMk id="16" creationId="{91C9CD02-DB5F-BB3E-4672-EC577B3028B3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43.430" v="5728" actId="164"/>
          <ac:spMkLst>
            <pc:docMk/>
            <pc:sldMk cId="3067100344" sldId="406"/>
            <ac:spMk id="17" creationId="{755E8AB9-A790-8ECC-F9F0-881B3B0AEBF1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43.430" v="5728" actId="164"/>
          <ac:spMkLst>
            <pc:docMk/>
            <pc:sldMk cId="3067100344" sldId="406"/>
            <ac:spMk id="18" creationId="{0FF7E4C4-5682-49D0-BC20-E522E615BBF6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43.430" v="5728" actId="164"/>
          <ac:spMkLst>
            <pc:docMk/>
            <pc:sldMk cId="3067100344" sldId="406"/>
            <ac:spMk id="19" creationId="{06594170-00A4-7E98-271A-09EB3AEEA96B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43.430" v="5728" actId="164"/>
          <ac:spMkLst>
            <pc:docMk/>
            <pc:sldMk cId="3067100344" sldId="406"/>
            <ac:spMk id="20" creationId="{9A8934D0-12D3-08CE-BB2A-A045682E2D74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43.430" v="5728" actId="164"/>
          <ac:spMkLst>
            <pc:docMk/>
            <pc:sldMk cId="3067100344" sldId="406"/>
            <ac:spMk id="21" creationId="{FDAE1180-883A-38EC-8F64-4732B3F50410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53.230" v="5729" actId="164"/>
          <ac:spMkLst>
            <pc:docMk/>
            <pc:sldMk cId="3067100344" sldId="406"/>
            <ac:spMk id="22" creationId="{186D7083-6436-E690-CE9A-550EE5A718C4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53.230" v="5729" actId="164"/>
          <ac:spMkLst>
            <pc:docMk/>
            <pc:sldMk cId="3067100344" sldId="406"/>
            <ac:spMk id="23" creationId="{0C076FBE-2CF1-BAE3-C1CA-225D659B89CF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53.230" v="5729" actId="164"/>
          <ac:spMkLst>
            <pc:docMk/>
            <pc:sldMk cId="3067100344" sldId="406"/>
            <ac:spMk id="24" creationId="{14A52B35-E81B-430D-AFED-E9A7930C540B}"/>
          </ac:spMkLst>
        </pc:spChg>
        <pc:spChg chg="del mod topLvl">
          <ac:chgData name="Hans Gelissen (DHL SSC Maastricht)" userId="1afa8510-4eed-4b73-a29e-678838cd8acd" providerId="ADAL" clId="{D4795083-EE21-4870-A6A1-CBEBAABF3C14}" dt="2023-06-05T12:49:39.916" v="5486" actId="478"/>
          <ac:spMkLst>
            <pc:docMk/>
            <pc:sldMk cId="3067100344" sldId="406"/>
            <ac:spMk id="25" creationId="{2DAC293D-1662-0839-2996-B1DDC9169522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53.230" v="5729" actId="164"/>
          <ac:spMkLst>
            <pc:docMk/>
            <pc:sldMk cId="3067100344" sldId="406"/>
            <ac:spMk id="26" creationId="{39FF209D-F58A-8953-0107-A2AF5D120C22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53.230" v="5729" actId="164"/>
          <ac:spMkLst>
            <pc:docMk/>
            <pc:sldMk cId="3067100344" sldId="406"/>
            <ac:spMk id="27" creationId="{A5DEC339-FC06-4157-077D-6A1A29AE6CBF}"/>
          </ac:spMkLst>
        </pc:spChg>
        <pc:spChg chg="del mod topLvl">
          <ac:chgData name="Hans Gelissen (DHL SSC Maastricht)" userId="1afa8510-4eed-4b73-a29e-678838cd8acd" providerId="ADAL" clId="{D4795083-EE21-4870-A6A1-CBEBAABF3C14}" dt="2023-06-05T12:49:47.151" v="5487" actId="478"/>
          <ac:spMkLst>
            <pc:docMk/>
            <pc:sldMk cId="3067100344" sldId="406"/>
            <ac:spMk id="28" creationId="{20CCBA90-3725-A1AB-F671-E15D240502A8}"/>
          </ac:spMkLst>
        </pc:spChg>
        <pc:spChg chg="mod topLvl">
          <ac:chgData name="Hans Gelissen (DHL SSC Maastricht)" userId="1afa8510-4eed-4b73-a29e-678838cd8acd" providerId="ADAL" clId="{D4795083-EE21-4870-A6A1-CBEBAABF3C14}" dt="2023-06-05T13:03:53.230" v="5729" actId="164"/>
          <ac:spMkLst>
            <pc:docMk/>
            <pc:sldMk cId="3067100344" sldId="406"/>
            <ac:spMk id="29" creationId="{6BCB5976-5741-65E1-BD42-E48E0821A63A}"/>
          </ac:spMkLst>
        </pc:spChg>
        <pc:spChg chg="mod topLvl">
          <ac:chgData name="Hans Gelissen (DHL SSC Maastricht)" userId="1afa8510-4eed-4b73-a29e-678838cd8acd" providerId="ADAL" clId="{D4795083-EE21-4870-A6A1-CBEBAABF3C14}" dt="2023-06-05T13:00:53.251" v="5694" actId="164"/>
          <ac:spMkLst>
            <pc:docMk/>
            <pc:sldMk cId="3067100344" sldId="406"/>
            <ac:spMk id="30" creationId="{71192544-456E-398E-D470-DCAD844998E3}"/>
          </ac:spMkLst>
        </pc:spChg>
        <pc:spChg chg="mod topLvl">
          <ac:chgData name="Hans Gelissen (DHL SSC Maastricht)" userId="1afa8510-4eed-4b73-a29e-678838cd8acd" providerId="ADAL" clId="{D4795083-EE21-4870-A6A1-CBEBAABF3C14}" dt="2023-06-05T13:04:19.191" v="5731" actId="164"/>
          <ac:spMkLst>
            <pc:docMk/>
            <pc:sldMk cId="3067100344" sldId="406"/>
            <ac:spMk id="31" creationId="{2104AC3C-997B-4CA6-0481-F21EA55F9BED}"/>
          </ac:spMkLst>
        </pc:spChg>
        <pc:spChg chg="mod topLvl">
          <ac:chgData name="Hans Gelissen (DHL SSC Maastricht)" userId="1afa8510-4eed-4b73-a29e-678838cd8acd" providerId="ADAL" clId="{D4795083-EE21-4870-A6A1-CBEBAABF3C14}" dt="2023-06-05T13:04:19.191" v="5731" actId="164"/>
          <ac:spMkLst>
            <pc:docMk/>
            <pc:sldMk cId="3067100344" sldId="406"/>
            <ac:spMk id="32" creationId="{6ED2E19C-EA6D-32E2-F000-86CA301DC1CF}"/>
          </ac:spMkLst>
        </pc:spChg>
        <pc:spChg chg="mod topLvl">
          <ac:chgData name="Hans Gelissen (DHL SSC Maastricht)" userId="1afa8510-4eed-4b73-a29e-678838cd8acd" providerId="ADAL" clId="{D4795083-EE21-4870-A6A1-CBEBAABF3C14}" dt="2023-06-05T13:00:53.251" v="5694" actId="164"/>
          <ac:spMkLst>
            <pc:docMk/>
            <pc:sldMk cId="3067100344" sldId="406"/>
            <ac:spMk id="33" creationId="{3F38D74B-0D23-B7BD-7CF3-B7402DA29928}"/>
          </ac:spMkLst>
        </pc:spChg>
        <pc:spChg chg="mod topLvl">
          <ac:chgData name="Hans Gelissen (DHL SSC Maastricht)" userId="1afa8510-4eed-4b73-a29e-678838cd8acd" providerId="ADAL" clId="{D4795083-EE21-4870-A6A1-CBEBAABF3C14}" dt="2023-06-05T13:04:19.191" v="5731" actId="164"/>
          <ac:spMkLst>
            <pc:docMk/>
            <pc:sldMk cId="3067100344" sldId="406"/>
            <ac:spMk id="34" creationId="{3EEB123E-E235-FEA8-91E7-6FF1A1641857}"/>
          </ac:spMkLst>
        </pc:spChg>
        <pc:spChg chg="mod topLvl">
          <ac:chgData name="Hans Gelissen (DHL SSC Maastricht)" userId="1afa8510-4eed-4b73-a29e-678838cd8acd" providerId="ADAL" clId="{D4795083-EE21-4870-A6A1-CBEBAABF3C14}" dt="2023-06-05T13:04:19.191" v="5731" actId="164"/>
          <ac:spMkLst>
            <pc:docMk/>
            <pc:sldMk cId="3067100344" sldId="406"/>
            <ac:spMk id="35" creationId="{51E436AA-155D-46D1-EFEA-F6A107916399}"/>
          </ac:spMkLst>
        </pc:spChg>
        <pc:spChg chg="add mod topLvl">
          <ac:chgData name="Hans Gelissen (DHL SSC Maastricht)" userId="1afa8510-4eed-4b73-a29e-678838cd8acd" providerId="ADAL" clId="{D4795083-EE21-4870-A6A1-CBEBAABF3C14}" dt="2023-06-05T13:00:53.251" v="5694" actId="164"/>
          <ac:spMkLst>
            <pc:docMk/>
            <pc:sldMk cId="3067100344" sldId="406"/>
            <ac:spMk id="36" creationId="{C0FBED8D-2725-0ED9-CC62-A269D7A84776}"/>
          </ac:spMkLst>
        </pc:spChg>
        <pc:spChg chg="add mod topLvl">
          <ac:chgData name="Hans Gelissen (DHL SSC Maastricht)" userId="1afa8510-4eed-4b73-a29e-678838cd8acd" providerId="ADAL" clId="{D4795083-EE21-4870-A6A1-CBEBAABF3C14}" dt="2023-06-05T13:00:53.251" v="5694" actId="164"/>
          <ac:spMkLst>
            <pc:docMk/>
            <pc:sldMk cId="3067100344" sldId="406"/>
            <ac:spMk id="37" creationId="{F53425A1-1B20-DF08-9FAC-8351D7B2D285}"/>
          </ac:spMkLst>
        </pc:spChg>
        <pc:spChg chg="add mod topLvl">
          <ac:chgData name="Hans Gelissen (DHL SSC Maastricht)" userId="1afa8510-4eed-4b73-a29e-678838cd8acd" providerId="ADAL" clId="{D4795083-EE21-4870-A6A1-CBEBAABF3C14}" dt="2023-06-05T13:00:53.251" v="5694" actId="164"/>
          <ac:spMkLst>
            <pc:docMk/>
            <pc:sldMk cId="3067100344" sldId="406"/>
            <ac:spMk id="38" creationId="{6D0FC2A3-E122-5557-8799-74D4CEC36E16}"/>
          </ac:spMkLst>
        </pc:spChg>
        <pc:spChg chg="add mod">
          <ac:chgData name="Hans Gelissen (DHL SSC Maastricht)" userId="1afa8510-4eed-4b73-a29e-678838cd8acd" providerId="ADAL" clId="{D4795083-EE21-4870-A6A1-CBEBAABF3C14}" dt="2023-06-05T13:00:53.251" v="5694" actId="164"/>
          <ac:spMkLst>
            <pc:docMk/>
            <pc:sldMk cId="3067100344" sldId="406"/>
            <ac:spMk id="39" creationId="{56093C9A-632E-9056-246D-BCF76679DC0A}"/>
          </ac:spMkLst>
        </pc:spChg>
        <pc:spChg chg="add mod topLvl">
          <ac:chgData name="Hans Gelissen (DHL SSC Maastricht)" userId="1afa8510-4eed-4b73-a29e-678838cd8acd" providerId="ADAL" clId="{D4795083-EE21-4870-A6A1-CBEBAABF3C14}" dt="2023-06-05T13:00:53.251" v="5694" actId="164"/>
          <ac:spMkLst>
            <pc:docMk/>
            <pc:sldMk cId="3067100344" sldId="406"/>
            <ac:spMk id="40" creationId="{63970EE3-EE7A-3F25-9F85-E1BEF22A8D07}"/>
          </ac:spMkLst>
        </pc:spChg>
        <pc:spChg chg="add mod topLvl">
          <ac:chgData name="Hans Gelissen (DHL SSC Maastricht)" userId="1afa8510-4eed-4b73-a29e-678838cd8acd" providerId="ADAL" clId="{D4795083-EE21-4870-A6A1-CBEBAABF3C14}" dt="2023-06-05T13:00:53.251" v="5694" actId="164"/>
          <ac:spMkLst>
            <pc:docMk/>
            <pc:sldMk cId="3067100344" sldId="406"/>
            <ac:spMk id="41" creationId="{CEAA137E-2B00-32D0-85C2-784CFBA4761C}"/>
          </ac:spMkLst>
        </pc:spChg>
        <pc:spChg chg="add mod">
          <ac:chgData name="Hans Gelissen (DHL SSC Maastricht)" userId="1afa8510-4eed-4b73-a29e-678838cd8acd" providerId="ADAL" clId="{D4795083-EE21-4870-A6A1-CBEBAABF3C14}" dt="2023-06-05T12:57:19.508" v="5642" actId="1076"/>
          <ac:spMkLst>
            <pc:docMk/>
            <pc:sldMk cId="3067100344" sldId="406"/>
            <ac:spMk id="43" creationId="{83BD2AD7-51CC-6DD7-4D35-FE0238C6FEAC}"/>
          </ac:spMkLst>
        </pc:spChg>
        <pc:spChg chg="add mod">
          <ac:chgData name="Hans Gelissen (DHL SSC Maastricht)" userId="1afa8510-4eed-4b73-a29e-678838cd8acd" providerId="ADAL" clId="{D4795083-EE21-4870-A6A1-CBEBAABF3C14}" dt="2023-06-05T12:57:19.508" v="5642" actId="1076"/>
          <ac:spMkLst>
            <pc:docMk/>
            <pc:sldMk cId="3067100344" sldId="406"/>
            <ac:spMk id="44" creationId="{3394562B-FAF5-423B-3CD9-9141069E4789}"/>
          </ac:spMkLst>
        </pc:spChg>
        <pc:spChg chg="add mod">
          <ac:chgData name="Hans Gelissen (DHL SSC Maastricht)" userId="1afa8510-4eed-4b73-a29e-678838cd8acd" providerId="ADAL" clId="{D4795083-EE21-4870-A6A1-CBEBAABF3C14}" dt="2023-06-05T12:57:19.508" v="5642" actId="1076"/>
          <ac:spMkLst>
            <pc:docMk/>
            <pc:sldMk cId="3067100344" sldId="406"/>
            <ac:spMk id="45" creationId="{67A42288-F0FB-A41E-15D9-A5A45BE4AA96}"/>
          </ac:spMkLst>
        </pc:spChg>
        <pc:spChg chg="add mod">
          <ac:chgData name="Hans Gelissen (DHL SSC Maastricht)" userId="1afa8510-4eed-4b73-a29e-678838cd8acd" providerId="ADAL" clId="{D4795083-EE21-4870-A6A1-CBEBAABF3C14}" dt="2023-06-05T12:57:19.508" v="5642" actId="1076"/>
          <ac:spMkLst>
            <pc:docMk/>
            <pc:sldMk cId="3067100344" sldId="406"/>
            <ac:spMk id="46" creationId="{DE36931A-9AAC-0C86-9899-5D36199C0B1B}"/>
          </ac:spMkLst>
        </pc:spChg>
        <pc:spChg chg="add mod">
          <ac:chgData name="Hans Gelissen (DHL SSC Maastricht)" userId="1afa8510-4eed-4b73-a29e-678838cd8acd" providerId="ADAL" clId="{D4795083-EE21-4870-A6A1-CBEBAABF3C14}" dt="2023-06-05T12:57:19.508" v="5642" actId="1076"/>
          <ac:spMkLst>
            <pc:docMk/>
            <pc:sldMk cId="3067100344" sldId="406"/>
            <ac:spMk id="47" creationId="{FBFA119A-B14B-9D3F-DF4C-13719D2D18FC}"/>
          </ac:spMkLst>
        </pc:spChg>
        <pc:spChg chg="add mod">
          <ac:chgData name="Hans Gelissen (DHL SSC Maastricht)" userId="1afa8510-4eed-4b73-a29e-678838cd8acd" providerId="ADAL" clId="{D4795083-EE21-4870-A6A1-CBEBAABF3C14}" dt="2023-06-05T12:57:19.508" v="5642" actId="1076"/>
          <ac:spMkLst>
            <pc:docMk/>
            <pc:sldMk cId="3067100344" sldId="406"/>
            <ac:spMk id="48" creationId="{1B8D191F-5A63-6C0D-3696-F8F4B8DA1A45}"/>
          </ac:spMkLst>
        </pc:spChg>
        <pc:spChg chg="mod">
          <ac:chgData name="Hans Gelissen (DHL SSC Maastricht)" userId="1afa8510-4eed-4b73-a29e-678838cd8acd" providerId="ADAL" clId="{D4795083-EE21-4870-A6A1-CBEBAABF3C14}" dt="2023-06-05T13:00:41.929" v="5691" actId="1076"/>
          <ac:spMkLst>
            <pc:docMk/>
            <pc:sldMk cId="3067100344" sldId="406"/>
            <ac:spMk id="52" creationId="{5310A2BB-5605-9FDB-0FBC-E43C9AC52494}"/>
          </ac:spMkLst>
        </pc:spChg>
        <pc:spChg chg="mod">
          <ac:chgData name="Hans Gelissen (DHL SSC Maastricht)" userId="1afa8510-4eed-4b73-a29e-678838cd8acd" providerId="ADAL" clId="{D4795083-EE21-4870-A6A1-CBEBAABF3C14}" dt="2023-06-05T13:00:41.929" v="5691" actId="1076"/>
          <ac:spMkLst>
            <pc:docMk/>
            <pc:sldMk cId="3067100344" sldId="406"/>
            <ac:spMk id="53" creationId="{1C3B552F-8F70-2B26-B987-8016AEFC5124}"/>
          </ac:spMkLst>
        </pc:spChg>
        <pc:spChg chg="mod">
          <ac:chgData name="Hans Gelissen (DHL SSC Maastricht)" userId="1afa8510-4eed-4b73-a29e-678838cd8acd" providerId="ADAL" clId="{D4795083-EE21-4870-A6A1-CBEBAABF3C14}" dt="2023-06-05T13:00:41.929" v="5691" actId="1076"/>
          <ac:spMkLst>
            <pc:docMk/>
            <pc:sldMk cId="3067100344" sldId="406"/>
            <ac:spMk id="54" creationId="{943685B4-5E49-DF43-C982-11085EB62190}"/>
          </ac:spMkLst>
        </pc:spChg>
        <pc:spChg chg="mod">
          <ac:chgData name="Hans Gelissen (DHL SSC Maastricht)" userId="1afa8510-4eed-4b73-a29e-678838cd8acd" providerId="ADAL" clId="{D4795083-EE21-4870-A6A1-CBEBAABF3C14}" dt="2023-06-05T13:00:41.929" v="5691" actId="1076"/>
          <ac:spMkLst>
            <pc:docMk/>
            <pc:sldMk cId="3067100344" sldId="406"/>
            <ac:spMk id="55" creationId="{DA5C1BD8-33A2-893A-A08F-FF34E767BA80}"/>
          </ac:spMkLst>
        </pc:spChg>
        <pc:spChg chg="mod">
          <ac:chgData name="Hans Gelissen (DHL SSC Maastricht)" userId="1afa8510-4eed-4b73-a29e-678838cd8acd" providerId="ADAL" clId="{D4795083-EE21-4870-A6A1-CBEBAABF3C14}" dt="2023-06-05T13:00:41.929" v="5691" actId="1076"/>
          <ac:spMkLst>
            <pc:docMk/>
            <pc:sldMk cId="3067100344" sldId="406"/>
            <ac:spMk id="56" creationId="{74E4F26B-B7ED-A4D6-73CD-FBBEF48A127B}"/>
          </ac:spMkLst>
        </pc:spChg>
        <pc:spChg chg="mod">
          <ac:chgData name="Hans Gelissen (DHL SSC Maastricht)" userId="1afa8510-4eed-4b73-a29e-678838cd8acd" providerId="ADAL" clId="{D4795083-EE21-4870-A6A1-CBEBAABF3C14}" dt="2023-06-05T13:00:41.929" v="5691" actId="1076"/>
          <ac:spMkLst>
            <pc:docMk/>
            <pc:sldMk cId="3067100344" sldId="406"/>
            <ac:spMk id="57" creationId="{6CB9EA59-66CF-E1D2-180D-5060265DE3BD}"/>
          </ac:spMkLst>
        </pc:spChg>
        <pc:spChg chg="mod">
          <ac:chgData name="Hans Gelissen (DHL SSC Maastricht)" userId="1afa8510-4eed-4b73-a29e-678838cd8acd" providerId="ADAL" clId="{D4795083-EE21-4870-A6A1-CBEBAABF3C14}" dt="2023-06-05T13:00:41.929" v="5691" actId="1076"/>
          <ac:spMkLst>
            <pc:docMk/>
            <pc:sldMk cId="3067100344" sldId="406"/>
            <ac:spMk id="58" creationId="{0B867824-6CF5-C81B-4425-870461B2C0B7}"/>
          </ac:spMkLst>
        </pc:spChg>
        <pc:spChg chg="mod">
          <ac:chgData name="Hans Gelissen (DHL SSC Maastricht)" userId="1afa8510-4eed-4b73-a29e-678838cd8acd" providerId="ADAL" clId="{D4795083-EE21-4870-A6A1-CBEBAABF3C14}" dt="2023-06-05T13:06:58.128" v="5766" actId="1037"/>
          <ac:spMkLst>
            <pc:docMk/>
            <pc:sldMk cId="3067100344" sldId="406"/>
            <ac:spMk id="61" creationId="{7270564C-3A19-F7B6-57CF-483B541C1AB6}"/>
          </ac:spMkLst>
        </pc:spChg>
        <pc:spChg chg="mod">
          <ac:chgData name="Hans Gelissen (DHL SSC Maastricht)" userId="1afa8510-4eed-4b73-a29e-678838cd8acd" providerId="ADAL" clId="{D4795083-EE21-4870-A6A1-CBEBAABF3C14}" dt="2023-06-05T13:06:58.128" v="5766" actId="1037"/>
          <ac:spMkLst>
            <pc:docMk/>
            <pc:sldMk cId="3067100344" sldId="406"/>
            <ac:spMk id="62" creationId="{C08881B8-632A-8AD5-D175-EA066ADCE432}"/>
          </ac:spMkLst>
        </pc:spChg>
        <pc:spChg chg="mod">
          <ac:chgData name="Hans Gelissen (DHL SSC Maastricht)" userId="1afa8510-4eed-4b73-a29e-678838cd8acd" providerId="ADAL" clId="{D4795083-EE21-4870-A6A1-CBEBAABF3C14}" dt="2023-06-05T13:06:58.128" v="5766" actId="1037"/>
          <ac:spMkLst>
            <pc:docMk/>
            <pc:sldMk cId="3067100344" sldId="406"/>
            <ac:spMk id="63" creationId="{B737C576-3863-4A7E-F131-346D5D959264}"/>
          </ac:spMkLst>
        </pc:spChg>
        <pc:spChg chg="mod">
          <ac:chgData name="Hans Gelissen (DHL SSC Maastricht)" userId="1afa8510-4eed-4b73-a29e-678838cd8acd" providerId="ADAL" clId="{D4795083-EE21-4870-A6A1-CBEBAABF3C14}" dt="2023-06-05T13:06:58.128" v="5766" actId="1037"/>
          <ac:spMkLst>
            <pc:docMk/>
            <pc:sldMk cId="3067100344" sldId="406"/>
            <ac:spMk id="64" creationId="{CC8B686A-2607-4277-C841-41EB11C64B8F}"/>
          </ac:spMkLst>
        </pc:spChg>
        <pc:spChg chg="mod">
          <ac:chgData name="Hans Gelissen (DHL SSC Maastricht)" userId="1afa8510-4eed-4b73-a29e-678838cd8acd" providerId="ADAL" clId="{D4795083-EE21-4870-A6A1-CBEBAABF3C14}" dt="2023-06-05T13:06:58.128" v="5766" actId="1037"/>
          <ac:spMkLst>
            <pc:docMk/>
            <pc:sldMk cId="3067100344" sldId="406"/>
            <ac:spMk id="65" creationId="{5FF95F18-B57C-9223-F285-72BFD81D4D32}"/>
          </ac:spMkLst>
        </pc:spChg>
        <pc:spChg chg="mod">
          <ac:chgData name="Hans Gelissen (DHL SSC Maastricht)" userId="1afa8510-4eed-4b73-a29e-678838cd8acd" providerId="ADAL" clId="{D4795083-EE21-4870-A6A1-CBEBAABF3C14}" dt="2023-06-05T13:06:58.128" v="5766" actId="1037"/>
          <ac:spMkLst>
            <pc:docMk/>
            <pc:sldMk cId="3067100344" sldId="406"/>
            <ac:spMk id="66" creationId="{DB67F58A-D7B8-40EB-4310-5CA9CCA908BB}"/>
          </ac:spMkLst>
        </pc:spChg>
        <pc:spChg chg="mod">
          <ac:chgData name="Hans Gelissen (DHL SSC Maastricht)" userId="1afa8510-4eed-4b73-a29e-678838cd8acd" providerId="ADAL" clId="{D4795083-EE21-4870-A6A1-CBEBAABF3C14}" dt="2023-06-05T13:06:58.128" v="5766" actId="1037"/>
          <ac:spMkLst>
            <pc:docMk/>
            <pc:sldMk cId="3067100344" sldId="406"/>
            <ac:spMk id="67" creationId="{BFFF86DE-559B-6EBC-9048-52B9E83F5D9E}"/>
          </ac:spMkLst>
        </pc:spChg>
        <pc:spChg chg="mod">
          <ac:chgData name="Hans Gelissen (DHL SSC Maastricht)" userId="1afa8510-4eed-4b73-a29e-678838cd8acd" providerId="ADAL" clId="{D4795083-EE21-4870-A6A1-CBEBAABF3C14}" dt="2023-06-05T13:06:58.128" v="5766" actId="1037"/>
          <ac:spMkLst>
            <pc:docMk/>
            <pc:sldMk cId="3067100344" sldId="406"/>
            <ac:spMk id="68" creationId="{C30833C5-8E09-6371-7431-31ED5B44AE26}"/>
          </ac:spMkLst>
        </pc:spChg>
        <pc:grpChg chg="add del mod">
          <ac:chgData name="Hans Gelissen (DHL SSC Maastricht)" userId="1afa8510-4eed-4b73-a29e-678838cd8acd" providerId="ADAL" clId="{D4795083-EE21-4870-A6A1-CBEBAABF3C14}" dt="2023-06-05T12:32:10.345" v="4914" actId="165"/>
          <ac:grpSpMkLst>
            <pc:docMk/>
            <pc:sldMk cId="3067100344" sldId="406"/>
            <ac:grpSpMk id="6" creationId="{170E2E3A-7DF3-6690-1396-9FBF0D2D31DD}"/>
          </ac:grpSpMkLst>
        </pc:grpChg>
        <pc:grpChg chg="add del mod">
          <ac:chgData name="Hans Gelissen (DHL SSC Maastricht)" userId="1afa8510-4eed-4b73-a29e-678838cd8acd" providerId="ADAL" clId="{D4795083-EE21-4870-A6A1-CBEBAABF3C14}" dt="2023-06-05T12:57:20.622" v="5643" actId="478"/>
          <ac:grpSpMkLst>
            <pc:docMk/>
            <pc:sldMk cId="3067100344" sldId="406"/>
            <ac:grpSpMk id="49" creationId="{11F76418-EA14-6A21-F716-D2EF95F1374C}"/>
          </ac:grpSpMkLst>
        </pc:grpChg>
        <pc:grpChg chg="add del mod">
          <ac:chgData name="Hans Gelissen (DHL SSC Maastricht)" userId="1afa8510-4eed-4b73-a29e-678838cd8acd" providerId="ADAL" clId="{D4795083-EE21-4870-A6A1-CBEBAABF3C14}" dt="2023-06-05T13:00:50.311" v="5693" actId="165"/>
          <ac:grpSpMkLst>
            <pc:docMk/>
            <pc:sldMk cId="3067100344" sldId="406"/>
            <ac:grpSpMk id="50" creationId="{F326B5E7-C717-A4EA-EC3A-0A35422197B5}"/>
          </ac:grpSpMkLst>
        </pc:grpChg>
        <pc:grpChg chg="add del mod">
          <ac:chgData name="Hans Gelissen (DHL SSC Maastricht)" userId="1afa8510-4eed-4b73-a29e-678838cd8acd" providerId="ADAL" clId="{D4795083-EE21-4870-A6A1-CBEBAABF3C14}" dt="2023-06-05T13:00:42.892" v="5692" actId="478"/>
          <ac:grpSpMkLst>
            <pc:docMk/>
            <pc:sldMk cId="3067100344" sldId="406"/>
            <ac:grpSpMk id="51" creationId="{FA7275CE-FAD3-E6DD-A6BA-773701EAE54C}"/>
          </ac:grpSpMkLst>
        </pc:grpChg>
        <pc:grpChg chg="add mod">
          <ac:chgData name="Hans Gelissen (DHL SSC Maastricht)" userId="1afa8510-4eed-4b73-a29e-678838cd8acd" providerId="ADAL" clId="{D4795083-EE21-4870-A6A1-CBEBAABF3C14}" dt="2023-06-05T13:00:53.251" v="5694" actId="164"/>
          <ac:grpSpMkLst>
            <pc:docMk/>
            <pc:sldMk cId="3067100344" sldId="406"/>
            <ac:grpSpMk id="59" creationId="{16DB0181-B8AC-84BF-D7F6-46525A9918A9}"/>
          </ac:grpSpMkLst>
        </pc:grpChg>
        <pc:grpChg chg="add mod">
          <ac:chgData name="Hans Gelissen (DHL SSC Maastricht)" userId="1afa8510-4eed-4b73-a29e-678838cd8acd" providerId="ADAL" clId="{D4795083-EE21-4870-A6A1-CBEBAABF3C14}" dt="2023-06-05T13:06:58.128" v="5766" actId="1037"/>
          <ac:grpSpMkLst>
            <pc:docMk/>
            <pc:sldMk cId="3067100344" sldId="406"/>
            <ac:grpSpMk id="60" creationId="{C2A74BB5-168A-21ED-5055-914DE251D8AF}"/>
          </ac:grpSpMkLst>
        </pc:grpChg>
        <pc:grpChg chg="add mod">
          <ac:chgData name="Hans Gelissen (DHL SSC Maastricht)" userId="1afa8510-4eed-4b73-a29e-678838cd8acd" providerId="ADAL" clId="{D4795083-EE21-4870-A6A1-CBEBAABF3C14}" dt="2023-06-05T13:03:34.227" v="5727" actId="164"/>
          <ac:grpSpMkLst>
            <pc:docMk/>
            <pc:sldMk cId="3067100344" sldId="406"/>
            <ac:grpSpMk id="69" creationId="{9F7828C3-C1BB-B06C-E9CD-36D69B8057AE}"/>
          </ac:grpSpMkLst>
        </pc:grpChg>
        <pc:grpChg chg="add mod">
          <ac:chgData name="Hans Gelissen (DHL SSC Maastricht)" userId="1afa8510-4eed-4b73-a29e-678838cd8acd" providerId="ADAL" clId="{D4795083-EE21-4870-A6A1-CBEBAABF3C14}" dt="2023-06-05T13:03:43.430" v="5728" actId="164"/>
          <ac:grpSpMkLst>
            <pc:docMk/>
            <pc:sldMk cId="3067100344" sldId="406"/>
            <ac:grpSpMk id="70" creationId="{894D03BA-854A-1871-9CEA-0170EB6FC244}"/>
          </ac:grpSpMkLst>
        </pc:grpChg>
        <pc:grpChg chg="add mod">
          <ac:chgData name="Hans Gelissen (DHL SSC Maastricht)" userId="1afa8510-4eed-4b73-a29e-678838cd8acd" providerId="ADAL" clId="{D4795083-EE21-4870-A6A1-CBEBAABF3C14}" dt="2023-06-05T13:03:53.230" v="5729" actId="164"/>
          <ac:grpSpMkLst>
            <pc:docMk/>
            <pc:sldMk cId="3067100344" sldId="406"/>
            <ac:grpSpMk id="71" creationId="{0D1BEBA0-2783-5349-CC7F-F92559FEE909}"/>
          </ac:grpSpMkLst>
        </pc:grpChg>
        <pc:grpChg chg="add mod">
          <ac:chgData name="Hans Gelissen (DHL SSC Maastricht)" userId="1afa8510-4eed-4b73-a29e-678838cd8acd" providerId="ADAL" clId="{D4795083-EE21-4870-A6A1-CBEBAABF3C14}" dt="2023-06-05T13:04:19.191" v="5731" actId="164"/>
          <ac:grpSpMkLst>
            <pc:docMk/>
            <pc:sldMk cId="3067100344" sldId="406"/>
            <ac:grpSpMk id="72" creationId="{8F3800B6-7B74-A83B-1320-5589EA903DFB}"/>
          </ac:grpSpMkLst>
        </pc:grpChg>
        <pc:picChg chg="add del mod ord">
          <ac:chgData name="Hans Gelissen (DHL SSC Maastricht)" userId="1afa8510-4eed-4b73-a29e-678838cd8acd" providerId="ADAL" clId="{D4795083-EE21-4870-A6A1-CBEBAABF3C14}" dt="2023-06-05T12:54:51.645" v="5613" actId="478"/>
          <ac:picMkLst>
            <pc:docMk/>
            <pc:sldMk cId="3067100344" sldId="406"/>
            <ac:picMk id="42" creationId="{8025113D-E99D-F950-CD06-59A1CDB2AE52}"/>
          </ac:picMkLst>
        </pc:picChg>
      </pc:sldChg>
      <pc:sldChg chg="addSp delSp modSp add mod modClrScheme chgLayout">
        <pc:chgData name="Hans Gelissen (DHL SSC Maastricht)" userId="1afa8510-4eed-4b73-a29e-678838cd8acd" providerId="ADAL" clId="{D4795083-EE21-4870-A6A1-CBEBAABF3C14}" dt="2023-06-05T13:09:35.623" v="5780" actId="20577"/>
        <pc:sldMkLst>
          <pc:docMk/>
          <pc:sldMk cId="1660103316" sldId="407"/>
        </pc:sldMkLst>
        <pc:spChg chg="del mod ord">
          <ac:chgData name="Hans Gelissen (DHL SSC Maastricht)" userId="1afa8510-4eed-4b73-a29e-678838cd8acd" providerId="ADAL" clId="{D4795083-EE21-4870-A6A1-CBEBAABF3C14}" dt="2023-06-05T13:09:27.156" v="5770" actId="700"/>
          <ac:spMkLst>
            <pc:docMk/>
            <pc:sldMk cId="1660103316" sldId="407"/>
            <ac:spMk id="2" creationId="{5EB55963-2ED2-C1E7-9ABD-D06F094CD6BF}"/>
          </ac:spMkLst>
        </pc:spChg>
        <pc:spChg chg="del">
          <ac:chgData name="Hans Gelissen (DHL SSC Maastricht)" userId="1afa8510-4eed-4b73-a29e-678838cd8acd" providerId="ADAL" clId="{D4795083-EE21-4870-A6A1-CBEBAABF3C14}" dt="2023-06-05T13:09:27.156" v="5770" actId="700"/>
          <ac:spMkLst>
            <pc:docMk/>
            <pc:sldMk cId="1660103316" sldId="407"/>
            <ac:spMk id="3" creationId="{76F77ACC-B350-D80B-F869-101C144789AF}"/>
          </ac:spMkLst>
        </pc:spChg>
        <pc:spChg chg="add mod ord">
          <ac:chgData name="Hans Gelissen (DHL SSC Maastricht)" userId="1afa8510-4eed-4b73-a29e-678838cd8acd" providerId="ADAL" clId="{D4795083-EE21-4870-A6A1-CBEBAABF3C14}" dt="2023-06-05T13:09:35.623" v="5780" actId="20577"/>
          <ac:spMkLst>
            <pc:docMk/>
            <pc:sldMk cId="1660103316" sldId="407"/>
            <ac:spMk id="4" creationId="{EFE7F1C1-8710-6168-FCEA-201392ED680B}"/>
          </ac:spMkLst>
        </pc:spChg>
      </pc:sldChg>
      <pc:sldChg chg="addSp delSp modSp add mod modClrScheme chgLayout">
        <pc:chgData name="Hans Gelissen (DHL SSC Maastricht)" userId="1afa8510-4eed-4b73-a29e-678838cd8acd" providerId="ADAL" clId="{D4795083-EE21-4870-A6A1-CBEBAABF3C14}" dt="2023-06-05T13:35:48.580" v="6807" actId="20577"/>
        <pc:sldMkLst>
          <pc:docMk/>
          <pc:sldMk cId="2914571679" sldId="408"/>
        </pc:sldMkLst>
        <pc:spChg chg="del mod ord">
          <ac:chgData name="Hans Gelissen (DHL SSC Maastricht)" userId="1afa8510-4eed-4b73-a29e-678838cd8acd" providerId="ADAL" clId="{D4795083-EE21-4870-A6A1-CBEBAABF3C14}" dt="2023-06-05T13:09:45.496" v="5781" actId="700"/>
          <ac:spMkLst>
            <pc:docMk/>
            <pc:sldMk cId="2914571679" sldId="408"/>
            <ac:spMk id="2" creationId="{5EB55963-2ED2-C1E7-9ABD-D06F094CD6BF}"/>
          </ac:spMkLst>
        </pc:spChg>
        <pc:spChg chg="del mod ord">
          <ac:chgData name="Hans Gelissen (DHL SSC Maastricht)" userId="1afa8510-4eed-4b73-a29e-678838cd8acd" providerId="ADAL" clId="{D4795083-EE21-4870-A6A1-CBEBAABF3C14}" dt="2023-06-05T13:09:45.496" v="5781" actId="700"/>
          <ac:spMkLst>
            <pc:docMk/>
            <pc:sldMk cId="2914571679" sldId="408"/>
            <ac:spMk id="3" creationId="{76F77ACC-B350-D80B-F869-101C144789AF}"/>
          </ac:spMkLst>
        </pc:spChg>
        <pc:spChg chg="add mod ord">
          <ac:chgData name="Hans Gelissen (DHL SSC Maastricht)" userId="1afa8510-4eed-4b73-a29e-678838cd8acd" providerId="ADAL" clId="{D4795083-EE21-4870-A6A1-CBEBAABF3C14}" dt="2023-06-05T13:13:00.607" v="6168" actId="20577"/>
          <ac:spMkLst>
            <pc:docMk/>
            <pc:sldMk cId="2914571679" sldId="408"/>
            <ac:spMk id="4" creationId="{801A0043-F3B5-6559-FC6F-49C9EA76B2B8}"/>
          </ac:spMkLst>
        </pc:spChg>
        <pc:spChg chg="add mod ord">
          <ac:chgData name="Hans Gelissen (DHL SSC Maastricht)" userId="1afa8510-4eed-4b73-a29e-678838cd8acd" providerId="ADAL" clId="{D4795083-EE21-4870-A6A1-CBEBAABF3C14}" dt="2023-06-05T13:09:54.840" v="5799" actId="20577"/>
          <ac:spMkLst>
            <pc:docMk/>
            <pc:sldMk cId="2914571679" sldId="408"/>
            <ac:spMk id="5" creationId="{E1919911-2845-E0CF-FE03-16B2D089C4DE}"/>
          </ac:spMkLst>
        </pc:spChg>
        <pc:spChg chg="add mod ord">
          <ac:chgData name="Hans Gelissen (DHL SSC Maastricht)" userId="1afa8510-4eed-4b73-a29e-678838cd8acd" providerId="ADAL" clId="{D4795083-EE21-4870-A6A1-CBEBAABF3C14}" dt="2023-06-05T13:12:48.950" v="6146" actId="6549"/>
          <ac:spMkLst>
            <pc:docMk/>
            <pc:sldMk cId="2914571679" sldId="408"/>
            <ac:spMk id="6" creationId="{090832DE-331E-643A-B8A6-9F439E55BD1F}"/>
          </ac:spMkLst>
        </pc:spChg>
        <pc:spChg chg="add mod ord">
          <ac:chgData name="Hans Gelissen (DHL SSC Maastricht)" userId="1afa8510-4eed-4b73-a29e-678838cd8acd" providerId="ADAL" clId="{D4795083-EE21-4870-A6A1-CBEBAABF3C14}" dt="2023-06-05T13:35:48.580" v="6807" actId="20577"/>
          <ac:spMkLst>
            <pc:docMk/>
            <pc:sldMk cId="2914571679" sldId="408"/>
            <ac:spMk id="7" creationId="{AACFFF7D-F27D-D78A-32A4-D67C9A3400BA}"/>
          </ac:spMkLst>
        </pc:spChg>
      </pc:sldChg>
      <pc:sldChg chg="addSp delSp modSp add mod modAnim">
        <pc:chgData name="Hans Gelissen (DHL SSC Maastricht)" userId="1afa8510-4eed-4b73-a29e-678838cd8acd" providerId="ADAL" clId="{D4795083-EE21-4870-A6A1-CBEBAABF3C14}" dt="2023-06-05T13:20:38.316" v="6339"/>
        <pc:sldMkLst>
          <pc:docMk/>
          <pc:sldMk cId="640046494" sldId="409"/>
        </pc:sldMkLst>
        <pc:spChg chg="mod">
          <ac:chgData name="Hans Gelissen (DHL SSC Maastricht)" userId="1afa8510-4eed-4b73-a29e-678838cd8acd" providerId="ADAL" clId="{D4795083-EE21-4870-A6A1-CBEBAABF3C14}" dt="2023-06-05T13:15:38.912" v="6239" actId="20577"/>
          <ac:spMkLst>
            <pc:docMk/>
            <pc:sldMk cId="640046494" sldId="409"/>
            <ac:spMk id="2" creationId="{5EB55963-2ED2-C1E7-9ABD-D06F094CD6BF}"/>
          </ac:spMkLst>
        </pc:spChg>
        <pc:spChg chg="del">
          <ac:chgData name="Hans Gelissen (DHL SSC Maastricht)" userId="1afa8510-4eed-4b73-a29e-678838cd8acd" providerId="ADAL" clId="{D4795083-EE21-4870-A6A1-CBEBAABF3C14}" dt="2023-06-05T13:14:10.768" v="6169" actId="478"/>
          <ac:spMkLst>
            <pc:docMk/>
            <pc:sldMk cId="640046494" sldId="409"/>
            <ac:spMk id="3" creationId="{76F77ACC-B350-D80B-F869-101C144789AF}"/>
          </ac:spMkLst>
        </pc:spChg>
        <pc:spChg chg="add mod ord">
          <ac:chgData name="Hans Gelissen (DHL SSC Maastricht)" userId="1afa8510-4eed-4b73-a29e-678838cd8acd" providerId="ADAL" clId="{D4795083-EE21-4870-A6A1-CBEBAABF3C14}" dt="2023-06-05T13:19:59.386" v="6337" actId="166"/>
          <ac:spMkLst>
            <pc:docMk/>
            <pc:sldMk cId="640046494" sldId="409"/>
            <ac:spMk id="5" creationId="{889C9732-996A-9CE2-68DC-CF9FD8FFC664}"/>
          </ac:spMkLst>
        </pc:spChg>
        <pc:spChg chg="add mod ord">
          <ac:chgData name="Hans Gelissen (DHL SSC Maastricht)" userId="1afa8510-4eed-4b73-a29e-678838cd8acd" providerId="ADAL" clId="{D4795083-EE21-4870-A6A1-CBEBAABF3C14}" dt="2023-06-05T13:20:06.392" v="6338" actId="166"/>
          <ac:spMkLst>
            <pc:docMk/>
            <pc:sldMk cId="640046494" sldId="409"/>
            <ac:spMk id="6" creationId="{BAC05E4D-A294-5CD0-868E-B9BBAD562044}"/>
          </ac:spMkLst>
        </pc:spChg>
        <pc:picChg chg="add mod ord">
          <ac:chgData name="Hans Gelissen (DHL SSC Maastricht)" userId="1afa8510-4eed-4b73-a29e-678838cd8acd" providerId="ADAL" clId="{D4795083-EE21-4870-A6A1-CBEBAABF3C14}" dt="2023-06-05T13:15:17.839" v="6172" actId="167"/>
          <ac:picMkLst>
            <pc:docMk/>
            <pc:sldMk cId="640046494" sldId="409"/>
            <ac:picMk id="4" creationId="{0C315370-1AB0-6C6A-216E-71689F4C1013}"/>
          </ac:picMkLst>
        </pc:picChg>
        <pc:picChg chg="add mod">
          <ac:chgData name="Hans Gelissen (DHL SSC Maastricht)" userId="1afa8510-4eed-4b73-a29e-678838cd8acd" providerId="ADAL" clId="{D4795083-EE21-4870-A6A1-CBEBAABF3C14}" dt="2023-06-05T13:20:38.316" v="6339"/>
          <ac:picMkLst>
            <pc:docMk/>
            <pc:sldMk cId="640046494" sldId="409"/>
            <ac:picMk id="7" creationId="{FBA83C8A-1A94-B247-C641-EAEE03BC2BDD}"/>
          </ac:picMkLst>
        </pc:picChg>
        <pc:picChg chg="add mod">
          <ac:chgData name="Hans Gelissen (DHL SSC Maastricht)" userId="1afa8510-4eed-4b73-a29e-678838cd8acd" providerId="ADAL" clId="{D4795083-EE21-4870-A6A1-CBEBAABF3C14}" dt="2023-06-05T13:19:55.930" v="6336"/>
          <ac:picMkLst>
            <pc:docMk/>
            <pc:sldMk cId="640046494" sldId="409"/>
            <ac:picMk id="8" creationId="{2DA4A7FC-444E-0843-5820-5393169D6DCC}"/>
          </ac:picMkLst>
        </pc:picChg>
      </pc:sldChg>
      <pc:sldChg chg="new del">
        <pc:chgData name="Hans Gelissen (DHL SSC Maastricht)" userId="1afa8510-4eed-4b73-a29e-678838cd8acd" providerId="ADAL" clId="{D4795083-EE21-4870-A6A1-CBEBAABF3C14}" dt="2023-06-05T12:29:21.678" v="4855" actId="680"/>
        <pc:sldMkLst>
          <pc:docMk/>
          <pc:sldMk cId="1601350857" sldId="409"/>
        </pc:sldMkLst>
      </pc:sldChg>
      <pc:sldChg chg="addSp delSp modSp add mod modClrScheme modAnim chgLayout">
        <pc:chgData name="Hans Gelissen (DHL SSC Maastricht)" userId="1afa8510-4eed-4b73-a29e-678838cd8acd" providerId="ADAL" clId="{D4795083-EE21-4870-A6A1-CBEBAABF3C14}" dt="2023-06-05T13:25:23.632" v="6493" actId="20577"/>
        <pc:sldMkLst>
          <pc:docMk/>
          <pc:sldMk cId="2078227485" sldId="410"/>
        </pc:sldMkLst>
        <pc:spChg chg="del mod ord">
          <ac:chgData name="Hans Gelissen (DHL SSC Maastricht)" userId="1afa8510-4eed-4b73-a29e-678838cd8acd" providerId="ADAL" clId="{D4795083-EE21-4870-A6A1-CBEBAABF3C14}" dt="2023-06-05T13:22:33.436" v="6346" actId="700"/>
          <ac:spMkLst>
            <pc:docMk/>
            <pc:sldMk cId="2078227485" sldId="410"/>
            <ac:spMk id="2" creationId="{5EB55963-2ED2-C1E7-9ABD-D06F094CD6BF}"/>
          </ac:spMkLst>
        </pc:spChg>
        <pc:spChg chg="del">
          <ac:chgData name="Hans Gelissen (DHL SSC Maastricht)" userId="1afa8510-4eed-4b73-a29e-678838cd8acd" providerId="ADAL" clId="{D4795083-EE21-4870-A6A1-CBEBAABF3C14}" dt="2023-06-05T13:22:33.436" v="6346" actId="700"/>
          <ac:spMkLst>
            <pc:docMk/>
            <pc:sldMk cId="2078227485" sldId="410"/>
            <ac:spMk id="3" creationId="{76F77ACC-B350-D80B-F869-101C144789AF}"/>
          </ac:spMkLst>
        </pc:spChg>
        <pc:spChg chg="add mod ord">
          <ac:chgData name="Hans Gelissen (DHL SSC Maastricht)" userId="1afa8510-4eed-4b73-a29e-678838cd8acd" providerId="ADAL" clId="{D4795083-EE21-4870-A6A1-CBEBAABF3C14}" dt="2023-06-05T13:25:23.632" v="6493" actId="20577"/>
          <ac:spMkLst>
            <pc:docMk/>
            <pc:sldMk cId="2078227485" sldId="410"/>
            <ac:spMk id="4" creationId="{2AFD63A7-6206-31C7-DCAC-BB742278C640}"/>
          </ac:spMkLst>
        </pc:spChg>
        <pc:spChg chg="add mod">
          <ac:chgData name="Hans Gelissen (DHL SSC Maastricht)" userId="1afa8510-4eed-4b73-a29e-678838cd8acd" providerId="ADAL" clId="{D4795083-EE21-4870-A6A1-CBEBAABF3C14}" dt="2023-06-05T13:23:53.277" v="6455" actId="1076"/>
          <ac:spMkLst>
            <pc:docMk/>
            <pc:sldMk cId="2078227485" sldId="410"/>
            <ac:spMk id="5" creationId="{4B6D3F0C-9758-5E6D-A5B6-34876E80A672}"/>
          </ac:spMkLst>
        </pc:spChg>
        <pc:spChg chg="add mod">
          <ac:chgData name="Hans Gelissen (DHL SSC Maastricht)" userId="1afa8510-4eed-4b73-a29e-678838cd8acd" providerId="ADAL" clId="{D4795083-EE21-4870-A6A1-CBEBAABF3C14}" dt="2023-06-05T13:24:20.637" v="6460" actId="113"/>
          <ac:spMkLst>
            <pc:docMk/>
            <pc:sldMk cId="2078227485" sldId="410"/>
            <ac:spMk id="6" creationId="{E545F7DA-0DF0-9FE8-A80F-7D74586FEA80}"/>
          </ac:spMkLst>
        </pc:spChg>
      </pc:sldChg>
      <pc:sldChg chg="addSp delSp modSp add mod modClrScheme chgLayout">
        <pc:chgData name="Hans Gelissen (DHL SSC Maastricht)" userId="1afa8510-4eed-4b73-a29e-678838cd8acd" providerId="ADAL" clId="{D4795083-EE21-4870-A6A1-CBEBAABF3C14}" dt="2023-06-05T13:26:10.247" v="6558" actId="700"/>
        <pc:sldMkLst>
          <pc:docMk/>
          <pc:sldMk cId="1631278590" sldId="411"/>
        </pc:sldMkLst>
        <pc:spChg chg="del mod ord">
          <ac:chgData name="Hans Gelissen (DHL SSC Maastricht)" userId="1afa8510-4eed-4b73-a29e-678838cd8acd" providerId="ADAL" clId="{D4795083-EE21-4870-A6A1-CBEBAABF3C14}" dt="2023-06-05T13:25:59.657" v="6557" actId="700"/>
          <ac:spMkLst>
            <pc:docMk/>
            <pc:sldMk cId="1631278590" sldId="411"/>
            <ac:spMk id="2" creationId="{5EB55963-2ED2-C1E7-9ABD-D06F094CD6BF}"/>
          </ac:spMkLst>
        </pc:spChg>
        <pc:spChg chg="del">
          <ac:chgData name="Hans Gelissen (DHL SSC Maastricht)" userId="1afa8510-4eed-4b73-a29e-678838cd8acd" providerId="ADAL" clId="{D4795083-EE21-4870-A6A1-CBEBAABF3C14}" dt="2023-06-05T13:25:59.657" v="6557" actId="700"/>
          <ac:spMkLst>
            <pc:docMk/>
            <pc:sldMk cId="1631278590" sldId="411"/>
            <ac:spMk id="3" creationId="{76F77ACC-B350-D80B-F869-101C144789AF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3:26:10.247" v="6558" actId="700"/>
          <ac:spMkLst>
            <pc:docMk/>
            <pc:sldMk cId="1631278590" sldId="411"/>
            <ac:spMk id="4" creationId="{14838756-1AED-9562-D3DB-3E8EE5BF324A}"/>
          </ac:spMkLst>
        </pc:spChg>
      </pc:sldChg>
      <pc:sldChg chg="addSp delSp modSp add mod modClrScheme modAnim chgLayout">
        <pc:chgData name="Hans Gelissen (DHL SSC Maastricht)" userId="1afa8510-4eed-4b73-a29e-678838cd8acd" providerId="ADAL" clId="{D4795083-EE21-4870-A6A1-CBEBAABF3C14}" dt="2023-06-05T14:25:07.216" v="7848" actId="14100"/>
        <pc:sldMkLst>
          <pc:docMk/>
          <pc:sldMk cId="3070242704" sldId="412"/>
        </pc:sldMkLst>
        <pc:spChg chg="del mod ord">
          <ac:chgData name="Hans Gelissen (DHL SSC Maastricht)" userId="1afa8510-4eed-4b73-a29e-678838cd8acd" providerId="ADAL" clId="{D4795083-EE21-4870-A6A1-CBEBAABF3C14}" dt="2023-06-05T13:26:33.835" v="6559" actId="700"/>
          <ac:spMkLst>
            <pc:docMk/>
            <pc:sldMk cId="3070242704" sldId="412"/>
            <ac:spMk id="2" creationId="{5EB55963-2ED2-C1E7-9ABD-D06F094CD6BF}"/>
          </ac:spMkLst>
        </pc:spChg>
        <pc:spChg chg="del">
          <ac:chgData name="Hans Gelissen (DHL SSC Maastricht)" userId="1afa8510-4eed-4b73-a29e-678838cd8acd" providerId="ADAL" clId="{D4795083-EE21-4870-A6A1-CBEBAABF3C14}" dt="2023-06-05T13:26:33.835" v="6559" actId="700"/>
          <ac:spMkLst>
            <pc:docMk/>
            <pc:sldMk cId="3070242704" sldId="412"/>
            <ac:spMk id="3" creationId="{76F77ACC-B350-D80B-F869-101C144789AF}"/>
          </ac:spMkLst>
        </pc:spChg>
        <pc:spChg chg="add mod ord">
          <ac:chgData name="Hans Gelissen (DHL SSC Maastricht)" userId="1afa8510-4eed-4b73-a29e-678838cd8acd" providerId="ADAL" clId="{D4795083-EE21-4870-A6A1-CBEBAABF3C14}" dt="2023-06-05T13:40:28.603" v="6818" actId="20577"/>
          <ac:spMkLst>
            <pc:docMk/>
            <pc:sldMk cId="3070242704" sldId="412"/>
            <ac:spMk id="4" creationId="{B3B30BEF-4E7F-6F3B-B587-647DCE280F9A}"/>
          </ac:spMkLst>
        </pc:spChg>
        <pc:spChg chg="add mod">
          <ac:chgData name="Hans Gelissen (DHL SSC Maastricht)" userId="1afa8510-4eed-4b73-a29e-678838cd8acd" providerId="ADAL" clId="{D4795083-EE21-4870-A6A1-CBEBAABF3C14}" dt="2023-06-05T13:47:12.388" v="6888" actId="207"/>
          <ac:spMkLst>
            <pc:docMk/>
            <pc:sldMk cId="3070242704" sldId="412"/>
            <ac:spMk id="5" creationId="{8D089CCA-75B0-1411-D054-D3DF75233D32}"/>
          </ac:spMkLst>
        </pc:spChg>
        <pc:spChg chg="mod">
          <ac:chgData name="Hans Gelissen (DHL SSC Maastricht)" userId="1afa8510-4eed-4b73-a29e-678838cd8acd" providerId="ADAL" clId="{D4795083-EE21-4870-A6A1-CBEBAABF3C14}" dt="2023-06-05T13:42:30.006" v="6855" actId="1076"/>
          <ac:spMkLst>
            <pc:docMk/>
            <pc:sldMk cId="3070242704" sldId="412"/>
            <ac:spMk id="8" creationId="{87C9A9F4-11BA-BFFB-E75C-8A0323A060FA}"/>
          </ac:spMkLst>
        </pc:spChg>
        <pc:spChg chg="add del mod">
          <ac:chgData name="Hans Gelissen (DHL SSC Maastricht)" userId="1afa8510-4eed-4b73-a29e-678838cd8acd" providerId="ADAL" clId="{D4795083-EE21-4870-A6A1-CBEBAABF3C14}" dt="2023-06-05T13:41:05.798" v="6829" actId="478"/>
          <ac:spMkLst>
            <pc:docMk/>
            <pc:sldMk cId="3070242704" sldId="412"/>
            <ac:spMk id="9" creationId="{9DD3441A-1A56-E07A-237E-CC2E0136C85E}"/>
          </ac:spMkLst>
        </pc:spChg>
        <pc:spChg chg="add mod">
          <ac:chgData name="Hans Gelissen (DHL SSC Maastricht)" userId="1afa8510-4eed-4b73-a29e-678838cd8acd" providerId="ADAL" clId="{D4795083-EE21-4870-A6A1-CBEBAABF3C14}" dt="2023-06-05T13:51:07.052" v="6978" actId="1076"/>
          <ac:spMkLst>
            <pc:docMk/>
            <pc:sldMk cId="3070242704" sldId="412"/>
            <ac:spMk id="10" creationId="{990DEA33-B0FB-9F60-E0EF-B9A286BB54B7}"/>
          </ac:spMkLst>
        </pc:spChg>
        <pc:spChg chg="add del mod">
          <ac:chgData name="Hans Gelissen (DHL SSC Maastricht)" userId="1afa8510-4eed-4b73-a29e-678838cd8acd" providerId="ADAL" clId="{D4795083-EE21-4870-A6A1-CBEBAABF3C14}" dt="2023-06-05T13:41:27.804" v="6835" actId="478"/>
          <ac:spMkLst>
            <pc:docMk/>
            <pc:sldMk cId="3070242704" sldId="412"/>
            <ac:spMk id="11" creationId="{592CA584-DDED-6101-6549-776C23E07E75}"/>
          </ac:spMkLst>
        </pc:spChg>
        <pc:spChg chg="add mod">
          <ac:chgData name="Hans Gelissen (DHL SSC Maastricht)" userId="1afa8510-4eed-4b73-a29e-678838cd8acd" providerId="ADAL" clId="{D4795083-EE21-4870-A6A1-CBEBAABF3C14}" dt="2023-06-05T13:50:19.383" v="6975" actId="20577"/>
          <ac:spMkLst>
            <pc:docMk/>
            <pc:sldMk cId="3070242704" sldId="412"/>
            <ac:spMk id="12" creationId="{D0218144-1658-2E84-29BA-B7FDFB9FFEB8}"/>
          </ac:spMkLst>
        </pc:spChg>
        <pc:spChg chg="add del mod">
          <ac:chgData name="Hans Gelissen (DHL SSC Maastricht)" userId="1afa8510-4eed-4b73-a29e-678838cd8acd" providerId="ADAL" clId="{D4795083-EE21-4870-A6A1-CBEBAABF3C14}" dt="2023-06-05T13:41:10.709" v="6831" actId="478"/>
          <ac:spMkLst>
            <pc:docMk/>
            <pc:sldMk cId="3070242704" sldId="412"/>
            <ac:spMk id="13" creationId="{AEE0A945-2469-1729-C0CE-D0EF86A87BE1}"/>
          </ac:spMkLst>
        </pc:spChg>
        <pc:spChg chg="add del mod">
          <ac:chgData name="Hans Gelissen (DHL SSC Maastricht)" userId="1afa8510-4eed-4b73-a29e-678838cd8acd" providerId="ADAL" clId="{D4795083-EE21-4870-A6A1-CBEBAABF3C14}" dt="2023-06-05T13:41:08.264" v="6830" actId="478"/>
          <ac:spMkLst>
            <pc:docMk/>
            <pc:sldMk cId="3070242704" sldId="412"/>
            <ac:spMk id="14" creationId="{42975CB0-5812-882B-C9F5-8D96ACB98FE8}"/>
          </ac:spMkLst>
        </pc:spChg>
        <pc:spChg chg="add del mod">
          <ac:chgData name="Hans Gelissen (DHL SSC Maastricht)" userId="1afa8510-4eed-4b73-a29e-678838cd8acd" providerId="ADAL" clId="{D4795083-EE21-4870-A6A1-CBEBAABF3C14}" dt="2023-06-05T13:44:08.527" v="6864" actId="478"/>
          <ac:spMkLst>
            <pc:docMk/>
            <pc:sldMk cId="3070242704" sldId="412"/>
            <ac:spMk id="15" creationId="{D7F4FE01-74F0-F2B9-D70B-66EC1E5FE0EB}"/>
          </ac:spMkLst>
        </pc:spChg>
        <pc:spChg chg="add mod">
          <ac:chgData name="Hans Gelissen (DHL SSC Maastricht)" userId="1afa8510-4eed-4b73-a29e-678838cd8acd" providerId="ADAL" clId="{D4795083-EE21-4870-A6A1-CBEBAABF3C14}" dt="2023-06-05T14:25:07.216" v="7848" actId="14100"/>
          <ac:spMkLst>
            <pc:docMk/>
            <pc:sldMk cId="3070242704" sldId="412"/>
            <ac:spMk id="16" creationId="{40208628-8BC8-191F-E06A-2158BAC99A7D}"/>
          </ac:spMkLst>
        </pc:spChg>
        <pc:spChg chg="add del mod">
          <ac:chgData name="Hans Gelissen (DHL SSC Maastricht)" userId="1afa8510-4eed-4b73-a29e-678838cd8acd" providerId="ADAL" clId="{D4795083-EE21-4870-A6A1-CBEBAABF3C14}" dt="2023-06-05T13:41:27.804" v="6835" actId="478"/>
          <ac:spMkLst>
            <pc:docMk/>
            <pc:sldMk cId="3070242704" sldId="412"/>
            <ac:spMk id="17" creationId="{306D1931-A498-7D83-124C-25CD133B1FB0}"/>
          </ac:spMkLst>
        </pc:spChg>
        <pc:spChg chg="add del mod">
          <ac:chgData name="Hans Gelissen (DHL SSC Maastricht)" userId="1afa8510-4eed-4b73-a29e-678838cd8acd" providerId="ADAL" clId="{D4795083-EE21-4870-A6A1-CBEBAABF3C14}" dt="2023-06-05T13:41:27.804" v="6835" actId="478"/>
          <ac:spMkLst>
            <pc:docMk/>
            <pc:sldMk cId="3070242704" sldId="412"/>
            <ac:spMk id="18" creationId="{DDFDD22F-571A-FB2A-C9E6-023B2A658632}"/>
          </ac:spMkLst>
        </pc:spChg>
        <pc:spChg chg="add mod">
          <ac:chgData name="Hans Gelissen (DHL SSC Maastricht)" userId="1afa8510-4eed-4b73-a29e-678838cd8acd" providerId="ADAL" clId="{D4795083-EE21-4870-A6A1-CBEBAABF3C14}" dt="2023-06-05T13:53:00.978" v="6999" actId="207"/>
          <ac:spMkLst>
            <pc:docMk/>
            <pc:sldMk cId="3070242704" sldId="412"/>
            <ac:spMk id="19" creationId="{B840E246-AB9C-0DDB-2E18-FB3ADAC0BA40}"/>
          </ac:spMkLst>
        </pc:spChg>
        <pc:spChg chg="add del mod">
          <ac:chgData name="Hans Gelissen (DHL SSC Maastricht)" userId="1afa8510-4eed-4b73-a29e-678838cd8acd" providerId="ADAL" clId="{D4795083-EE21-4870-A6A1-CBEBAABF3C14}" dt="2023-06-05T13:52:32.504" v="6995" actId="478"/>
          <ac:spMkLst>
            <pc:docMk/>
            <pc:sldMk cId="3070242704" sldId="412"/>
            <ac:spMk id="20" creationId="{9DC9E444-491F-D8A4-A947-E67B7C2C0FF2}"/>
          </ac:spMkLst>
        </pc:spChg>
        <pc:spChg chg="add del mod">
          <ac:chgData name="Hans Gelissen (DHL SSC Maastricht)" userId="1afa8510-4eed-4b73-a29e-678838cd8acd" providerId="ADAL" clId="{D4795083-EE21-4870-A6A1-CBEBAABF3C14}" dt="2023-06-05T13:51:17.041" v="6981" actId="478"/>
          <ac:spMkLst>
            <pc:docMk/>
            <pc:sldMk cId="3070242704" sldId="412"/>
            <ac:spMk id="21" creationId="{CC560922-0637-49B8-FB7C-E2ED6FE8FC44}"/>
          </ac:spMkLst>
        </pc:spChg>
        <pc:spChg chg="add mod">
          <ac:chgData name="Hans Gelissen (DHL SSC Maastricht)" userId="1afa8510-4eed-4b73-a29e-678838cd8acd" providerId="ADAL" clId="{D4795083-EE21-4870-A6A1-CBEBAABF3C14}" dt="2023-06-05T14:25:07.216" v="7848" actId="14100"/>
          <ac:spMkLst>
            <pc:docMk/>
            <pc:sldMk cId="3070242704" sldId="412"/>
            <ac:spMk id="22" creationId="{05E92DC5-D366-4DFF-8D9A-68FAC3551031}"/>
          </ac:spMkLst>
        </pc:spChg>
        <pc:spChg chg="add del mod">
          <ac:chgData name="Hans Gelissen (DHL SSC Maastricht)" userId="1afa8510-4eed-4b73-a29e-678838cd8acd" providerId="ADAL" clId="{D4795083-EE21-4870-A6A1-CBEBAABF3C14}" dt="2023-06-05T13:56:42.521" v="7188" actId="478"/>
          <ac:spMkLst>
            <pc:docMk/>
            <pc:sldMk cId="3070242704" sldId="412"/>
            <ac:spMk id="23" creationId="{6CE0C26E-42A7-60B6-DB1B-06C0069BFF20}"/>
          </ac:spMkLst>
        </pc:spChg>
        <pc:grpChg chg="add mod">
          <ac:chgData name="Hans Gelissen (DHL SSC Maastricht)" userId="1afa8510-4eed-4b73-a29e-678838cd8acd" providerId="ADAL" clId="{D4795083-EE21-4870-A6A1-CBEBAABF3C14}" dt="2023-06-05T13:42:30.006" v="6855" actId="1076"/>
          <ac:grpSpMkLst>
            <pc:docMk/>
            <pc:sldMk cId="3070242704" sldId="412"/>
            <ac:grpSpMk id="6" creationId="{C068A040-2921-396B-B6EE-DF67745CDFF0}"/>
          </ac:grpSpMkLst>
        </pc:grpChg>
        <pc:picChg chg="mod">
          <ac:chgData name="Hans Gelissen (DHL SSC Maastricht)" userId="1afa8510-4eed-4b73-a29e-678838cd8acd" providerId="ADAL" clId="{D4795083-EE21-4870-A6A1-CBEBAABF3C14}" dt="2023-06-05T13:42:30.006" v="6855" actId="1076"/>
          <ac:picMkLst>
            <pc:docMk/>
            <pc:sldMk cId="3070242704" sldId="412"/>
            <ac:picMk id="7" creationId="{66D12B3C-3300-829A-626D-20F5AF52D69D}"/>
          </ac:picMkLst>
        </pc:picChg>
      </pc:sldChg>
      <pc:sldChg chg="add del">
        <pc:chgData name="Hans Gelissen (DHL SSC Maastricht)" userId="1afa8510-4eed-4b73-a29e-678838cd8acd" providerId="ADAL" clId="{D4795083-EE21-4870-A6A1-CBEBAABF3C14}" dt="2023-06-05T13:26:43.587" v="6563" actId="47"/>
        <pc:sldMkLst>
          <pc:docMk/>
          <pc:sldMk cId="1123457502" sldId="413"/>
        </pc:sldMkLst>
      </pc:sldChg>
      <pc:sldChg chg="add del">
        <pc:chgData name="Hans Gelissen (DHL SSC Maastricht)" userId="1afa8510-4eed-4b73-a29e-678838cd8acd" providerId="ADAL" clId="{D4795083-EE21-4870-A6A1-CBEBAABF3C14}" dt="2023-06-05T13:26:44.769" v="6564" actId="47"/>
        <pc:sldMkLst>
          <pc:docMk/>
          <pc:sldMk cId="4118898773" sldId="414"/>
        </pc:sldMkLst>
      </pc:sldChg>
      <pc:sldChg chg="addSp delSp modSp add mod modClrScheme modAnim chgLayout">
        <pc:chgData name="Hans Gelissen (DHL SSC Maastricht)" userId="1afa8510-4eed-4b73-a29e-678838cd8acd" providerId="ADAL" clId="{D4795083-EE21-4870-A6A1-CBEBAABF3C14}" dt="2023-06-06T14:27:55.750" v="12218" actId="20577"/>
        <pc:sldMkLst>
          <pc:docMk/>
          <pc:sldMk cId="3431392365" sldId="415"/>
        </pc:sldMkLst>
        <pc:spChg chg="mod ord">
          <ac:chgData name="Hans Gelissen (DHL SSC Maastricht)" userId="1afa8510-4eed-4b73-a29e-678838cd8acd" providerId="ADAL" clId="{D4795083-EE21-4870-A6A1-CBEBAABF3C14}" dt="2023-06-05T13:30:00.793" v="6786" actId="700"/>
          <ac:spMkLst>
            <pc:docMk/>
            <pc:sldMk cId="3431392365" sldId="415"/>
            <ac:spMk id="2" creationId="{5EB55963-2ED2-C1E7-9ABD-D06F094CD6BF}"/>
          </ac:spMkLst>
        </pc:spChg>
        <pc:spChg chg="del">
          <ac:chgData name="Hans Gelissen (DHL SSC Maastricht)" userId="1afa8510-4eed-4b73-a29e-678838cd8acd" providerId="ADAL" clId="{D4795083-EE21-4870-A6A1-CBEBAABF3C14}" dt="2023-06-05T13:25:08.428" v="6462" actId="478"/>
          <ac:spMkLst>
            <pc:docMk/>
            <pc:sldMk cId="3431392365" sldId="415"/>
            <ac:spMk id="3" creationId="{76F77ACC-B350-D80B-F869-101C144789AF}"/>
          </ac:spMkLst>
        </pc:spChg>
        <pc:spChg chg="add del mod">
          <ac:chgData name="Hans Gelissen (DHL SSC Maastricht)" userId="1afa8510-4eed-4b73-a29e-678838cd8acd" providerId="ADAL" clId="{D4795083-EE21-4870-A6A1-CBEBAABF3C14}" dt="2023-06-05T13:29:04.450" v="6778" actId="478"/>
          <ac:spMkLst>
            <pc:docMk/>
            <pc:sldMk cId="3431392365" sldId="415"/>
            <ac:spMk id="4" creationId="{C98CBBC0-0A15-E13B-243C-D5D13C3DA576}"/>
          </ac:spMkLst>
        </pc:spChg>
        <pc:spChg chg="add mod">
          <ac:chgData name="Hans Gelissen (DHL SSC Maastricht)" userId="1afa8510-4eed-4b73-a29e-678838cd8acd" providerId="ADAL" clId="{D4795083-EE21-4870-A6A1-CBEBAABF3C14}" dt="2023-06-06T14:27:55.750" v="12218" actId="20577"/>
          <ac:spMkLst>
            <pc:docMk/>
            <pc:sldMk cId="3431392365" sldId="415"/>
            <ac:spMk id="5" creationId="{1048999F-F3AD-2C6B-8A81-AF3CDF7C8D41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3:29:01.389" v="6777" actId="478"/>
          <ac:spMkLst>
            <pc:docMk/>
            <pc:sldMk cId="3431392365" sldId="415"/>
            <ac:spMk id="6" creationId="{6DDC643B-FBE7-F01B-2E69-6F86C737DAA5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3:29:30.521" v="6783" actId="700"/>
          <ac:spMkLst>
            <pc:docMk/>
            <pc:sldMk cId="3431392365" sldId="415"/>
            <ac:spMk id="7" creationId="{89C4DD99-0FE5-2E85-900C-DB79C79F3BBD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3:29:40.926" v="6784" actId="700"/>
          <ac:spMkLst>
            <pc:docMk/>
            <pc:sldMk cId="3431392365" sldId="415"/>
            <ac:spMk id="8" creationId="{BE243540-0F84-D91C-A7E0-627B9891894F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3:29:51.738" v="6785" actId="700"/>
          <ac:spMkLst>
            <pc:docMk/>
            <pc:sldMk cId="3431392365" sldId="415"/>
            <ac:spMk id="9" creationId="{2C89E8CA-8444-F04B-813A-0E16A37D2625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3:30:00.793" v="6786" actId="700"/>
          <ac:spMkLst>
            <pc:docMk/>
            <pc:sldMk cId="3431392365" sldId="415"/>
            <ac:spMk id="10" creationId="{E57E17D9-8C4D-78D6-03C3-337B0D491A62}"/>
          </ac:spMkLst>
        </pc:spChg>
        <pc:spChg chg="add del mod ord">
          <ac:chgData name="Hans Gelissen (DHL SSC Maastricht)" userId="1afa8510-4eed-4b73-a29e-678838cd8acd" providerId="ADAL" clId="{D4795083-EE21-4870-A6A1-CBEBAABF3C14}" dt="2023-06-05T13:30:05.984" v="6787" actId="478"/>
          <ac:spMkLst>
            <pc:docMk/>
            <pc:sldMk cId="3431392365" sldId="415"/>
            <ac:spMk id="11" creationId="{B3DCEF2B-19E3-3629-2AFA-64E7B44A25DA}"/>
          </ac:spMkLst>
        </pc:spChg>
      </pc:sldChg>
      <pc:sldChg chg="addSp delSp modSp add mod modAnim">
        <pc:chgData name="Hans Gelissen (DHL SSC Maastricht)" userId="1afa8510-4eed-4b73-a29e-678838cd8acd" providerId="ADAL" clId="{D4795083-EE21-4870-A6A1-CBEBAABF3C14}" dt="2023-06-05T14:24:29.975" v="7845" actId="1037"/>
        <pc:sldMkLst>
          <pc:docMk/>
          <pc:sldMk cId="1022156316" sldId="416"/>
        </pc:sldMkLst>
        <pc:spChg chg="add del mod">
          <ac:chgData name="Hans Gelissen (DHL SSC Maastricht)" userId="1afa8510-4eed-4b73-a29e-678838cd8acd" providerId="ADAL" clId="{D4795083-EE21-4870-A6A1-CBEBAABF3C14}" dt="2023-06-05T13:44:43.421" v="6872"/>
          <ac:spMkLst>
            <pc:docMk/>
            <pc:sldMk cId="1022156316" sldId="416"/>
            <ac:spMk id="2" creationId="{4E93D1B5-5C1B-9B9E-13AA-A30B16028569}"/>
          </ac:spMkLst>
        </pc:spChg>
        <pc:spChg chg="mod">
          <ac:chgData name="Hans Gelissen (DHL SSC Maastricht)" userId="1afa8510-4eed-4b73-a29e-678838cd8acd" providerId="ADAL" clId="{D4795083-EE21-4870-A6A1-CBEBAABF3C14}" dt="2023-06-05T13:40:33.354" v="6821" actId="20577"/>
          <ac:spMkLst>
            <pc:docMk/>
            <pc:sldMk cId="1022156316" sldId="416"/>
            <ac:spMk id="4" creationId="{B3B30BEF-4E7F-6F3B-B587-647DCE280F9A}"/>
          </ac:spMkLst>
        </pc:spChg>
        <pc:spChg chg="mod">
          <ac:chgData name="Hans Gelissen (DHL SSC Maastricht)" userId="1afa8510-4eed-4b73-a29e-678838cd8acd" providerId="ADAL" clId="{D4795083-EE21-4870-A6A1-CBEBAABF3C14}" dt="2023-06-05T13:44:41.292" v="6871"/>
          <ac:spMkLst>
            <pc:docMk/>
            <pc:sldMk cId="1022156316" sldId="416"/>
            <ac:spMk id="5" creationId="{22344D50-0FE4-2844-A14E-1E69267E3975}"/>
          </ac:spMkLst>
        </pc:spChg>
        <pc:spChg chg="add del mod">
          <ac:chgData name="Hans Gelissen (DHL SSC Maastricht)" userId="1afa8510-4eed-4b73-a29e-678838cd8acd" providerId="ADAL" clId="{D4795083-EE21-4870-A6A1-CBEBAABF3C14}" dt="2023-06-05T13:44:43.421" v="6872"/>
          <ac:spMkLst>
            <pc:docMk/>
            <pc:sldMk cId="1022156316" sldId="416"/>
            <ac:spMk id="7" creationId="{BD12345C-A138-2211-6FA1-6211D0F5A077}"/>
          </ac:spMkLst>
        </pc:spChg>
        <pc:spChg chg="add del mod">
          <ac:chgData name="Hans Gelissen (DHL SSC Maastricht)" userId="1afa8510-4eed-4b73-a29e-678838cd8acd" providerId="ADAL" clId="{D4795083-EE21-4870-A6A1-CBEBAABF3C14}" dt="2023-06-05T13:44:43.421" v="6872"/>
          <ac:spMkLst>
            <pc:docMk/>
            <pc:sldMk cId="1022156316" sldId="416"/>
            <ac:spMk id="8" creationId="{F9D57A23-E333-28F3-C284-6DF6BB318277}"/>
          </ac:spMkLst>
        </pc:spChg>
        <pc:spChg chg="add del mod">
          <ac:chgData name="Hans Gelissen (DHL SSC Maastricht)" userId="1afa8510-4eed-4b73-a29e-678838cd8acd" providerId="ADAL" clId="{D4795083-EE21-4870-A6A1-CBEBAABF3C14}" dt="2023-06-05T13:44:43.421" v="6872"/>
          <ac:spMkLst>
            <pc:docMk/>
            <pc:sldMk cId="1022156316" sldId="416"/>
            <ac:spMk id="9" creationId="{EA18805D-3011-5B2C-0E47-58C80B07E687}"/>
          </ac:spMkLst>
        </pc:spChg>
        <pc:spChg chg="add del mod">
          <ac:chgData name="Hans Gelissen (DHL SSC Maastricht)" userId="1afa8510-4eed-4b73-a29e-678838cd8acd" providerId="ADAL" clId="{D4795083-EE21-4870-A6A1-CBEBAABF3C14}" dt="2023-06-05T13:44:43.421" v="6872"/>
          <ac:spMkLst>
            <pc:docMk/>
            <pc:sldMk cId="1022156316" sldId="416"/>
            <ac:spMk id="10" creationId="{5BF039F6-93CF-6351-8160-83F223D4C053}"/>
          </ac:spMkLst>
        </pc:spChg>
        <pc:spChg chg="add del mod">
          <ac:chgData name="Hans Gelissen (DHL SSC Maastricht)" userId="1afa8510-4eed-4b73-a29e-678838cd8acd" providerId="ADAL" clId="{D4795083-EE21-4870-A6A1-CBEBAABF3C14}" dt="2023-06-05T13:44:43.421" v="6872"/>
          <ac:spMkLst>
            <pc:docMk/>
            <pc:sldMk cId="1022156316" sldId="416"/>
            <ac:spMk id="11" creationId="{07A08FE5-AD68-F212-6735-CA89CA329696}"/>
          </ac:spMkLst>
        </pc:spChg>
        <pc:spChg chg="add mod">
          <ac:chgData name="Hans Gelissen (DHL SSC Maastricht)" userId="1afa8510-4eed-4b73-a29e-678838cd8acd" providerId="ADAL" clId="{D4795083-EE21-4870-A6A1-CBEBAABF3C14}" dt="2023-06-05T13:47:46.644" v="6889"/>
          <ac:spMkLst>
            <pc:docMk/>
            <pc:sldMk cId="1022156316" sldId="416"/>
            <ac:spMk id="12" creationId="{C02C976E-4385-C416-0F6B-3916EF856DF6}"/>
          </ac:spMkLst>
        </pc:spChg>
        <pc:spChg chg="mod">
          <ac:chgData name="Hans Gelissen (DHL SSC Maastricht)" userId="1afa8510-4eed-4b73-a29e-678838cd8acd" providerId="ADAL" clId="{D4795083-EE21-4870-A6A1-CBEBAABF3C14}" dt="2023-06-05T13:47:46.644" v="6889"/>
          <ac:spMkLst>
            <pc:docMk/>
            <pc:sldMk cId="1022156316" sldId="416"/>
            <ac:spMk id="14" creationId="{4AFBFADC-CDB9-03BA-5A69-7F86F641A30E}"/>
          </ac:spMkLst>
        </pc:spChg>
        <pc:spChg chg="add mod">
          <ac:chgData name="Hans Gelissen (DHL SSC Maastricht)" userId="1afa8510-4eed-4b73-a29e-678838cd8acd" providerId="ADAL" clId="{D4795083-EE21-4870-A6A1-CBEBAABF3C14}" dt="2023-06-05T13:47:46.644" v="6889"/>
          <ac:spMkLst>
            <pc:docMk/>
            <pc:sldMk cId="1022156316" sldId="416"/>
            <ac:spMk id="16" creationId="{E7057A0A-40C4-9EF0-F20E-AEF11D17DABF}"/>
          </ac:spMkLst>
        </pc:spChg>
        <pc:spChg chg="add mod">
          <ac:chgData name="Hans Gelissen (DHL SSC Maastricht)" userId="1afa8510-4eed-4b73-a29e-678838cd8acd" providerId="ADAL" clId="{D4795083-EE21-4870-A6A1-CBEBAABF3C14}" dt="2023-06-05T14:05:23.783" v="7250" actId="20577"/>
          <ac:spMkLst>
            <pc:docMk/>
            <pc:sldMk cId="1022156316" sldId="416"/>
            <ac:spMk id="17" creationId="{8D1BF86C-BC55-2536-A9AB-B455FC4A74AE}"/>
          </ac:spMkLst>
        </pc:spChg>
        <pc:spChg chg="add mod">
          <ac:chgData name="Hans Gelissen (DHL SSC Maastricht)" userId="1afa8510-4eed-4b73-a29e-678838cd8acd" providerId="ADAL" clId="{D4795083-EE21-4870-A6A1-CBEBAABF3C14}" dt="2023-06-05T14:24:29.975" v="7845" actId="1037"/>
          <ac:spMkLst>
            <pc:docMk/>
            <pc:sldMk cId="1022156316" sldId="416"/>
            <ac:spMk id="18" creationId="{AC850902-7076-C11F-36D1-491C9DC57297}"/>
          </ac:spMkLst>
        </pc:spChg>
        <pc:spChg chg="add mod">
          <ac:chgData name="Hans Gelissen (DHL SSC Maastricht)" userId="1afa8510-4eed-4b73-a29e-678838cd8acd" providerId="ADAL" clId="{D4795083-EE21-4870-A6A1-CBEBAABF3C14}" dt="2023-06-05T13:53:05.262" v="7000" actId="207"/>
          <ac:spMkLst>
            <pc:docMk/>
            <pc:sldMk cId="1022156316" sldId="416"/>
            <ac:spMk id="19" creationId="{78D90213-6ED1-7B62-4329-81EB15330EB2}"/>
          </ac:spMkLst>
        </pc:spChg>
        <pc:spChg chg="add del mod">
          <ac:chgData name="Hans Gelissen (DHL SSC Maastricht)" userId="1afa8510-4eed-4b73-a29e-678838cd8acd" providerId="ADAL" clId="{D4795083-EE21-4870-A6A1-CBEBAABF3C14}" dt="2023-06-05T14:08:08.569" v="7302" actId="478"/>
          <ac:spMkLst>
            <pc:docMk/>
            <pc:sldMk cId="1022156316" sldId="416"/>
            <ac:spMk id="20" creationId="{7735D043-2EBD-CBF6-7D96-A64ED01745B9}"/>
          </ac:spMkLst>
        </pc:spChg>
        <pc:spChg chg="add mod">
          <ac:chgData name="Hans Gelissen (DHL SSC Maastricht)" userId="1afa8510-4eed-4b73-a29e-678838cd8acd" providerId="ADAL" clId="{D4795083-EE21-4870-A6A1-CBEBAABF3C14}" dt="2023-06-05T14:24:25.880" v="7842" actId="1037"/>
          <ac:spMkLst>
            <pc:docMk/>
            <pc:sldMk cId="1022156316" sldId="416"/>
            <ac:spMk id="21" creationId="{A5A87442-9C7D-44E9-E88F-C6D461B57808}"/>
          </ac:spMkLst>
        </pc:spChg>
        <pc:grpChg chg="add del mod">
          <ac:chgData name="Hans Gelissen (DHL SSC Maastricht)" userId="1afa8510-4eed-4b73-a29e-678838cd8acd" providerId="ADAL" clId="{D4795083-EE21-4870-A6A1-CBEBAABF3C14}" dt="2023-06-05T13:44:43.421" v="6872"/>
          <ac:grpSpMkLst>
            <pc:docMk/>
            <pc:sldMk cId="1022156316" sldId="416"/>
            <ac:grpSpMk id="3" creationId="{0A2058AD-8BBB-498B-AA7A-D2637E006196}"/>
          </ac:grpSpMkLst>
        </pc:grpChg>
        <pc:grpChg chg="add mod">
          <ac:chgData name="Hans Gelissen (DHL SSC Maastricht)" userId="1afa8510-4eed-4b73-a29e-678838cd8acd" providerId="ADAL" clId="{D4795083-EE21-4870-A6A1-CBEBAABF3C14}" dt="2023-06-05T13:47:46.644" v="6889"/>
          <ac:grpSpMkLst>
            <pc:docMk/>
            <pc:sldMk cId="1022156316" sldId="416"/>
            <ac:grpSpMk id="13" creationId="{B7AAF036-71EE-C8D5-17AA-D4DE776383AD}"/>
          </ac:grpSpMkLst>
        </pc:grpChg>
        <pc:picChg chg="mod">
          <ac:chgData name="Hans Gelissen (DHL SSC Maastricht)" userId="1afa8510-4eed-4b73-a29e-678838cd8acd" providerId="ADAL" clId="{D4795083-EE21-4870-A6A1-CBEBAABF3C14}" dt="2023-06-05T13:44:41.292" v="6871"/>
          <ac:picMkLst>
            <pc:docMk/>
            <pc:sldMk cId="1022156316" sldId="416"/>
            <ac:picMk id="6" creationId="{7A8DE8A9-67B0-6B6E-41BF-AD364B216CA8}"/>
          </ac:picMkLst>
        </pc:picChg>
        <pc:picChg chg="mod">
          <ac:chgData name="Hans Gelissen (DHL SSC Maastricht)" userId="1afa8510-4eed-4b73-a29e-678838cd8acd" providerId="ADAL" clId="{D4795083-EE21-4870-A6A1-CBEBAABF3C14}" dt="2023-06-05T13:47:46.644" v="6889"/>
          <ac:picMkLst>
            <pc:docMk/>
            <pc:sldMk cId="1022156316" sldId="416"/>
            <ac:picMk id="15" creationId="{2EF7C558-7099-4DDA-B19A-612897DA52CD}"/>
          </ac:picMkLst>
        </pc:picChg>
      </pc:sldChg>
      <pc:sldChg chg="addSp delSp modSp add mod modAnim">
        <pc:chgData name="Hans Gelissen (DHL SSC Maastricht)" userId="1afa8510-4eed-4b73-a29e-678838cd8acd" providerId="ADAL" clId="{D4795083-EE21-4870-A6A1-CBEBAABF3C14}" dt="2023-06-05T14:24:07.998" v="7836" actId="1076"/>
        <pc:sldMkLst>
          <pc:docMk/>
          <pc:sldMk cId="1160420131" sldId="417"/>
        </pc:sldMkLst>
        <pc:spChg chg="add mod">
          <ac:chgData name="Hans Gelissen (DHL SSC Maastricht)" userId="1afa8510-4eed-4b73-a29e-678838cd8acd" providerId="ADAL" clId="{D4795083-EE21-4870-A6A1-CBEBAABF3C14}" dt="2023-06-05T13:47:47.655" v="6890"/>
          <ac:spMkLst>
            <pc:docMk/>
            <pc:sldMk cId="1160420131" sldId="417"/>
            <ac:spMk id="2" creationId="{2FA8D177-1F17-EBBC-C7C8-77C16FC8B0A2}"/>
          </ac:spMkLst>
        </pc:spChg>
        <pc:spChg chg="mod">
          <ac:chgData name="Hans Gelissen (DHL SSC Maastricht)" userId="1afa8510-4eed-4b73-a29e-678838cd8acd" providerId="ADAL" clId="{D4795083-EE21-4870-A6A1-CBEBAABF3C14}" dt="2023-06-05T13:40:37.089" v="6824" actId="20577"/>
          <ac:spMkLst>
            <pc:docMk/>
            <pc:sldMk cId="1160420131" sldId="417"/>
            <ac:spMk id="4" creationId="{B3B30BEF-4E7F-6F3B-B587-647DCE280F9A}"/>
          </ac:spMkLst>
        </pc:spChg>
        <pc:spChg chg="mod">
          <ac:chgData name="Hans Gelissen (DHL SSC Maastricht)" userId="1afa8510-4eed-4b73-a29e-678838cd8acd" providerId="ADAL" clId="{D4795083-EE21-4870-A6A1-CBEBAABF3C14}" dt="2023-06-05T13:50:02.628" v="6955" actId="1076"/>
          <ac:spMkLst>
            <pc:docMk/>
            <pc:sldMk cId="1160420131" sldId="417"/>
            <ac:spMk id="5" creationId="{B690AA4E-4CA9-FF5E-883B-AB35684F11AA}"/>
          </ac:spMkLst>
        </pc:spChg>
        <pc:spChg chg="add mod">
          <ac:chgData name="Hans Gelissen (DHL SSC Maastricht)" userId="1afa8510-4eed-4b73-a29e-678838cd8acd" providerId="ADAL" clId="{D4795083-EE21-4870-A6A1-CBEBAABF3C14}" dt="2023-06-05T13:47:47.655" v="6890"/>
          <ac:spMkLst>
            <pc:docMk/>
            <pc:sldMk cId="1160420131" sldId="417"/>
            <ac:spMk id="7" creationId="{93C25FE2-1B67-4225-CB8E-5FAA118582FB}"/>
          </ac:spMkLst>
        </pc:spChg>
        <pc:spChg chg="add mod">
          <ac:chgData name="Hans Gelissen (DHL SSC Maastricht)" userId="1afa8510-4eed-4b73-a29e-678838cd8acd" providerId="ADAL" clId="{D4795083-EE21-4870-A6A1-CBEBAABF3C14}" dt="2023-06-05T14:14:22.739" v="7419" actId="20577"/>
          <ac:spMkLst>
            <pc:docMk/>
            <pc:sldMk cId="1160420131" sldId="417"/>
            <ac:spMk id="8" creationId="{F5A6BE59-9030-627D-4D63-258A37AFF037}"/>
          </ac:spMkLst>
        </pc:spChg>
        <pc:spChg chg="add del mod">
          <ac:chgData name="Hans Gelissen (DHL SSC Maastricht)" userId="1afa8510-4eed-4b73-a29e-678838cd8acd" providerId="ADAL" clId="{D4795083-EE21-4870-A6A1-CBEBAABF3C14}" dt="2023-06-05T14:13:22.512" v="7344" actId="478"/>
          <ac:spMkLst>
            <pc:docMk/>
            <pc:sldMk cId="1160420131" sldId="417"/>
            <ac:spMk id="9" creationId="{C755425C-C525-5B8C-8E1A-1E4DDAE86DFE}"/>
          </ac:spMkLst>
        </pc:spChg>
        <pc:spChg chg="add mod">
          <ac:chgData name="Hans Gelissen (DHL SSC Maastricht)" userId="1afa8510-4eed-4b73-a29e-678838cd8acd" providerId="ADAL" clId="{D4795083-EE21-4870-A6A1-CBEBAABF3C14}" dt="2023-06-05T13:53:09.954" v="7001" actId="207"/>
          <ac:spMkLst>
            <pc:docMk/>
            <pc:sldMk cId="1160420131" sldId="417"/>
            <ac:spMk id="10" creationId="{D8E96B24-B5B4-544C-3F6B-D8EC0B3B2A6D}"/>
          </ac:spMkLst>
        </pc:spChg>
        <pc:spChg chg="add del mod">
          <ac:chgData name="Hans Gelissen (DHL SSC Maastricht)" userId="1afa8510-4eed-4b73-a29e-678838cd8acd" providerId="ADAL" clId="{D4795083-EE21-4870-A6A1-CBEBAABF3C14}" dt="2023-06-05T14:13:24.972" v="7345" actId="478"/>
          <ac:spMkLst>
            <pc:docMk/>
            <pc:sldMk cId="1160420131" sldId="417"/>
            <ac:spMk id="11" creationId="{48A91381-FE12-4F46-C864-02F9F15041B0}"/>
          </ac:spMkLst>
        </pc:spChg>
        <pc:spChg chg="add mod">
          <ac:chgData name="Hans Gelissen (DHL SSC Maastricht)" userId="1afa8510-4eed-4b73-a29e-678838cd8acd" providerId="ADAL" clId="{D4795083-EE21-4870-A6A1-CBEBAABF3C14}" dt="2023-06-05T14:24:07.998" v="7836" actId="1076"/>
          <ac:spMkLst>
            <pc:docMk/>
            <pc:sldMk cId="1160420131" sldId="417"/>
            <ac:spMk id="12" creationId="{80551663-52B3-89CE-6AED-F63CC987C79E}"/>
          </ac:spMkLst>
        </pc:spChg>
        <pc:spChg chg="add mod">
          <ac:chgData name="Hans Gelissen (DHL SSC Maastricht)" userId="1afa8510-4eed-4b73-a29e-678838cd8acd" providerId="ADAL" clId="{D4795083-EE21-4870-A6A1-CBEBAABF3C14}" dt="2023-06-05T14:24:07.998" v="7836" actId="1076"/>
          <ac:spMkLst>
            <pc:docMk/>
            <pc:sldMk cId="1160420131" sldId="417"/>
            <ac:spMk id="13" creationId="{92E051E4-FB50-0C05-441D-BC6F913092A0}"/>
          </ac:spMkLst>
        </pc:spChg>
        <pc:grpChg chg="add mod">
          <ac:chgData name="Hans Gelissen (DHL SSC Maastricht)" userId="1afa8510-4eed-4b73-a29e-678838cd8acd" providerId="ADAL" clId="{D4795083-EE21-4870-A6A1-CBEBAABF3C14}" dt="2023-06-05T13:50:02.628" v="6955" actId="1076"/>
          <ac:grpSpMkLst>
            <pc:docMk/>
            <pc:sldMk cId="1160420131" sldId="417"/>
            <ac:grpSpMk id="3" creationId="{8450B891-9185-8ECF-585E-8B5A7C24C36F}"/>
          </ac:grpSpMkLst>
        </pc:grpChg>
        <pc:picChg chg="mod">
          <ac:chgData name="Hans Gelissen (DHL SSC Maastricht)" userId="1afa8510-4eed-4b73-a29e-678838cd8acd" providerId="ADAL" clId="{D4795083-EE21-4870-A6A1-CBEBAABF3C14}" dt="2023-06-05T13:50:02.628" v="6955" actId="1076"/>
          <ac:picMkLst>
            <pc:docMk/>
            <pc:sldMk cId="1160420131" sldId="417"/>
            <ac:picMk id="6" creationId="{0260AD57-0F2A-C4D1-6BF7-7578FB2AC3C7}"/>
          </ac:picMkLst>
        </pc:picChg>
      </pc:sldChg>
      <pc:sldChg chg="addSp delSp modSp add mod modAnim">
        <pc:chgData name="Hans Gelissen (DHL SSC Maastricht)" userId="1afa8510-4eed-4b73-a29e-678838cd8acd" providerId="ADAL" clId="{D4795083-EE21-4870-A6A1-CBEBAABF3C14}" dt="2023-06-06T08:20:43.204" v="7882" actId="404"/>
        <pc:sldMkLst>
          <pc:docMk/>
          <pc:sldMk cId="2066968083" sldId="418"/>
        </pc:sldMkLst>
        <pc:spChg chg="add mod">
          <ac:chgData name="Hans Gelissen (DHL SSC Maastricht)" userId="1afa8510-4eed-4b73-a29e-678838cd8acd" providerId="ADAL" clId="{D4795083-EE21-4870-A6A1-CBEBAABF3C14}" dt="2023-06-05T13:47:48.686" v="6891"/>
          <ac:spMkLst>
            <pc:docMk/>
            <pc:sldMk cId="2066968083" sldId="418"/>
            <ac:spMk id="2" creationId="{25E09F39-F6E1-FAE6-7AA1-C9A673853692}"/>
          </ac:spMkLst>
        </pc:spChg>
        <pc:spChg chg="mod">
          <ac:chgData name="Hans Gelissen (DHL SSC Maastricht)" userId="1afa8510-4eed-4b73-a29e-678838cd8acd" providerId="ADAL" clId="{D4795083-EE21-4870-A6A1-CBEBAABF3C14}" dt="2023-06-05T13:40:40.641" v="6827" actId="20577"/>
          <ac:spMkLst>
            <pc:docMk/>
            <pc:sldMk cId="2066968083" sldId="418"/>
            <ac:spMk id="4" creationId="{B3B30BEF-4E7F-6F3B-B587-647DCE280F9A}"/>
          </ac:spMkLst>
        </pc:spChg>
        <pc:spChg chg="mod">
          <ac:chgData name="Hans Gelissen (DHL SSC Maastricht)" userId="1afa8510-4eed-4b73-a29e-678838cd8acd" providerId="ADAL" clId="{D4795083-EE21-4870-A6A1-CBEBAABF3C14}" dt="2023-06-05T13:47:48.686" v="6891"/>
          <ac:spMkLst>
            <pc:docMk/>
            <pc:sldMk cId="2066968083" sldId="418"/>
            <ac:spMk id="5" creationId="{604867F9-7EAA-433A-AD30-93458DBD7402}"/>
          </ac:spMkLst>
        </pc:spChg>
        <pc:spChg chg="add mod">
          <ac:chgData name="Hans Gelissen (DHL SSC Maastricht)" userId="1afa8510-4eed-4b73-a29e-678838cd8acd" providerId="ADAL" clId="{D4795083-EE21-4870-A6A1-CBEBAABF3C14}" dt="2023-06-05T13:47:48.686" v="6891"/>
          <ac:spMkLst>
            <pc:docMk/>
            <pc:sldMk cId="2066968083" sldId="418"/>
            <ac:spMk id="7" creationId="{93D1ED58-37B4-933E-73EA-7C3395F87946}"/>
          </ac:spMkLst>
        </pc:spChg>
        <pc:spChg chg="add mod">
          <ac:chgData name="Hans Gelissen (DHL SSC Maastricht)" userId="1afa8510-4eed-4b73-a29e-678838cd8acd" providerId="ADAL" clId="{D4795083-EE21-4870-A6A1-CBEBAABF3C14}" dt="2023-06-05T14:18:52.328" v="7579" actId="20577"/>
          <ac:spMkLst>
            <pc:docMk/>
            <pc:sldMk cId="2066968083" sldId="418"/>
            <ac:spMk id="8" creationId="{DBB19BDA-7C0A-995A-F2BD-353D0C1235D8}"/>
          </ac:spMkLst>
        </pc:spChg>
        <pc:spChg chg="add mod">
          <ac:chgData name="Hans Gelissen (DHL SSC Maastricht)" userId="1afa8510-4eed-4b73-a29e-678838cd8acd" providerId="ADAL" clId="{D4795083-EE21-4870-A6A1-CBEBAABF3C14}" dt="2023-06-06T08:20:43.204" v="7882" actId="404"/>
          <ac:spMkLst>
            <pc:docMk/>
            <pc:sldMk cId="2066968083" sldId="418"/>
            <ac:spMk id="9" creationId="{ECA571D4-733E-10E8-79C0-79D7CA936315}"/>
          </ac:spMkLst>
        </pc:spChg>
        <pc:spChg chg="add mod">
          <ac:chgData name="Hans Gelissen (DHL SSC Maastricht)" userId="1afa8510-4eed-4b73-a29e-678838cd8acd" providerId="ADAL" clId="{D4795083-EE21-4870-A6A1-CBEBAABF3C14}" dt="2023-06-05T13:53:12.966" v="7002" actId="207"/>
          <ac:spMkLst>
            <pc:docMk/>
            <pc:sldMk cId="2066968083" sldId="418"/>
            <ac:spMk id="10" creationId="{E645ED43-87BC-6F66-92E4-D9A327FC5651}"/>
          </ac:spMkLst>
        </pc:spChg>
        <pc:spChg chg="add del mod">
          <ac:chgData name="Hans Gelissen (DHL SSC Maastricht)" userId="1afa8510-4eed-4b73-a29e-678838cd8acd" providerId="ADAL" clId="{D4795083-EE21-4870-A6A1-CBEBAABF3C14}" dt="2023-06-05T14:20:32.296" v="7702" actId="478"/>
          <ac:spMkLst>
            <pc:docMk/>
            <pc:sldMk cId="2066968083" sldId="418"/>
            <ac:spMk id="11" creationId="{6782DBB0-DD05-6DD1-8D1E-9606FDBDEFE7}"/>
          </ac:spMkLst>
        </pc:spChg>
        <pc:spChg chg="add mod">
          <ac:chgData name="Hans Gelissen (DHL SSC Maastricht)" userId="1afa8510-4eed-4b73-a29e-678838cd8acd" providerId="ADAL" clId="{D4795083-EE21-4870-A6A1-CBEBAABF3C14}" dt="2023-06-06T08:20:43.204" v="7882" actId="404"/>
          <ac:spMkLst>
            <pc:docMk/>
            <pc:sldMk cId="2066968083" sldId="418"/>
            <ac:spMk id="12" creationId="{35E9AC99-679E-3F1D-4862-2AC4759F0033}"/>
          </ac:spMkLst>
        </pc:spChg>
        <pc:grpChg chg="add mod">
          <ac:chgData name="Hans Gelissen (DHL SSC Maastricht)" userId="1afa8510-4eed-4b73-a29e-678838cd8acd" providerId="ADAL" clId="{D4795083-EE21-4870-A6A1-CBEBAABF3C14}" dt="2023-06-05T13:47:48.686" v="6891"/>
          <ac:grpSpMkLst>
            <pc:docMk/>
            <pc:sldMk cId="2066968083" sldId="418"/>
            <ac:grpSpMk id="3" creationId="{B5C6BED5-AE00-CE39-C2B1-3DA22B092220}"/>
          </ac:grpSpMkLst>
        </pc:grpChg>
        <pc:picChg chg="mod">
          <ac:chgData name="Hans Gelissen (DHL SSC Maastricht)" userId="1afa8510-4eed-4b73-a29e-678838cd8acd" providerId="ADAL" clId="{D4795083-EE21-4870-A6A1-CBEBAABF3C14}" dt="2023-06-05T13:47:48.686" v="6891"/>
          <ac:picMkLst>
            <pc:docMk/>
            <pc:sldMk cId="2066968083" sldId="418"/>
            <ac:picMk id="6" creationId="{19753670-2D97-75E4-7676-71643A5F403C}"/>
          </ac:picMkLst>
        </pc:picChg>
      </pc:sldChg>
      <pc:sldChg chg="add ord">
        <pc:chgData name="Hans Gelissen (DHL SSC Maastricht)" userId="1afa8510-4eed-4b73-a29e-678838cd8acd" providerId="ADAL" clId="{D4795083-EE21-4870-A6A1-CBEBAABF3C14}" dt="2023-06-06T08:21:39.185" v="7885"/>
        <pc:sldMkLst>
          <pc:docMk/>
          <pc:sldMk cId="1275688261" sldId="419"/>
        </pc:sldMkLst>
      </pc:sldChg>
      <pc:sldChg chg="modSp add del mod ord modClrScheme chgLayout">
        <pc:chgData name="Hans Gelissen (DHL SSC Maastricht)" userId="1afa8510-4eed-4b73-a29e-678838cd8acd" providerId="ADAL" clId="{D4795083-EE21-4870-A6A1-CBEBAABF3C14}" dt="2023-06-07T07:24:43.081" v="12221" actId="2696"/>
        <pc:sldMkLst>
          <pc:docMk/>
          <pc:sldMk cId="2676893431" sldId="420"/>
        </pc:sldMkLst>
        <pc:spChg chg="mod ord">
          <ac:chgData name="Hans Gelissen (DHL SSC Maastricht)" userId="1afa8510-4eed-4b73-a29e-678838cd8acd" providerId="ADAL" clId="{D4795083-EE21-4870-A6A1-CBEBAABF3C14}" dt="2023-06-06T08:23:51.659" v="7954" actId="700"/>
          <ac:spMkLst>
            <pc:docMk/>
            <pc:sldMk cId="2676893431" sldId="420"/>
            <ac:spMk id="4" creationId="{2AFD63A7-6206-31C7-DCAC-BB742278C640}"/>
          </ac:spMkLst>
        </pc:spChg>
        <pc:spChg chg="mod">
          <ac:chgData name="Hans Gelissen (DHL SSC Maastricht)" userId="1afa8510-4eed-4b73-a29e-678838cd8acd" providerId="ADAL" clId="{D4795083-EE21-4870-A6A1-CBEBAABF3C14}" dt="2023-06-06T08:23:59.603" v="7955" actId="1076"/>
          <ac:spMkLst>
            <pc:docMk/>
            <pc:sldMk cId="2676893431" sldId="420"/>
            <ac:spMk id="5" creationId="{4B6D3F0C-9758-5E6D-A5B6-34876E80A672}"/>
          </ac:spMkLst>
        </pc:spChg>
        <pc:spChg chg="mod">
          <ac:chgData name="Hans Gelissen (DHL SSC Maastricht)" userId="1afa8510-4eed-4b73-a29e-678838cd8acd" providerId="ADAL" clId="{D4795083-EE21-4870-A6A1-CBEBAABF3C14}" dt="2023-06-06T08:23:59.603" v="7955" actId="1076"/>
          <ac:spMkLst>
            <pc:docMk/>
            <pc:sldMk cId="2676893431" sldId="420"/>
            <ac:spMk id="6" creationId="{E545F7DA-0DF0-9FE8-A80F-7D74586FEA80}"/>
          </ac:spMkLst>
        </pc:spChg>
      </pc:sldChg>
      <pc:sldChg chg="addSp delSp modSp add mod ord modClrScheme chgLayout">
        <pc:chgData name="Hans Gelissen (DHL SSC Maastricht)" userId="1afa8510-4eed-4b73-a29e-678838cd8acd" providerId="ADAL" clId="{D4795083-EE21-4870-A6A1-CBEBAABF3C14}" dt="2023-06-06T08:37:55.872" v="8465" actId="1076"/>
        <pc:sldMkLst>
          <pc:docMk/>
          <pc:sldMk cId="386969411" sldId="421"/>
        </pc:sldMkLst>
        <pc:spChg chg="mod ord">
          <ac:chgData name="Hans Gelissen (DHL SSC Maastricht)" userId="1afa8510-4eed-4b73-a29e-678838cd8acd" providerId="ADAL" clId="{D4795083-EE21-4870-A6A1-CBEBAABF3C14}" dt="2023-06-06T08:24:11.123" v="7971" actId="27636"/>
          <ac:spMkLst>
            <pc:docMk/>
            <pc:sldMk cId="386969411" sldId="421"/>
            <ac:spMk id="2" creationId="{5EB55963-2ED2-C1E7-9ABD-D06F094CD6BF}"/>
          </ac:spMkLst>
        </pc:spChg>
        <pc:spChg chg="add del mod ord">
          <ac:chgData name="Hans Gelissen (DHL SSC Maastricht)" userId="1afa8510-4eed-4b73-a29e-678838cd8acd" providerId="ADAL" clId="{D4795083-EE21-4870-A6A1-CBEBAABF3C14}" dt="2023-06-06T08:23:31.319" v="7953" actId="478"/>
          <ac:spMkLst>
            <pc:docMk/>
            <pc:sldMk cId="386969411" sldId="421"/>
            <ac:spMk id="3" creationId="{8976FFC8-D8B1-952D-22BD-A4ECDF3A93FD}"/>
          </ac:spMkLst>
        </pc:spChg>
        <pc:spChg chg="mod">
          <ac:chgData name="Hans Gelissen (DHL SSC Maastricht)" userId="1afa8510-4eed-4b73-a29e-678838cd8acd" providerId="ADAL" clId="{D4795083-EE21-4870-A6A1-CBEBAABF3C14}" dt="2023-06-06T08:37:55.872" v="8465" actId="1076"/>
          <ac:spMkLst>
            <pc:docMk/>
            <pc:sldMk cId="386969411" sldId="421"/>
            <ac:spMk id="5" creationId="{1048999F-F3AD-2C6B-8A81-AF3CDF7C8D41}"/>
          </ac:spMkLst>
        </pc:spChg>
      </pc:sldChg>
      <pc:sldChg chg="addSp delSp modSp new mod modClrScheme modAnim chgLayout">
        <pc:chgData name="Hans Gelissen (DHL SSC Maastricht)" userId="1afa8510-4eed-4b73-a29e-678838cd8acd" providerId="ADAL" clId="{D4795083-EE21-4870-A6A1-CBEBAABF3C14}" dt="2023-06-06T08:32:02.576" v="8236" actId="1076"/>
        <pc:sldMkLst>
          <pc:docMk/>
          <pc:sldMk cId="1543681636" sldId="422"/>
        </pc:sldMkLst>
        <pc:spChg chg="del mod ord">
          <ac:chgData name="Hans Gelissen (DHL SSC Maastricht)" userId="1afa8510-4eed-4b73-a29e-678838cd8acd" providerId="ADAL" clId="{D4795083-EE21-4870-A6A1-CBEBAABF3C14}" dt="2023-06-06T08:29:27.765" v="8039" actId="700"/>
          <ac:spMkLst>
            <pc:docMk/>
            <pc:sldMk cId="1543681636" sldId="422"/>
            <ac:spMk id="2" creationId="{1524604F-0584-E5D9-82DB-75072003E45A}"/>
          </ac:spMkLst>
        </pc:spChg>
        <pc:spChg chg="del">
          <ac:chgData name="Hans Gelissen (DHL SSC Maastricht)" userId="1afa8510-4eed-4b73-a29e-678838cd8acd" providerId="ADAL" clId="{D4795083-EE21-4870-A6A1-CBEBAABF3C14}" dt="2023-06-06T08:29:27.765" v="8039" actId="700"/>
          <ac:spMkLst>
            <pc:docMk/>
            <pc:sldMk cId="1543681636" sldId="422"/>
            <ac:spMk id="3" creationId="{6DA6E166-A7C0-B7A3-F764-40C800E081DD}"/>
          </ac:spMkLst>
        </pc:spChg>
        <pc:spChg chg="add del mod ord">
          <ac:chgData name="Hans Gelissen (DHL SSC Maastricht)" userId="1afa8510-4eed-4b73-a29e-678838cd8acd" providerId="ADAL" clId="{D4795083-EE21-4870-A6A1-CBEBAABF3C14}" dt="2023-06-06T08:29:34.377" v="8040" actId="700"/>
          <ac:spMkLst>
            <pc:docMk/>
            <pc:sldMk cId="1543681636" sldId="422"/>
            <ac:spMk id="4" creationId="{D358AD20-AD66-A5D3-605C-35569FFF0AD2}"/>
          </ac:spMkLst>
        </pc:spChg>
        <pc:spChg chg="add mod ord">
          <ac:chgData name="Hans Gelissen (DHL SSC Maastricht)" userId="1afa8510-4eed-4b73-a29e-678838cd8acd" providerId="ADAL" clId="{D4795083-EE21-4870-A6A1-CBEBAABF3C14}" dt="2023-06-06T08:29:42.908" v="8066" actId="20577"/>
          <ac:spMkLst>
            <pc:docMk/>
            <pc:sldMk cId="1543681636" sldId="422"/>
            <ac:spMk id="5" creationId="{F779B177-98FD-748B-DE61-91FCB07C503E}"/>
          </ac:spMkLst>
        </pc:spChg>
        <pc:spChg chg="add mod">
          <ac:chgData name="Hans Gelissen (DHL SSC Maastricht)" userId="1afa8510-4eed-4b73-a29e-678838cd8acd" providerId="ADAL" clId="{D4795083-EE21-4870-A6A1-CBEBAABF3C14}" dt="2023-06-06T08:32:02.576" v="8236" actId="1076"/>
          <ac:spMkLst>
            <pc:docMk/>
            <pc:sldMk cId="1543681636" sldId="422"/>
            <ac:spMk id="6" creationId="{E1D76B54-18E2-8746-2BB4-7A36F3555193}"/>
          </ac:spMkLst>
        </pc:spChg>
        <pc:spChg chg="add mod">
          <ac:chgData name="Hans Gelissen (DHL SSC Maastricht)" userId="1afa8510-4eed-4b73-a29e-678838cd8acd" providerId="ADAL" clId="{D4795083-EE21-4870-A6A1-CBEBAABF3C14}" dt="2023-06-06T08:32:02.576" v="8236" actId="1076"/>
          <ac:spMkLst>
            <pc:docMk/>
            <pc:sldMk cId="1543681636" sldId="422"/>
            <ac:spMk id="7" creationId="{070C1C81-D696-CCDB-6369-175DA9ACF39B}"/>
          </ac:spMkLst>
        </pc:spChg>
      </pc:sldChg>
      <pc:sldChg chg="addSp delSp modSp add mod modClrScheme chgLayout">
        <pc:chgData name="Hans Gelissen (DHL SSC Maastricht)" userId="1afa8510-4eed-4b73-a29e-678838cd8acd" providerId="ADAL" clId="{D4795083-EE21-4870-A6A1-CBEBAABF3C14}" dt="2023-06-07T08:05:29.682" v="12244" actId="20577"/>
        <pc:sldMkLst>
          <pc:docMk/>
          <pc:sldMk cId="1119461241" sldId="423"/>
        </pc:sldMkLst>
        <pc:spChg chg="del mod ord">
          <ac:chgData name="Hans Gelissen (DHL SSC Maastricht)" userId="1afa8510-4eed-4b73-a29e-678838cd8acd" providerId="ADAL" clId="{D4795083-EE21-4870-A6A1-CBEBAABF3C14}" dt="2023-06-06T08:34:11.280" v="8239" actId="700"/>
          <ac:spMkLst>
            <pc:docMk/>
            <pc:sldMk cId="1119461241" sldId="423"/>
            <ac:spMk id="2" creationId="{1524604F-0584-E5D9-82DB-75072003E45A}"/>
          </ac:spMkLst>
        </pc:spChg>
        <pc:spChg chg="del mod ord">
          <ac:chgData name="Hans Gelissen (DHL SSC Maastricht)" userId="1afa8510-4eed-4b73-a29e-678838cd8acd" providerId="ADAL" clId="{D4795083-EE21-4870-A6A1-CBEBAABF3C14}" dt="2023-06-06T08:34:11.280" v="8239" actId="700"/>
          <ac:spMkLst>
            <pc:docMk/>
            <pc:sldMk cId="1119461241" sldId="423"/>
            <ac:spMk id="3" creationId="{6DA6E166-A7C0-B7A3-F764-40C800E081DD}"/>
          </ac:spMkLst>
        </pc:spChg>
        <pc:spChg chg="add mod ord">
          <ac:chgData name="Hans Gelissen (DHL SSC Maastricht)" userId="1afa8510-4eed-4b73-a29e-678838cd8acd" providerId="ADAL" clId="{D4795083-EE21-4870-A6A1-CBEBAABF3C14}" dt="2023-06-07T08:05:29.682" v="12244" actId="20577"/>
          <ac:spMkLst>
            <pc:docMk/>
            <pc:sldMk cId="1119461241" sldId="423"/>
            <ac:spMk id="4" creationId="{66533694-F27B-5E4F-323F-F1F2B36A9EAC}"/>
          </ac:spMkLst>
        </pc:spChg>
        <pc:spChg chg="add del mod ord">
          <ac:chgData name="Hans Gelissen (DHL SSC Maastricht)" userId="1afa8510-4eed-4b73-a29e-678838cd8acd" providerId="ADAL" clId="{D4795083-EE21-4870-A6A1-CBEBAABF3C14}" dt="2023-06-06T08:34:37.423" v="8300" actId="700"/>
          <ac:spMkLst>
            <pc:docMk/>
            <pc:sldMk cId="1119461241" sldId="423"/>
            <ac:spMk id="5" creationId="{D7A63FC3-B80B-937B-A874-5C5F07B28C57}"/>
          </ac:spMkLst>
        </pc:spChg>
        <pc:spChg chg="add del mod ord">
          <ac:chgData name="Hans Gelissen (DHL SSC Maastricht)" userId="1afa8510-4eed-4b73-a29e-678838cd8acd" providerId="ADAL" clId="{D4795083-EE21-4870-A6A1-CBEBAABF3C14}" dt="2023-06-06T08:34:40.739" v="8301" actId="478"/>
          <ac:spMkLst>
            <pc:docMk/>
            <pc:sldMk cId="1119461241" sldId="423"/>
            <ac:spMk id="6" creationId="{69609C9C-952B-8CBB-504D-CD40679DD79B}"/>
          </ac:spMkLst>
        </pc:spChg>
        <pc:spChg chg="add mod">
          <ac:chgData name="Hans Gelissen (DHL SSC Maastricht)" userId="1afa8510-4eed-4b73-a29e-678838cd8acd" providerId="ADAL" clId="{D4795083-EE21-4870-A6A1-CBEBAABF3C14}" dt="2023-06-06T08:49:24.510" v="8662" actId="207"/>
          <ac:spMkLst>
            <pc:docMk/>
            <pc:sldMk cId="1119461241" sldId="423"/>
            <ac:spMk id="7" creationId="{567640E6-B86C-3A69-8408-0B47BD11C26C}"/>
          </ac:spMkLst>
        </pc:spChg>
        <pc:spChg chg="add del mod">
          <ac:chgData name="Hans Gelissen (DHL SSC Maastricht)" userId="1afa8510-4eed-4b73-a29e-678838cd8acd" providerId="ADAL" clId="{D4795083-EE21-4870-A6A1-CBEBAABF3C14}" dt="2023-06-06T08:55:51.931" v="9024" actId="478"/>
          <ac:spMkLst>
            <pc:docMk/>
            <pc:sldMk cId="1119461241" sldId="423"/>
            <ac:spMk id="8" creationId="{CD1BC40C-FC86-5FFC-BAD5-78C43CA9EECF}"/>
          </ac:spMkLst>
        </pc:spChg>
        <pc:spChg chg="add del mod">
          <ac:chgData name="Hans Gelissen (DHL SSC Maastricht)" userId="1afa8510-4eed-4b73-a29e-678838cd8acd" providerId="ADAL" clId="{D4795083-EE21-4870-A6A1-CBEBAABF3C14}" dt="2023-06-06T08:55:51.931" v="9024" actId="478"/>
          <ac:spMkLst>
            <pc:docMk/>
            <pc:sldMk cId="1119461241" sldId="423"/>
            <ac:spMk id="9" creationId="{82824020-DD73-0E67-1738-B60279EC3E36}"/>
          </ac:spMkLst>
        </pc:spChg>
        <pc:spChg chg="add del mod ord">
          <ac:chgData name="Hans Gelissen (DHL SSC Maastricht)" userId="1afa8510-4eed-4b73-a29e-678838cd8acd" providerId="ADAL" clId="{D4795083-EE21-4870-A6A1-CBEBAABF3C14}" dt="2023-06-06T08:55:51.931" v="9024" actId="478"/>
          <ac:spMkLst>
            <pc:docMk/>
            <pc:sldMk cId="1119461241" sldId="423"/>
            <ac:spMk id="10" creationId="{EA5DDC72-A168-FFDD-698C-8F44D453D3A2}"/>
          </ac:spMkLst>
        </pc:spChg>
        <pc:spChg chg="add del mod">
          <ac:chgData name="Hans Gelissen (DHL SSC Maastricht)" userId="1afa8510-4eed-4b73-a29e-678838cd8acd" providerId="ADAL" clId="{D4795083-EE21-4870-A6A1-CBEBAABF3C14}" dt="2023-06-06T08:55:51.931" v="9024" actId="478"/>
          <ac:spMkLst>
            <pc:docMk/>
            <pc:sldMk cId="1119461241" sldId="423"/>
            <ac:spMk id="11" creationId="{FE6F8F9A-152D-7025-91B1-764CE84401BE}"/>
          </ac:spMkLst>
        </pc:spChg>
        <pc:spChg chg="add mod">
          <ac:chgData name="Hans Gelissen (DHL SSC Maastricht)" userId="1afa8510-4eed-4b73-a29e-678838cd8acd" providerId="ADAL" clId="{D4795083-EE21-4870-A6A1-CBEBAABF3C14}" dt="2023-06-06T08:49:24.510" v="8662" actId="207"/>
          <ac:spMkLst>
            <pc:docMk/>
            <pc:sldMk cId="1119461241" sldId="423"/>
            <ac:spMk id="12" creationId="{E6B0607F-DEA8-72A1-23C1-9D9C4854B609}"/>
          </ac:spMkLst>
        </pc:spChg>
        <pc:spChg chg="add del mod">
          <ac:chgData name="Hans Gelissen (DHL SSC Maastricht)" userId="1afa8510-4eed-4b73-a29e-678838cd8acd" providerId="ADAL" clId="{D4795083-EE21-4870-A6A1-CBEBAABF3C14}" dt="2023-06-06T08:55:51.931" v="9024" actId="478"/>
          <ac:spMkLst>
            <pc:docMk/>
            <pc:sldMk cId="1119461241" sldId="423"/>
            <ac:spMk id="13" creationId="{75A3990B-4025-8B5B-047B-71A3CE7D448F}"/>
          </ac:spMkLst>
        </pc:spChg>
        <pc:spChg chg="add mod">
          <ac:chgData name="Hans Gelissen (DHL SSC Maastricht)" userId="1afa8510-4eed-4b73-a29e-678838cd8acd" providerId="ADAL" clId="{D4795083-EE21-4870-A6A1-CBEBAABF3C14}" dt="2023-06-06T08:49:24.510" v="8662" actId="207"/>
          <ac:spMkLst>
            <pc:docMk/>
            <pc:sldMk cId="1119461241" sldId="423"/>
            <ac:spMk id="14" creationId="{52AB1554-1F8D-37E1-F3DC-973C0D521A5F}"/>
          </ac:spMkLst>
        </pc:spChg>
        <pc:spChg chg="add del mod">
          <ac:chgData name="Hans Gelissen (DHL SSC Maastricht)" userId="1afa8510-4eed-4b73-a29e-678838cd8acd" providerId="ADAL" clId="{D4795083-EE21-4870-A6A1-CBEBAABF3C14}" dt="2023-06-06T08:43:46.846" v="8574" actId="478"/>
          <ac:spMkLst>
            <pc:docMk/>
            <pc:sldMk cId="1119461241" sldId="423"/>
            <ac:spMk id="15" creationId="{D5C250A8-A6B7-8846-9C7B-ADBA74AC2236}"/>
          </ac:spMkLst>
        </pc:spChg>
        <pc:spChg chg="add mod">
          <ac:chgData name="Hans Gelissen (DHL SSC Maastricht)" userId="1afa8510-4eed-4b73-a29e-678838cd8acd" providerId="ADAL" clId="{D4795083-EE21-4870-A6A1-CBEBAABF3C14}" dt="2023-06-06T08:49:24.510" v="8662" actId="207"/>
          <ac:spMkLst>
            <pc:docMk/>
            <pc:sldMk cId="1119461241" sldId="423"/>
            <ac:spMk id="16" creationId="{C60E64F5-E87A-9F58-DB2F-7DC96A7B85DA}"/>
          </ac:spMkLst>
        </pc:spChg>
        <pc:spChg chg="add mod">
          <ac:chgData name="Hans Gelissen (DHL SSC Maastricht)" userId="1afa8510-4eed-4b73-a29e-678838cd8acd" providerId="ADAL" clId="{D4795083-EE21-4870-A6A1-CBEBAABF3C14}" dt="2023-06-06T08:49:24.510" v="8662" actId="207"/>
          <ac:spMkLst>
            <pc:docMk/>
            <pc:sldMk cId="1119461241" sldId="423"/>
            <ac:spMk id="17" creationId="{2527DF4D-09F9-41CB-F3E9-013BF8DF87C4}"/>
          </ac:spMkLst>
        </pc:spChg>
        <pc:spChg chg="add del mod">
          <ac:chgData name="Hans Gelissen (DHL SSC Maastricht)" userId="1afa8510-4eed-4b73-a29e-678838cd8acd" providerId="ADAL" clId="{D4795083-EE21-4870-A6A1-CBEBAABF3C14}" dt="2023-06-06T08:48:55.893" v="8657" actId="21"/>
          <ac:spMkLst>
            <pc:docMk/>
            <pc:sldMk cId="1119461241" sldId="423"/>
            <ac:spMk id="18" creationId="{73C9983F-2BBC-93FF-27E2-3B621BAB749F}"/>
          </ac:spMkLst>
        </pc:spChg>
        <pc:spChg chg="add del mod">
          <ac:chgData name="Hans Gelissen (DHL SSC Maastricht)" userId="1afa8510-4eed-4b73-a29e-678838cd8acd" providerId="ADAL" clId="{D4795083-EE21-4870-A6A1-CBEBAABF3C14}" dt="2023-06-06T08:48:55.893" v="8657" actId="21"/>
          <ac:spMkLst>
            <pc:docMk/>
            <pc:sldMk cId="1119461241" sldId="423"/>
            <ac:spMk id="19" creationId="{3FE91C08-0A85-7278-A6B4-977202C21918}"/>
          </ac:spMkLst>
        </pc:spChg>
        <pc:spChg chg="add del mod">
          <ac:chgData name="Hans Gelissen (DHL SSC Maastricht)" userId="1afa8510-4eed-4b73-a29e-678838cd8acd" providerId="ADAL" clId="{D4795083-EE21-4870-A6A1-CBEBAABF3C14}" dt="2023-06-06T08:48:55.893" v="8657" actId="21"/>
          <ac:spMkLst>
            <pc:docMk/>
            <pc:sldMk cId="1119461241" sldId="423"/>
            <ac:spMk id="20" creationId="{01170796-4B0A-168F-961C-82CFCB3C164C}"/>
          </ac:spMkLst>
        </pc:spChg>
        <pc:spChg chg="add del mod">
          <ac:chgData name="Hans Gelissen (DHL SSC Maastricht)" userId="1afa8510-4eed-4b73-a29e-678838cd8acd" providerId="ADAL" clId="{D4795083-EE21-4870-A6A1-CBEBAABF3C14}" dt="2023-06-06T08:48:55.893" v="8657" actId="21"/>
          <ac:spMkLst>
            <pc:docMk/>
            <pc:sldMk cId="1119461241" sldId="423"/>
            <ac:spMk id="21" creationId="{84B83544-E3BF-BE9F-5B30-A2D49AB1C1BC}"/>
          </ac:spMkLst>
        </pc:spChg>
        <pc:spChg chg="add del mod">
          <ac:chgData name="Hans Gelissen (DHL SSC Maastricht)" userId="1afa8510-4eed-4b73-a29e-678838cd8acd" providerId="ADAL" clId="{D4795083-EE21-4870-A6A1-CBEBAABF3C14}" dt="2023-06-06T08:48:55.893" v="8657" actId="21"/>
          <ac:spMkLst>
            <pc:docMk/>
            <pc:sldMk cId="1119461241" sldId="423"/>
            <ac:spMk id="22" creationId="{124EF92B-968C-353F-C2F4-295CB08196B6}"/>
          </ac:spMkLst>
        </pc:spChg>
        <pc:spChg chg="add del mod">
          <ac:chgData name="Hans Gelissen (DHL SSC Maastricht)" userId="1afa8510-4eed-4b73-a29e-678838cd8acd" providerId="ADAL" clId="{D4795083-EE21-4870-A6A1-CBEBAABF3C14}" dt="2023-06-06T08:48:55.893" v="8657" actId="21"/>
          <ac:spMkLst>
            <pc:docMk/>
            <pc:sldMk cId="1119461241" sldId="423"/>
            <ac:spMk id="23" creationId="{9D6004F1-8565-519E-CB46-02CD22F5F725}"/>
          </ac:spMkLst>
        </pc:spChg>
        <pc:spChg chg="add del mod">
          <ac:chgData name="Hans Gelissen (DHL SSC Maastricht)" userId="1afa8510-4eed-4b73-a29e-678838cd8acd" providerId="ADAL" clId="{D4795083-EE21-4870-A6A1-CBEBAABF3C14}" dt="2023-06-06T08:48:55.893" v="8657" actId="21"/>
          <ac:spMkLst>
            <pc:docMk/>
            <pc:sldMk cId="1119461241" sldId="423"/>
            <ac:spMk id="24" creationId="{D49654CE-1ECD-3A18-A4D7-8C7AB0551F39}"/>
          </ac:spMkLst>
        </pc:spChg>
        <pc:spChg chg="add del mod">
          <ac:chgData name="Hans Gelissen (DHL SSC Maastricht)" userId="1afa8510-4eed-4b73-a29e-678838cd8acd" providerId="ADAL" clId="{D4795083-EE21-4870-A6A1-CBEBAABF3C14}" dt="2023-06-06T08:48:55.893" v="8657" actId="21"/>
          <ac:spMkLst>
            <pc:docMk/>
            <pc:sldMk cId="1119461241" sldId="423"/>
            <ac:spMk id="25" creationId="{E9241B1B-0C67-75B4-771C-17644F75F397}"/>
          </ac:spMkLst>
        </pc:spChg>
        <pc:spChg chg="add del mod">
          <ac:chgData name="Hans Gelissen (DHL SSC Maastricht)" userId="1afa8510-4eed-4b73-a29e-678838cd8acd" providerId="ADAL" clId="{D4795083-EE21-4870-A6A1-CBEBAABF3C14}" dt="2023-06-06T08:48:55.893" v="8657" actId="21"/>
          <ac:spMkLst>
            <pc:docMk/>
            <pc:sldMk cId="1119461241" sldId="423"/>
            <ac:spMk id="26" creationId="{A573F05C-67EC-43FD-F3B5-2BBE2A71BC81}"/>
          </ac:spMkLst>
        </pc:spChg>
        <pc:spChg chg="add del mod">
          <ac:chgData name="Hans Gelissen (DHL SSC Maastricht)" userId="1afa8510-4eed-4b73-a29e-678838cd8acd" providerId="ADAL" clId="{D4795083-EE21-4870-A6A1-CBEBAABF3C14}" dt="2023-06-06T08:48:55.893" v="8657" actId="21"/>
          <ac:spMkLst>
            <pc:docMk/>
            <pc:sldMk cId="1119461241" sldId="423"/>
            <ac:spMk id="27" creationId="{7A650E8A-DC19-3BE2-5D8A-52F90E1176D5}"/>
          </ac:spMkLst>
        </pc:spChg>
        <pc:spChg chg="add mod">
          <ac:chgData name="Hans Gelissen (DHL SSC Maastricht)" userId="1afa8510-4eed-4b73-a29e-678838cd8acd" providerId="ADAL" clId="{D4795083-EE21-4870-A6A1-CBEBAABF3C14}" dt="2023-06-06T08:55:52.251" v="9025"/>
          <ac:spMkLst>
            <pc:docMk/>
            <pc:sldMk cId="1119461241" sldId="423"/>
            <ac:spMk id="28" creationId="{DA784578-DF6E-D5BC-5288-5ED99D87F786}"/>
          </ac:spMkLst>
        </pc:spChg>
        <pc:spChg chg="add mod">
          <ac:chgData name="Hans Gelissen (DHL SSC Maastricht)" userId="1afa8510-4eed-4b73-a29e-678838cd8acd" providerId="ADAL" clId="{D4795083-EE21-4870-A6A1-CBEBAABF3C14}" dt="2023-06-06T08:55:52.251" v="9025"/>
          <ac:spMkLst>
            <pc:docMk/>
            <pc:sldMk cId="1119461241" sldId="423"/>
            <ac:spMk id="29" creationId="{F0FD8830-051D-BB77-575F-68A7DDCDD998}"/>
          </ac:spMkLst>
        </pc:spChg>
        <pc:spChg chg="add mod">
          <ac:chgData name="Hans Gelissen (DHL SSC Maastricht)" userId="1afa8510-4eed-4b73-a29e-678838cd8acd" providerId="ADAL" clId="{D4795083-EE21-4870-A6A1-CBEBAABF3C14}" dt="2023-06-06T08:55:52.251" v="9025"/>
          <ac:spMkLst>
            <pc:docMk/>
            <pc:sldMk cId="1119461241" sldId="423"/>
            <ac:spMk id="30" creationId="{6E423C77-F1E9-2D6E-D149-96DE9033FE9A}"/>
          </ac:spMkLst>
        </pc:spChg>
        <pc:spChg chg="add mod">
          <ac:chgData name="Hans Gelissen (DHL SSC Maastricht)" userId="1afa8510-4eed-4b73-a29e-678838cd8acd" providerId="ADAL" clId="{D4795083-EE21-4870-A6A1-CBEBAABF3C14}" dt="2023-06-06T08:55:52.251" v="9025"/>
          <ac:spMkLst>
            <pc:docMk/>
            <pc:sldMk cId="1119461241" sldId="423"/>
            <ac:spMk id="31" creationId="{491ADB0B-0945-A194-0F52-ECDBCECCB1FB}"/>
          </ac:spMkLst>
        </pc:spChg>
        <pc:spChg chg="add mod">
          <ac:chgData name="Hans Gelissen (DHL SSC Maastricht)" userId="1afa8510-4eed-4b73-a29e-678838cd8acd" providerId="ADAL" clId="{D4795083-EE21-4870-A6A1-CBEBAABF3C14}" dt="2023-06-06T08:56:12.571" v="9027" actId="20577"/>
          <ac:spMkLst>
            <pc:docMk/>
            <pc:sldMk cId="1119461241" sldId="423"/>
            <ac:spMk id="32" creationId="{8703C556-F621-37D0-A5DC-F80CE93E405F}"/>
          </ac:spMkLst>
        </pc:spChg>
        <pc:spChg chg="add del mod ord">
          <ac:chgData name="Hans Gelissen (DHL SSC Maastricht)" userId="1afa8510-4eed-4b73-a29e-678838cd8acd" providerId="ADAL" clId="{D4795083-EE21-4870-A6A1-CBEBAABF3C14}" dt="2023-06-06T08:56:36.571" v="9029" actId="478"/>
          <ac:spMkLst>
            <pc:docMk/>
            <pc:sldMk cId="1119461241" sldId="423"/>
            <ac:spMk id="33" creationId="{D1E60B90-FEFF-FDDA-0519-44CEB5AB2112}"/>
          </ac:spMkLst>
        </pc:spChg>
        <pc:picChg chg="add mod ord">
          <ac:chgData name="Hans Gelissen (DHL SSC Maastricht)" userId="1afa8510-4eed-4b73-a29e-678838cd8acd" providerId="ADAL" clId="{D4795083-EE21-4870-A6A1-CBEBAABF3C14}" dt="2023-06-06T08:56:48.371" v="9031" actId="167"/>
          <ac:picMkLst>
            <pc:docMk/>
            <pc:sldMk cId="1119461241" sldId="423"/>
            <ac:picMk id="34" creationId="{30295B8D-7284-B239-A20F-B11ACD23D085}"/>
          </ac:picMkLst>
        </pc:picChg>
        <pc:picChg chg="add mod ord">
          <ac:chgData name="Hans Gelissen (DHL SSC Maastricht)" userId="1afa8510-4eed-4b73-a29e-678838cd8acd" providerId="ADAL" clId="{D4795083-EE21-4870-A6A1-CBEBAABF3C14}" dt="2023-06-06T08:56:48.371" v="9031" actId="167"/>
          <ac:picMkLst>
            <pc:docMk/>
            <pc:sldMk cId="1119461241" sldId="423"/>
            <ac:picMk id="35" creationId="{CBFA5E05-33A5-5E20-4A7C-A1448130B993}"/>
          </ac:picMkLst>
        </pc:picChg>
      </pc:sldChg>
      <pc:sldChg chg="addSp delSp modSp add del mod modClrScheme delAnim modAnim chgLayout">
        <pc:chgData name="Hans Gelissen (DHL SSC Maastricht)" userId="1afa8510-4eed-4b73-a29e-678838cd8acd" providerId="ADAL" clId="{D4795083-EE21-4870-A6A1-CBEBAABF3C14}" dt="2023-06-07T08:23:19.627" v="12261" actId="47"/>
        <pc:sldMkLst>
          <pc:docMk/>
          <pc:sldMk cId="1763199242" sldId="424"/>
        </pc:sldMkLst>
        <pc:spChg chg="mod ord">
          <ac:chgData name="Hans Gelissen (DHL SSC Maastricht)" userId="1afa8510-4eed-4b73-a29e-678838cd8acd" providerId="ADAL" clId="{D4795083-EE21-4870-A6A1-CBEBAABF3C14}" dt="2023-06-06T09:19:05.267" v="9219" actId="700"/>
          <ac:spMkLst>
            <pc:docMk/>
            <pc:sldMk cId="1763199242" sldId="424"/>
            <ac:spMk id="2" creationId="{1524604F-0584-E5D9-82DB-75072003E45A}"/>
          </ac:spMkLst>
        </pc:spChg>
        <pc:spChg chg="del">
          <ac:chgData name="Hans Gelissen (DHL SSC Maastricht)" userId="1afa8510-4eed-4b73-a29e-678838cd8acd" providerId="ADAL" clId="{D4795083-EE21-4870-A6A1-CBEBAABF3C14}" dt="2023-06-06T09:05:49.797" v="9052" actId="478"/>
          <ac:spMkLst>
            <pc:docMk/>
            <pc:sldMk cId="1763199242" sldId="424"/>
            <ac:spMk id="3" creationId="{6DA6E166-A7C0-B7A3-F764-40C800E081DD}"/>
          </ac:spMkLst>
        </pc:spChg>
        <pc:spChg chg="add del mod">
          <ac:chgData name="Hans Gelissen (DHL SSC Maastricht)" userId="1afa8510-4eed-4b73-a29e-678838cd8acd" providerId="ADAL" clId="{D4795083-EE21-4870-A6A1-CBEBAABF3C14}" dt="2023-06-06T09:06:47.820" v="9057" actId="478"/>
          <ac:spMkLst>
            <pc:docMk/>
            <pc:sldMk cId="1763199242" sldId="424"/>
            <ac:spMk id="4" creationId="{30AD9C42-3D03-1BF2-7B87-DC204C52EDA8}"/>
          </ac:spMkLst>
        </pc:spChg>
        <pc:spChg chg="add mod topLvl">
          <ac:chgData name="Hans Gelissen (DHL SSC Maastricht)" userId="1afa8510-4eed-4b73-a29e-678838cd8acd" providerId="ADAL" clId="{D4795083-EE21-4870-A6A1-CBEBAABF3C14}" dt="2023-06-06T09:15:23.466" v="9156" actId="165"/>
          <ac:spMkLst>
            <pc:docMk/>
            <pc:sldMk cId="1763199242" sldId="424"/>
            <ac:spMk id="7" creationId="{CD13F0A7-9CA4-672C-F433-E278A3484918}"/>
          </ac:spMkLst>
        </pc:spChg>
        <pc:spChg chg="add mod topLvl">
          <ac:chgData name="Hans Gelissen (DHL SSC Maastricht)" userId="1afa8510-4eed-4b73-a29e-678838cd8acd" providerId="ADAL" clId="{D4795083-EE21-4870-A6A1-CBEBAABF3C14}" dt="2023-06-06T09:28:23.414" v="9373" actId="1076"/>
          <ac:spMkLst>
            <pc:docMk/>
            <pc:sldMk cId="1763199242" sldId="424"/>
            <ac:spMk id="8" creationId="{6F7B86D7-7A37-0500-2DEF-E5265DCAF161}"/>
          </ac:spMkLst>
        </pc:spChg>
        <pc:spChg chg="add mod topLvl">
          <ac:chgData name="Hans Gelissen (DHL SSC Maastricht)" userId="1afa8510-4eed-4b73-a29e-678838cd8acd" providerId="ADAL" clId="{D4795083-EE21-4870-A6A1-CBEBAABF3C14}" dt="2023-06-06T09:28:23.414" v="9373" actId="1076"/>
          <ac:spMkLst>
            <pc:docMk/>
            <pc:sldMk cId="1763199242" sldId="424"/>
            <ac:spMk id="9" creationId="{B24013EA-E37D-EE31-472B-1AD0232201EB}"/>
          </ac:spMkLst>
        </pc:spChg>
        <pc:spChg chg="add mod topLvl">
          <ac:chgData name="Hans Gelissen (DHL SSC Maastricht)" userId="1afa8510-4eed-4b73-a29e-678838cd8acd" providerId="ADAL" clId="{D4795083-EE21-4870-A6A1-CBEBAABF3C14}" dt="2023-06-06T09:28:23.414" v="9373" actId="1076"/>
          <ac:spMkLst>
            <pc:docMk/>
            <pc:sldMk cId="1763199242" sldId="424"/>
            <ac:spMk id="10" creationId="{DC372CDC-B089-E6FD-0A7A-CA61E047D286}"/>
          </ac:spMkLst>
        </pc:spChg>
        <pc:spChg chg="mod topLvl">
          <ac:chgData name="Hans Gelissen (DHL SSC Maastricht)" userId="1afa8510-4eed-4b73-a29e-678838cd8acd" providerId="ADAL" clId="{D4795083-EE21-4870-A6A1-CBEBAABF3C14}" dt="2023-06-06T09:28:23.414" v="9373" actId="1076"/>
          <ac:spMkLst>
            <pc:docMk/>
            <pc:sldMk cId="1763199242" sldId="424"/>
            <ac:spMk id="12" creationId="{3A921152-C0DE-554B-A6E9-4DCA03BE5614}"/>
          </ac:spMkLst>
        </pc:spChg>
        <pc:spChg chg="mod topLvl">
          <ac:chgData name="Hans Gelissen (DHL SSC Maastricht)" userId="1afa8510-4eed-4b73-a29e-678838cd8acd" providerId="ADAL" clId="{D4795083-EE21-4870-A6A1-CBEBAABF3C14}" dt="2023-06-06T09:28:23.414" v="9373" actId="1076"/>
          <ac:spMkLst>
            <pc:docMk/>
            <pc:sldMk cId="1763199242" sldId="424"/>
            <ac:spMk id="13" creationId="{6BE1FF18-B1E5-7C99-B5D7-CBECB874B565}"/>
          </ac:spMkLst>
        </pc:spChg>
        <pc:spChg chg="mod topLvl">
          <ac:chgData name="Hans Gelissen (DHL SSC Maastricht)" userId="1afa8510-4eed-4b73-a29e-678838cd8acd" providerId="ADAL" clId="{D4795083-EE21-4870-A6A1-CBEBAABF3C14}" dt="2023-06-06T09:28:23.414" v="9373" actId="1076"/>
          <ac:spMkLst>
            <pc:docMk/>
            <pc:sldMk cId="1763199242" sldId="424"/>
            <ac:spMk id="15" creationId="{2B79366F-A954-A2B7-D094-D2D42B20DB5B}"/>
          </ac:spMkLst>
        </pc:spChg>
        <pc:spChg chg="mod topLvl">
          <ac:chgData name="Hans Gelissen (DHL SSC Maastricht)" userId="1afa8510-4eed-4b73-a29e-678838cd8acd" providerId="ADAL" clId="{D4795083-EE21-4870-A6A1-CBEBAABF3C14}" dt="2023-06-06T09:28:23.414" v="9373" actId="1076"/>
          <ac:spMkLst>
            <pc:docMk/>
            <pc:sldMk cId="1763199242" sldId="424"/>
            <ac:spMk id="16" creationId="{2E0CCA95-C166-3EEF-5855-C5E016B6BF30}"/>
          </ac:spMkLst>
        </pc:spChg>
        <pc:spChg chg="mod topLvl">
          <ac:chgData name="Hans Gelissen (DHL SSC Maastricht)" userId="1afa8510-4eed-4b73-a29e-678838cd8acd" providerId="ADAL" clId="{D4795083-EE21-4870-A6A1-CBEBAABF3C14}" dt="2023-06-06T09:28:23.414" v="9373" actId="1076"/>
          <ac:spMkLst>
            <pc:docMk/>
            <pc:sldMk cId="1763199242" sldId="424"/>
            <ac:spMk id="18" creationId="{24F9CAAD-7724-63CB-7E9B-016A270B88A2}"/>
          </ac:spMkLst>
        </pc:spChg>
        <pc:spChg chg="mod topLvl">
          <ac:chgData name="Hans Gelissen (DHL SSC Maastricht)" userId="1afa8510-4eed-4b73-a29e-678838cd8acd" providerId="ADAL" clId="{D4795083-EE21-4870-A6A1-CBEBAABF3C14}" dt="2023-06-06T09:28:23.414" v="9373" actId="1076"/>
          <ac:spMkLst>
            <pc:docMk/>
            <pc:sldMk cId="1763199242" sldId="424"/>
            <ac:spMk id="19" creationId="{3CD468E2-931F-D34E-A1B7-E2C646CB80A4}"/>
          </ac:spMkLst>
        </pc:spChg>
        <pc:spChg chg="add del mod">
          <ac:chgData name="Hans Gelissen (DHL SSC Maastricht)" userId="1afa8510-4eed-4b73-a29e-678838cd8acd" providerId="ADAL" clId="{D4795083-EE21-4870-A6A1-CBEBAABF3C14}" dt="2023-06-06T09:06:18.977" v="9055" actId="478"/>
          <ac:spMkLst>
            <pc:docMk/>
            <pc:sldMk cId="1763199242" sldId="424"/>
            <ac:spMk id="20" creationId="{0337EE2A-9C64-F182-01CD-9E003523CFF6}"/>
          </ac:spMkLst>
        </pc:spChg>
        <pc:spChg chg="mod">
          <ac:chgData name="Hans Gelissen (DHL SSC Maastricht)" userId="1afa8510-4eed-4b73-a29e-678838cd8acd" providerId="ADAL" clId="{D4795083-EE21-4870-A6A1-CBEBAABF3C14}" dt="2023-06-06T09:27:20.461" v="9363" actId="14100"/>
          <ac:spMkLst>
            <pc:docMk/>
            <pc:sldMk cId="1763199242" sldId="424"/>
            <ac:spMk id="25" creationId="{41A45424-9CDC-A949-871A-C49752CBBEAF}"/>
          </ac:spMkLst>
        </pc:spChg>
        <pc:spChg chg="mod">
          <ac:chgData name="Hans Gelissen (DHL SSC Maastricht)" userId="1afa8510-4eed-4b73-a29e-678838cd8acd" providerId="ADAL" clId="{D4795083-EE21-4870-A6A1-CBEBAABF3C14}" dt="2023-06-06T09:26:51.789" v="9359" actId="11530"/>
          <ac:spMkLst>
            <pc:docMk/>
            <pc:sldMk cId="1763199242" sldId="424"/>
            <ac:spMk id="28" creationId="{00972F7A-DD7E-E382-1DC7-F26E15E7CBB5}"/>
          </ac:spMkLst>
        </pc:spChg>
        <pc:spChg chg="mod">
          <ac:chgData name="Hans Gelissen (DHL SSC Maastricht)" userId="1afa8510-4eed-4b73-a29e-678838cd8acd" providerId="ADAL" clId="{D4795083-EE21-4870-A6A1-CBEBAABF3C14}" dt="2023-06-06T09:27:49.427" v="9367" actId="14100"/>
          <ac:spMkLst>
            <pc:docMk/>
            <pc:sldMk cId="1763199242" sldId="424"/>
            <ac:spMk id="31" creationId="{53C02E9E-1AC0-752E-35F1-53C2BA2A514B}"/>
          </ac:spMkLst>
        </pc:spChg>
        <pc:spChg chg="add del mod ord">
          <ac:chgData name="Hans Gelissen (DHL SSC Maastricht)" userId="1afa8510-4eed-4b73-a29e-678838cd8acd" providerId="ADAL" clId="{D4795083-EE21-4870-A6A1-CBEBAABF3C14}" dt="2023-06-06T09:17:48.934" v="9218" actId="478"/>
          <ac:spMkLst>
            <pc:docMk/>
            <pc:sldMk cId="1763199242" sldId="424"/>
            <ac:spMk id="37" creationId="{ED6F6F41-75D6-02CB-038D-41C5D234DB38}"/>
          </ac:spMkLst>
        </pc:spChg>
        <pc:spChg chg="add del mod ord">
          <ac:chgData name="Hans Gelissen (DHL SSC Maastricht)" userId="1afa8510-4eed-4b73-a29e-678838cd8acd" providerId="ADAL" clId="{D4795083-EE21-4870-A6A1-CBEBAABF3C14}" dt="2023-06-06T09:19:16.284" v="9223" actId="478"/>
          <ac:spMkLst>
            <pc:docMk/>
            <pc:sldMk cId="1763199242" sldId="424"/>
            <ac:spMk id="38" creationId="{34A2E41E-5BC2-98D4-CD41-1C334CF2D391}"/>
          </ac:spMkLst>
        </pc:spChg>
        <pc:spChg chg="add mod">
          <ac:chgData name="Hans Gelissen (DHL SSC Maastricht)" userId="1afa8510-4eed-4b73-a29e-678838cd8acd" providerId="ADAL" clId="{D4795083-EE21-4870-A6A1-CBEBAABF3C14}" dt="2023-06-06T09:28:23.414" v="9373" actId="1076"/>
          <ac:spMkLst>
            <pc:docMk/>
            <pc:sldMk cId="1763199242" sldId="424"/>
            <ac:spMk id="41" creationId="{2C9B95E1-8539-C731-172D-40B6D88CEB31}"/>
          </ac:spMkLst>
        </pc:spChg>
        <pc:spChg chg="add mod">
          <ac:chgData name="Hans Gelissen (DHL SSC Maastricht)" userId="1afa8510-4eed-4b73-a29e-678838cd8acd" providerId="ADAL" clId="{D4795083-EE21-4870-A6A1-CBEBAABF3C14}" dt="2023-06-06T09:28:23.414" v="9373" actId="1076"/>
          <ac:spMkLst>
            <pc:docMk/>
            <pc:sldMk cId="1763199242" sldId="424"/>
            <ac:spMk id="42" creationId="{A81F77AE-9F52-C6A7-C596-8C3D6F22C751}"/>
          </ac:spMkLst>
        </pc:spChg>
        <pc:spChg chg="add del mod">
          <ac:chgData name="Hans Gelissen (DHL SSC Maastricht)" userId="1afa8510-4eed-4b73-a29e-678838cd8acd" providerId="ADAL" clId="{D4795083-EE21-4870-A6A1-CBEBAABF3C14}" dt="2023-06-06T09:20:16.795" v="9240" actId="478"/>
          <ac:spMkLst>
            <pc:docMk/>
            <pc:sldMk cId="1763199242" sldId="424"/>
            <ac:spMk id="43" creationId="{7B9799FB-EE91-3B62-ABA6-BE57558DA546}"/>
          </ac:spMkLst>
        </pc:spChg>
        <pc:spChg chg="add mod ord">
          <ac:chgData name="Hans Gelissen (DHL SSC Maastricht)" userId="1afa8510-4eed-4b73-a29e-678838cd8acd" providerId="ADAL" clId="{D4795083-EE21-4870-A6A1-CBEBAABF3C14}" dt="2023-06-06T09:29:30.736" v="9398" actId="20577"/>
          <ac:spMkLst>
            <pc:docMk/>
            <pc:sldMk cId="1763199242" sldId="424"/>
            <ac:spMk id="44" creationId="{E9B50FE9-2F30-5CFB-3BBC-119C119D6B53}"/>
          </ac:spMkLst>
        </pc:spChg>
        <pc:grpChg chg="add del mod topLvl">
          <ac:chgData name="Hans Gelissen (DHL SSC Maastricht)" userId="1afa8510-4eed-4b73-a29e-678838cd8acd" providerId="ADAL" clId="{D4795083-EE21-4870-A6A1-CBEBAABF3C14}" dt="2023-06-06T09:24:22.373" v="9288" actId="165"/>
          <ac:grpSpMkLst>
            <pc:docMk/>
            <pc:sldMk cId="1763199242" sldId="424"/>
            <ac:grpSpMk id="11" creationId="{C88D0441-0F81-1721-752B-61C7E74A5AF4}"/>
          </ac:grpSpMkLst>
        </pc:grpChg>
        <pc:grpChg chg="add del mod topLvl">
          <ac:chgData name="Hans Gelissen (DHL SSC Maastricht)" userId="1afa8510-4eed-4b73-a29e-678838cd8acd" providerId="ADAL" clId="{D4795083-EE21-4870-A6A1-CBEBAABF3C14}" dt="2023-06-06T09:24:22.373" v="9288" actId="165"/>
          <ac:grpSpMkLst>
            <pc:docMk/>
            <pc:sldMk cId="1763199242" sldId="424"/>
            <ac:grpSpMk id="14" creationId="{E2EE045E-0102-5FD9-8419-1CF314DF0215}"/>
          </ac:grpSpMkLst>
        </pc:grpChg>
        <pc:grpChg chg="add del mod topLvl">
          <ac:chgData name="Hans Gelissen (DHL SSC Maastricht)" userId="1afa8510-4eed-4b73-a29e-678838cd8acd" providerId="ADAL" clId="{D4795083-EE21-4870-A6A1-CBEBAABF3C14}" dt="2023-06-06T09:24:22.373" v="9288" actId="165"/>
          <ac:grpSpMkLst>
            <pc:docMk/>
            <pc:sldMk cId="1763199242" sldId="424"/>
            <ac:grpSpMk id="17" creationId="{426792FD-F690-9DC6-2486-D8F5766A63D4}"/>
          </ac:grpSpMkLst>
        </pc:grpChg>
        <pc:grpChg chg="add mod topLvl">
          <ac:chgData name="Hans Gelissen (DHL SSC Maastricht)" userId="1afa8510-4eed-4b73-a29e-678838cd8acd" providerId="ADAL" clId="{D4795083-EE21-4870-A6A1-CBEBAABF3C14}" dt="2023-06-06T09:26:58.392" v="9360" actId="11530"/>
          <ac:grpSpMkLst>
            <pc:docMk/>
            <pc:sldMk cId="1763199242" sldId="424"/>
            <ac:grpSpMk id="24" creationId="{CB786D31-61EE-AC83-2327-35CFC01ABD1F}"/>
          </ac:grpSpMkLst>
        </pc:grpChg>
        <pc:grpChg chg="add mod topLvl">
          <ac:chgData name="Hans Gelissen (DHL SSC Maastricht)" userId="1afa8510-4eed-4b73-a29e-678838cd8acd" providerId="ADAL" clId="{D4795083-EE21-4870-A6A1-CBEBAABF3C14}" dt="2023-06-06T09:15:26.628" v="9157" actId="1036"/>
          <ac:grpSpMkLst>
            <pc:docMk/>
            <pc:sldMk cId="1763199242" sldId="424"/>
            <ac:grpSpMk id="27" creationId="{31E0EED0-8939-7D64-D05F-8CE55C47371B}"/>
          </ac:grpSpMkLst>
        </pc:grpChg>
        <pc:grpChg chg="add mod topLvl">
          <ac:chgData name="Hans Gelissen (DHL SSC Maastricht)" userId="1afa8510-4eed-4b73-a29e-678838cd8acd" providerId="ADAL" clId="{D4795083-EE21-4870-A6A1-CBEBAABF3C14}" dt="2023-06-06T09:27:11.881" v="9361" actId="11530"/>
          <ac:grpSpMkLst>
            <pc:docMk/>
            <pc:sldMk cId="1763199242" sldId="424"/>
            <ac:grpSpMk id="30" creationId="{53B916E8-4937-4349-AA89-6E390B050138}"/>
          </ac:grpSpMkLst>
        </pc:grpChg>
        <pc:grpChg chg="add del mod">
          <ac:chgData name="Hans Gelissen (DHL SSC Maastricht)" userId="1afa8510-4eed-4b73-a29e-678838cd8acd" providerId="ADAL" clId="{D4795083-EE21-4870-A6A1-CBEBAABF3C14}" dt="2023-06-06T09:13:35.789" v="9140" actId="165"/>
          <ac:grpSpMkLst>
            <pc:docMk/>
            <pc:sldMk cId="1763199242" sldId="424"/>
            <ac:grpSpMk id="35" creationId="{BCA6BE00-DBB4-582F-401E-D8DDB7644B47}"/>
          </ac:grpSpMkLst>
        </pc:grpChg>
        <pc:grpChg chg="add del mod">
          <ac:chgData name="Hans Gelissen (DHL SSC Maastricht)" userId="1afa8510-4eed-4b73-a29e-678838cd8acd" providerId="ADAL" clId="{D4795083-EE21-4870-A6A1-CBEBAABF3C14}" dt="2023-06-06T09:15:23.466" v="9156" actId="165"/>
          <ac:grpSpMkLst>
            <pc:docMk/>
            <pc:sldMk cId="1763199242" sldId="424"/>
            <ac:grpSpMk id="36" creationId="{9A1DCF48-1F19-3765-B64E-3DA3FA139379}"/>
          </ac:grpSpMkLst>
        </pc:grpChg>
        <pc:picChg chg="add mod topLvl">
          <ac:chgData name="Hans Gelissen (DHL SSC Maastricht)" userId="1afa8510-4eed-4b73-a29e-678838cd8acd" providerId="ADAL" clId="{D4795083-EE21-4870-A6A1-CBEBAABF3C14}" dt="2023-06-06T09:28:23.414" v="9373" actId="1076"/>
          <ac:picMkLst>
            <pc:docMk/>
            <pc:sldMk cId="1763199242" sldId="424"/>
            <ac:picMk id="21" creationId="{47890AF8-139E-1020-AEC1-5D682F2BDB8E}"/>
          </ac:picMkLst>
        </pc:picChg>
        <pc:picChg chg="add mod topLvl">
          <ac:chgData name="Hans Gelissen (DHL SSC Maastricht)" userId="1afa8510-4eed-4b73-a29e-678838cd8acd" providerId="ADAL" clId="{D4795083-EE21-4870-A6A1-CBEBAABF3C14}" dt="2023-06-06T09:28:23.414" v="9373" actId="1076"/>
          <ac:picMkLst>
            <pc:docMk/>
            <pc:sldMk cId="1763199242" sldId="424"/>
            <ac:picMk id="22" creationId="{2603C873-DABF-4776-5E9F-266416840688}"/>
          </ac:picMkLst>
        </pc:picChg>
        <pc:picChg chg="add mod topLvl">
          <ac:chgData name="Hans Gelissen (DHL SSC Maastricht)" userId="1afa8510-4eed-4b73-a29e-678838cd8acd" providerId="ADAL" clId="{D4795083-EE21-4870-A6A1-CBEBAABF3C14}" dt="2023-06-06T09:28:23.414" v="9373" actId="1076"/>
          <ac:picMkLst>
            <pc:docMk/>
            <pc:sldMk cId="1763199242" sldId="424"/>
            <ac:picMk id="23" creationId="{CFB94054-7458-CCA2-4606-E362DC3106DC}"/>
          </ac:picMkLst>
        </pc:picChg>
        <pc:picChg chg="mod">
          <ac:chgData name="Hans Gelissen (DHL SSC Maastricht)" userId="1afa8510-4eed-4b73-a29e-678838cd8acd" providerId="ADAL" clId="{D4795083-EE21-4870-A6A1-CBEBAABF3C14}" dt="2023-06-06T09:26:58.392" v="9360" actId="11530"/>
          <ac:picMkLst>
            <pc:docMk/>
            <pc:sldMk cId="1763199242" sldId="424"/>
            <ac:picMk id="26" creationId="{6EC8BA04-8C0E-10F7-33B1-7F5FF21D0656}"/>
          </ac:picMkLst>
        </pc:picChg>
        <pc:picChg chg="mod">
          <ac:chgData name="Hans Gelissen (DHL SSC Maastricht)" userId="1afa8510-4eed-4b73-a29e-678838cd8acd" providerId="ADAL" clId="{D4795083-EE21-4870-A6A1-CBEBAABF3C14}" dt="2023-06-06T09:22:56.387" v="9275"/>
          <ac:picMkLst>
            <pc:docMk/>
            <pc:sldMk cId="1763199242" sldId="424"/>
            <ac:picMk id="29" creationId="{9401CFCE-E210-CC0D-6585-E0FE1C25A03E}"/>
          </ac:picMkLst>
        </pc:picChg>
        <pc:picChg chg="mod">
          <ac:chgData name="Hans Gelissen (DHL SSC Maastricht)" userId="1afa8510-4eed-4b73-a29e-678838cd8acd" providerId="ADAL" clId="{D4795083-EE21-4870-A6A1-CBEBAABF3C14}" dt="2023-06-06T09:27:11.881" v="9361" actId="11530"/>
          <ac:picMkLst>
            <pc:docMk/>
            <pc:sldMk cId="1763199242" sldId="424"/>
            <ac:picMk id="32" creationId="{72F5D36F-8FCF-8889-CA6B-593D81753DF9}"/>
          </ac:picMkLst>
        </pc:picChg>
        <pc:picChg chg="add del mod ord">
          <ac:chgData name="Hans Gelissen (DHL SSC Maastricht)" userId="1afa8510-4eed-4b73-a29e-678838cd8acd" providerId="ADAL" clId="{D4795083-EE21-4870-A6A1-CBEBAABF3C14}" dt="2023-06-06T09:19:12.694" v="9222" actId="478"/>
          <ac:picMkLst>
            <pc:docMk/>
            <pc:sldMk cId="1763199242" sldId="424"/>
            <ac:picMk id="39" creationId="{368949DD-3FC7-8DE6-C7CB-7084D15DE839}"/>
          </ac:picMkLst>
        </pc:picChg>
        <pc:picChg chg="add mod ord">
          <ac:chgData name="Hans Gelissen (DHL SSC Maastricht)" userId="1afa8510-4eed-4b73-a29e-678838cd8acd" providerId="ADAL" clId="{D4795083-EE21-4870-A6A1-CBEBAABF3C14}" dt="2023-06-06T09:19:08.440" v="9221" actId="167"/>
          <ac:picMkLst>
            <pc:docMk/>
            <pc:sldMk cId="1763199242" sldId="424"/>
            <ac:picMk id="40" creationId="{9C53335A-8F82-C436-38DF-7C920CD1A52F}"/>
          </ac:picMkLst>
        </pc:picChg>
        <pc:cxnChg chg="add mod topLvl">
          <ac:chgData name="Hans Gelissen (DHL SSC Maastricht)" userId="1afa8510-4eed-4b73-a29e-678838cd8acd" providerId="ADAL" clId="{D4795083-EE21-4870-A6A1-CBEBAABF3C14}" dt="2023-06-06T09:15:23.466" v="9156" actId="165"/>
          <ac:cxnSpMkLst>
            <pc:docMk/>
            <pc:sldMk cId="1763199242" sldId="424"/>
            <ac:cxnSpMk id="5" creationId="{C479B843-298D-A74B-2670-F90270C9BC9B}"/>
          </ac:cxnSpMkLst>
        </pc:cxnChg>
        <pc:cxnChg chg="add mod topLvl">
          <ac:chgData name="Hans Gelissen (DHL SSC Maastricht)" userId="1afa8510-4eed-4b73-a29e-678838cd8acd" providerId="ADAL" clId="{D4795083-EE21-4870-A6A1-CBEBAABF3C14}" dt="2023-06-06T09:15:23.466" v="9156" actId="165"/>
          <ac:cxnSpMkLst>
            <pc:docMk/>
            <pc:sldMk cId="1763199242" sldId="424"/>
            <ac:cxnSpMk id="6" creationId="{FABFA548-1F32-426F-8DB8-6941EFD7157B}"/>
          </ac:cxnSpMkLst>
        </pc:cxnChg>
      </pc:sldChg>
      <pc:sldChg chg="addSp delSp modSp add del mod">
        <pc:chgData name="Hans Gelissen (DHL SSC Maastricht)" userId="1afa8510-4eed-4b73-a29e-678838cd8acd" providerId="ADAL" clId="{D4795083-EE21-4870-A6A1-CBEBAABF3C14}" dt="2023-06-07T08:23:22.023" v="12262" actId="47"/>
        <pc:sldMkLst>
          <pc:docMk/>
          <pc:sldMk cId="1831329382" sldId="425"/>
        </pc:sldMkLst>
        <pc:spChg chg="del">
          <ac:chgData name="Hans Gelissen (DHL SSC Maastricht)" userId="1afa8510-4eed-4b73-a29e-678838cd8acd" providerId="ADAL" clId="{D4795083-EE21-4870-A6A1-CBEBAABF3C14}" dt="2023-06-06T09:31:00.285" v="9399" actId="478"/>
          <ac:spMkLst>
            <pc:docMk/>
            <pc:sldMk cId="1831329382" sldId="425"/>
            <ac:spMk id="3" creationId="{6DA6E166-A7C0-B7A3-F764-40C800E081DD}"/>
          </ac:spMkLst>
        </pc:spChg>
        <pc:picChg chg="add mod">
          <ac:chgData name="Hans Gelissen (DHL SSC Maastricht)" userId="1afa8510-4eed-4b73-a29e-678838cd8acd" providerId="ADAL" clId="{D4795083-EE21-4870-A6A1-CBEBAABF3C14}" dt="2023-06-06T09:31:50.771" v="9410" actId="14100"/>
          <ac:picMkLst>
            <pc:docMk/>
            <pc:sldMk cId="1831329382" sldId="425"/>
            <ac:picMk id="4" creationId="{5789C9F8-A2BF-F241-FF80-848BCBC33ED8}"/>
          </ac:picMkLst>
        </pc:picChg>
        <pc:picChg chg="add mod">
          <ac:chgData name="Hans Gelissen (DHL SSC Maastricht)" userId="1afa8510-4eed-4b73-a29e-678838cd8acd" providerId="ADAL" clId="{D4795083-EE21-4870-A6A1-CBEBAABF3C14}" dt="2023-06-06T09:31:50.771" v="9410" actId="14100"/>
          <ac:picMkLst>
            <pc:docMk/>
            <pc:sldMk cId="1831329382" sldId="425"/>
            <ac:picMk id="5" creationId="{DC371A7A-9897-C290-265E-5F09ADEF4F78}"/>
          </ac:picMkLst>
        </pc:picChg>
      </pc:sldChg>
      <pc:sldChg chg="addSp delSp modSp add mod modClrScheme chgLayout">
        <pc:chgData name="Hans Gelissen (DHL SSC Maastricht)" userId="1afa8510-4eed-4b73-a29e-678838cd8acd" providerId="ADAL" clId="{D4795083-EE21-4870-A6A1-CBEBAABF3C14}" dt="2023-06-07T08:13:05.588" v="12245" actId="20577"/>
        <pc:sldMkLst>
          <pc:docMk/>
          <pc:sldMk cId="1390088818" sldId="426"/>
        </pc:sldMkLst>
        <pc:spChg chg="add mod">
          <ac:chgData name="Hans Gelissen (DHL SSC Maastricht)" userId="1afa8510-4eed-4b73-a29e-678838cd8acd" providerId="ADAL" clId="{D4795083-EE21-4870-A6A1-CBEBAABF3C14}" dt="2023-06-06T08:57:58.002" v="9039" actId="207"/>
          <ac:spMkLst>
            <pc:docMk/>
            <pc:sldMk cId="1390088818" sldId="426"/>
            <ac:spMk id="2" creationId="{BD01CC9E-0DE5-65A3-3020-B89B2DF5D8EA}"/>
          </ac:spMkLst>
        </pc:spChg>
        <pc:spChg chg="add mod">
          <ac:chgData name="Hans Gelissen (DHL SSC Maastricht)" userId="1afa8510-4eed-4b73-a29e-678838cd8acd" providerId="ADAL" clId="{D4795083-EE21-4870-A6A1-CBEBAABF3C14}" dt="2023-06-06T08:57:50.503" v="9038" actId="207"/>
          <ac:spMkLst>
            <pc:docMk/>
            <pc:sldMk cId="1390088818" sldId="426"/>
            <ac:spMk id="3" creationId="{32FC89D7-E0F9-C963-0B43-AAA8DE8DA712}"/>
          </ac:spMkLst>
        </pc:spChg>
        <pc:spChg chg="mod ord">
          <ac:chgData name="Hans Gelissen (DHL SSC Maastricht)" userId="1afa8510-4eed-4b73-a29e-678838cd8acd" providerId="ADAL" clId="{D4795083-EE21-4870-A6A1-CBEBAABF3C14}" dt="2023-06-06T08:56:55.593" v="9032" actId="700"/>
          <ac:spMkLst>
            <pc:docMk/>
            <pc:sldMk cId="1390088818" sldId="426"/>
            <ac:spMk id="4" creationId="{66533694-F27B-5E4F-323F-F1F2B36A9EAC}"/>
          </ac:spMkLst>
        </pc:spChg>
        <pc:spChg chg="add mod">
          <ac:chgData name="Hans Gelissen (DHL SSC Maastricht)" userId="1afa8510-4eed-4b73-a29e-678838cd8acd" providerId="ADAL" clId="{D4795083-EE21-4870-A6A1-CBEBAABF3C14}" dt="2023-06-06T08:57:58.002" v="9039" actId="207"/>
          <ac:spMkLst>
            <pc:docMk/>
            <pc:sldMk cId="1390088818" sldId="426"/>
            <ac:spMk id="5" creationId="{6159589D-DAD8-7D85-A782-08432DF8A139}"/>
          </ac:spMkLst>
        </pc:spChg>
        <pc:spChg chg="add mod">
          <ac:chgData name="Hans Gelissen (DHL SSC Maastricht)" userId="1afa8510-4eed-4b73-a29e-678838cd8acd" providerId="ADAL" clId="{D4795083-EE21-4870-A6A1-CBEBAABF3C14}" dt="2023-06-06T08:57:50.503" v="9038" actId="207"/>
          <ac:spMkLst>
            <pc:docMk/>
            <pc:sldMk cId="1390088818" sldId="426"/>
            <ac:spMk id="6" creationId="{F1006E18-439A-6F86-92FE-67FB5C04960B}"/>
          </ac:spMkLst>
        </pc:spChg>
        <pc:spChg chg="mod">
          <ac:chgData name="Hans Gelissen (DHL SSC Maastricht)" userId="1afa8510-4eed-4b73-a29e-678838cd8acd" providerId="ADAL" clId="{D4795083-EE21-4870-A6A1-CBEBAABF3C14}" dt="2023-06-06T08:49:36.137" v="8664" actId="207"/>
          <ac:spMkLst>
            <pc:docMk/>
            <pc:sldMk cId="1390088818" sldId="426"/>
            <ac:spMk id="7" creationId="{567640E6-B86C-3A69-8408-0B47BD11C26C}"/>
          </ac:spMkLst>
        </pc:spChg>
        <pc:spChg chg="mod">
          <ac:chgData name="Hans Gelissen (DHL SSC Maastricht)" userId="1afa8510-4eed-4b73-a29e-678838cd8acd" providerId="ADAL" clId="{D4795083-EE21-4870-A6A1-CBEBAABF3C14}" dt="2023-06-06T08:55:43.278" v="9023" actId="1038"/>
          <ac:spMkLst>
            <pc:docMk/>
            <pc:sldMk cId="1390088818" sldId="426"/>
            <ac:spMk id="8" creationId="{CD1BC40C-FC86-5FFC-BAD5-78C43CA9EECF}"/>
          </ac:spMkLst>
        </pc:spChg>
        <pc:spChg chg="mod">
          <ac:chgData name="Hans Gelissen (DHL SSC Maastricht)" userId="1afa8510-4eed-4b73-a29e-678838cd8acd" providerId="ADAL" clId="{D4795083-EE21-4870-A6A1-CBEBAABF3C14}" dt="2023-06-06T08:55:43.278" v="9023" actId="1038"/>
          <ac:spMkLst>
            <pc:docMk/>
            <pc:sldMk cId="1390088818" sldId="426"/>
            <ac:spMk id="9" creationId="{82824020-DD73-0E67-1738-B60279EC3E36}"/>
          </ac:spMkLst>
        </pc:spChg>
        <pc:spChg chg="mod">
          <ac:chgData name="Hans Gelissen (DHL SSC Maastricht)" userId="1afa8510-4eed-4b73-a29e-678838cd8acd" providerId="ADAL" clId="{D4795083-EE21-4870-A6A1-CBEBAABF3C14}" dt="2023-06-06T08:56:06.001" v="9026" actId="20577"/>
          <ac:spMkLst>
            <pc:docMk/>
            <pc:sldMk cId="1390088818" sldId="426"/>
            <ac:spMk id="10" creationId="{EA5DDC72-A168-FFDD-698C-8F44D453D3A2}"/>
          </ac:spMkLst>
        </pc:spChg>
        <pc:spChg chg="mod">
          <ac:chgData name="Hans Gelissen (DHL SSC Maastricht)" userId="1afa8510-4eed-4b73-a29e-678838cd8acd" providerId="ADAL" clId="{D4795083-EE21-4870-A6A1-CBEBAABF3C14}" dt="2023-06-06T08:55:43.278" v="9023" actId="1038"/>
          <ac:spMkLst>
            <pc:docMk/>
            <pc:sldMk cId="1390088818" sldId="426"/>
            <ac:spMk id="11" creationId="{FE6F8F9A-152D-7025-91B1-764CE84401BE}"/>
          </ac:spMkLst>
        </pc:spChg>
        <pc:spChg chg="mod">
          <ac:chgData name="Hans Gelissen (DHL SSC Maastricht)" userId="1afa8510-4eed-4b73-a29e-678838cd8acd" providerId="ADAL" clId="{D4795083-EE21-4870-A6A1-CBEBAABF3C14}" dt="2023-06-06T08:49:36.137" v="8664" actId="207"/>
          <ac:spMkLst>
            <pc:docMk/>
            <pc:sldMk cId="1390088818" sldId="426"/>
            <ac:spMk id="12" creationId="{E6B0607F-DEA8-72A1-23C1-9D9C4854B609}"/>
          </ac:spMkLst>
        </pc:spChg>
        <pc:spChg chg="mod">
          <ac:chgData name="Hans Gelissen (DHL SSC Maastricht)" userId="1afa8510-4eed-4b73-a29e-678838cd8acd" providerId="ADAL" clId="{D4795083-EE21-4870-A6A1-CBEBAABF3C14}" dt="2023-06-06T08:55:43.278" v="9023" actId="1038"/>
          <ac:spMkLst>
            <pc:docMk/>
            <pc:sldMk cId="1390088818" sldId="426"/>
            <ac:spMk id="13" creationId="{75A3990B-4025-8B5B-047B-71A3CE7D448F}"/>
          </ac:spMkLst>
        </pc:spChg>
        <pc:spChg chg="mod">
          <ac:chgData name="Hans Gelissen (DHL SSC Maastricht)" userId="1afa8510-4eed-4b73-a29e-678838cd8acd" providerId="ADAL" clId="{D4795083-EE21-4870-A6A1-CBEBAABF3C14}" dt="2023-06-06T08:49:36.137" v="8664" actId="207"/>
          <ac:spMkLst>
            <pc:docMk/>
            <pc:sldMk cId="1390088818" sldId="426"/>
            <ac:spMk id="14" creationId="{52AB1554-1F8D-37E1-F3DC-973C0D521A5F}"/>
          </ac:spMkLst>
        </pc:spChg>
        <pc:spChg chg="add mod">
          <ac:chgData name="Hans Gelissen (DHL SSC Maastricht)" userId="1afa8510-4eed-4b73-a29e-678838cd8acd" providerId="ADAL" clId="{D4795083-EE21-4870-A6A1-CBEBAABF3C14}" dt="2023-06-07T08:13:05.588" v="12245" actId="20577"/>
          <ac:spMkLst>
            <pc:docMk/>
            <pc:sldMk cId="1390088818" sldId="426"/>
            <ac:spMk id="15" creationId="{1652295B-D6EE-6F73-6181-A7D38D294AAF}"/>
          </ac:spMkLst>
        </pc:spChg>
        <pc:spChg chg="mod">
          <ac:chgData name="Hans Gelissen (DHL SSC Maastricht)" userId="1afa8510-4eed-4b73-a29e-678838cd8acd" providerId="ADAL" clId="{D4795083-EE21-4870-A6A1-CBEBAABF3C14}" dt="2023-06-06T08:49:36.137" v="8664" actId="207"/>
          <ac:spMkLst>
            <pc:docMk/>
            <pc:sldMk cId="1390088818" sldId="426"/>
            <ac:spMk id="16" creationId="{C60E64F5-E87A-9F58-DB2F-7DC96A7B85DA}"/>
          </ac:spMkLst>
        </pc:spChg>
        <pc:spChg chg="mod">
          <ac:chgData name="Hans Gelissen (DHL SSC Maastricht)" userId="1afa8510-4eed-4b73-a29e-678838cd8acd" providerId="ADAL" clId="{D4795083-EE21-4870-A6A1-CBEBAABF3C14}" dt="2023-06-06T08:49:36.137" v="8664" actId="207"/>
          <ac:spMkLst>
            <pc:docMk/>
            <pc:sldMk cId="1390088818" sldId="426"/>
            <ac:spMk id="17" creationId="{2527DF4D-09F9-41CB-F3E9-013BF8DF87C4}"/>
          </ac:spMkLst>
        </pc:spChg>
        <pc:spChg chg="del">
          <ac:chgData name="Hans Gelissen (DHL SSC Maastricht)" userId="1afa8510-4eed-4b73-a29e-678838cd8acd" providerId="ADAL" clId="{D4795083-EE21-4870-A6A1-CBEBAABF3C14}" dt="2023-06-06T08:48:32.481" v="8626" actId="478"/>
          <ac:spMkLst>
            <pc:docMk/>
            <pc:sldMk cId="1390088818" sldId="426"/>
            <ac:spMk id="18" creationId="{73C9983F-2BBC-93FF-27E2-3B621BAB749F}"/>
          </ac:spMkLst>
        </pc:spChg>
        <pc:spChg chg="del">
          <ac:chgData name="Hans Gelissen (DHL SSC Maastricht)" userId="1afa8510-4eed-4b73-a29e-678838cd8acd" providerId="ADAL" clId="{D4795083-EE21-4870-A6A1-CBEBAABF3C14}" dt="2023-06-06T08:48:32.481" v="8626" actId="478"/>
          <ac:spMkLst>
            <pc:docMk/>
            <pc:sldMk cId="1390088818" sldId="426"/>
            <ac:spMk id="19" creationId="{3FE91C08-0A85-7278-A6B4-977202C21918}"/>
          </ac:spMkLst>
        </pc:spChg>
        <pc:spChg chg="del">
          <ac:chgData name="Hans Gelissen (DHL SSC Maastricht)" userId="1afa8510-4eed-4b73-a29e-678838cd8acd" providerId="ADAL" clId="{D4795083-EE21-4870-A6A1-CBEBAABF3C14}" dt="2023-06-06T08:48:32.481" v="8626" actId="478"/>
          <ac:spMkLst>
            <pc:docMk/>
            <pc:sldMk cId="1390088818" sldId="426"/>
            <ac:spMk id="20" creationId="{01170796-4B0A-168F-961C-82CFCB3C164C}"/>
          </ac:spMkLst>
        </pc:spChg>
        <pc:spChg chg="del">
          <ac:chgData name="Hans Gelissen (DHL SSC Maastricht)" userId="1afa8510-4eed-4b73-a29e-678838cd8acd" providerId="ADAL" clId="{D4795083-EE21-4870-A6A1-CBEBAABF3C14}" dt="2023-06-06T08:48:32.481" v="8626" actId="478"/>
          <ac:spMkLst>
            <pc:docMk/>
            <pc:sldMk cId="1390088818" sldId="426"/>
            <ac:spMk id="21" creationId="{84B83544-E3BF-BE9F-5B30-A2D49AB1C1BC}"/>
          </ac:spMkLst>
        </pc:spChg>
        <pc:spChg chg="del">
          <ac:chgData name="Hans Gelissen (DHL SSC Maastricht)" userId="1afa8510-4eed-4b73-a29e-678838cd8acd" providerId="ADAL" clId="{D4795083-EE21-4870-A6A1-CBEBAABF3C14}" dt="2023-06-06T08:48:32.481" v="8626" actId="478"/>
          <ac:spMkLst>
            <pc:docMk/>
            <pc:sldMk cId="1390088818" sldId="426"/>
            <ac:spMk id="22" creationId="{124EF92B-968C-353F-C2F4-295CB08196B6}"/>
          </ac:spMkLst>
        </pc:spChg>
        <pc:spChg chg="del">
          <ac:chgData name="Hans Gelissen (DHL SSC Maastricht)" userId="1afa8510-4eed-4b73-a29e-678838cd8acd" providerId="ADAL" clId="{D4795083-EE21-4870-A6A1-CBEBAABF3C14}" dt="2023-06-06T08:48:32.481" v="8626" actId="478"/>
          <ac:spMkLst>
            <pc:docMk/>
            <pc:sldMk cId="1390088818" sldId="426"/>
            <ac:spMk id="23" creationId="{9D6004F1-8565-519E-CB46-02CD22F5F725}"/>
          </ac:spMkLst>
        </pc:spChg>
        <pc:spChg chg="del">
          <ac:chgData name="Hans Gelissen (DHL SSC Maastricht)" userId="1afa8510-4eed-4b73-a29e-678838cd8acd" providerId="ADAL" clId="{D4795083-EE21-4870-A6A1-CBEBAABF3C14}" dt="2023-06-06T08:48:32.481" v="8626" actId="478"/>
          <ac:spMkLst>
            <pc:docMk/>
            <pc:sldMk cId="1390088818" sldId="426"/>
            <ac:spMk id="24" creationId="{D49654CE-1ECD-3A18-A4D7-8C7AB0551F39}"/>
          </ac:spMkLst>
        </pc:spChg>
        <pc:spChg chg="del">
          <ac:chgData name="Hans Gelissen (DHL SSC Maastricht)" userId="1afa8510-4eed-4b73-a29e-678838cd8acd" providerId="ADAL" clId="{D4795083-EE21-4870-A6A1-CBEBAABF3C14}" dt="2023-06-06T08:48:32.481" v="8626" actId="478"/>
          <ac:spMkLst>
            <pc:docMk/>
            <pc:sldMk cId="1390088818" sldId="426"/>
            <ac:spMk id="25" creationId="{E9241B1B-0C67-75B4-771C-17644F75F397}"/>
          </ac:spMkLst>
        </pc:spChg>
        <pc:spChg chg="del">
          <ac:chgData name="Hans Gelissen (DHL SSC Maastricht)" userId="1afa8510-4eed-4b73-a29e-678838cd8acd" providerId="ADAL" clId="{D4795083-EE21-4870-A6A1-CBEBAABF3C14}" dt="2023-06-06T08:48:32.481" v="8626" actId="478"/>
          <ac:spMkLst>
            <pc:docMk/>
            <pc:sldMk cId="1390088818" sldId="426"/>
            <ac:spMk id="26" creationId="{A573F05C-67EC-43FD-F3B5-2BBE2A71BC81}"/>
          </ac:spMkLst>
        </pc:spChg>
        <pc:spChg chg="del">
          <ac:chgData name="Hans Gelissen (DHL SSC Maastricht)" userId="1afa8510-4eed-4b73-a29e-678838cd8acd" providerId="ADAL" clId="{D4795083-EE21-4870-A6A1-CBEBAABF3C14}" dt="2023-06-06T08:48:32.481" v="8626" actId="478"/>
          <ac:spMkLst>
            <pc:docMk/>
            <pc:sldMk cId="1390088818" sldId="426"/>
            <ac:spMk id="27" creationId="{7A650E8A-DC19-3BE2-5D8A-52F90E1176D5}"/>
          </ac:spMkLst>
        </pc:spChg>
        <pc:spChg chg="add mod">
          <ac:chgData name="Hans Gelissen (DHL SSC Maastricht)" userId="1afa8510-4eed-4b73-a29e-678838cd8acd" providerId="ADAL" clId="{D4795083-EE21-4870-A6A1-CBEBAABF3C14}" dt="2023-06-06T08:57:50.503" v="9038" actId="207"/>
          <ac:spMkLst>
            <pc:docMk/>
            <pc:sldMk cId="1390088818" sldId="426"/>
            <ac:spMk id="28" creationId="{0564D4CD-938C-365F-5918-2C5E797CB91B}"/>
          </ac:spMkLst>
        </pc:spChg>
        <pc:spChg chg="add mod">
          <ac:chgData name="Hans Gelissen (DHL SSC Maastricht)" userId="1afa8510-4eed-4b73-a29e-678838cd8acd" providerId="ADAL" clId="{D4795083-EE21-4870-A6A1-CBEBAABF3C14}" dt="2023-06-06T08:57:58.002" v="9039" actId="207"/>
          <ac:spMkLst>
            <pc:docMk/>
            <pc:sldMk cId="1390088818" sldId="426"/>
            <ac:spMk id="29" creationId="{2952F56C-C96C-F5DF-66E8-EB53DE6A2E0F}"/>
          </ac:spMkLst>
        </pc:spChg>
        <pc:spChg chg="add mod">
          <ac:chgData name="Hans Gelissen (DHL SSC Maastricht)" userId="1afa8510-4eed-4b73-a29e-678838cd8acd" providerId="ADAL" clId="{D4795083-EE21-4870-A6A1-CBEBAABF3C14}" dt="2023-06-06T08:57:50.503" v="9038" actId="207"/>
          <ac:spMkLst>
            <pc:docMk/>
            <pc:sldMk cId="1390088818" sldId="426"/>
            <ac:spMk id="30" creationId="{1049822D-EDDA-0C4A-7397-620A9F1A1634}"/>
          </ac:spMkLst>
        </pc:spChg>
        <pc:spChg chg="add mod">
          <ac:chgData name="Hans Gelissen (DHL SSC Maastricht)" userId="1afa8510-4eed-4b73-a29e-678838cd8acd" providerId="ADAL" clId="{D4795083-EE21-4870-A6A1-CBEBAABF3C14}" dt="2023-06-06T08:57:58.002" v="9039" actId="207"/>
          <ac:spMkLst>
            <pc:docMk/>
            <pc:sldMk cId="1390088818" sldId="426"/>
            <ac:spMk id="31" creationId="{8544B9AD-C87C-9D30-9B0D-CEFEFA9F3CF0}"/>
          </ac:spMkLst>
        </pc:spChg>
        <pc:spChg chg="add mod">
          <ac:chgData name="Hans Gelissen (DHL SSC Maastricht)" userId="1afa8510-4eed-4b73-a29e-678838cd8acd" providerId="ADAL" clId="{D4795083-EE21-4870-A6A1-CBEBAABF3C14}" dt="2023-06-06T08:57:50.503" v="9038" actId="207"/>
          <ac:spMkLst>
            <pc:docMk/>
            <pc:sldMk cId="1390088818" sldId="426"/>
            <ac:spMk id="32" creationId="{97D239E2-B9EE-9DD4-B68E-38A69B28040A}"/>
          </ac:spMkLst>
        </pc:spChg>
        <pc:spChg chg="add del mod ord">
          <ac:chgData name="Hans Gelissen (DHL SSC Maastricht)" userId="1afa8510-4eed-4b73-a29e-678838cd8acd" providerId="ADAL" clId="{D4795083-EE21-4870-A6A1-CBEBAABF3C14}" dt="2023-06-06T08:56:59.091" v="9033" actId="478"/>
          <ac:spMkLst>
            <pc:docMk/>
            <pc:sldMk cId="1390088818" sldId="426"/>
            <ac:spMk id="33" creationId="{9268D1C0-D5EE-D95D-579D-185907753CD8}"/>
          </ac:spMkLst>
        </pc:spChg>
        <pc:picChg chg="add mod ord">
          <ac:chgData name="Hans Gelissen (DHL SSC Maastricht)" userId="1afa8510-4eed-4b73-a29e-678838cd8acd" providerId="ADAL" clId="{D4795083-EE21-4870-A6A1-CBEBAABF3C14}" dt="2023-06-06T08:57:07.780" v="9035" actId="167"/>
          <ac:picMkLst>
            <pc:docMk/>
            <pc:sldMk cId="1390088818" sldId="426"/>
            <ac:picMk id="34" creationId="{CE88EEE2-E1C8-70A3-E9B9-F792896122FF}"/>
          </ac:picMkLst>
        </pc:picChg>
        <pc:picChg chg="add mod ord">
          <ac:chgData name="Hans Gelissen (DHL SSC Maastricht)" userId="1afa8510-4eed-4b73-a29e-678838cd8acd" providerId="ADAL" clId="{D4795083-EE21-4870-A6A1-CBEBAABF3C14}" dt="2023-06-06T08:57:07.780" v="9035" actId="167"/>
          <ac:picMkLst>
            <pc:docMk/>
            <pc:sldMk cId="1390088818" sldId="426"/>
            <ac:picMk id="35" creationId="{A78184A1-0E1C-AB3C-31E8-6AC28512165A}"/>
          </ac:picMkLst>
        </pc:picChg>
      </pc:sldChg>
      <pc:sldChg chg="add del">
        <pc:chgData name="Hans Gelissen (DHL SSC Maastricht)" userId="1afa8510-4eed-4b73-a29e-678838cd8acd" providerId="ADAL" clId="{D4795083-EE21-4870-A6A1-CBEBAABF3C14}" dt="2023-06-06T09:00:18.201" v="9049"/>
        <pc:sldMkLst>
          <pc:docMk/>
          <pc:sldMk cId="497363080" sldId="427"/>
        </pc:sldMkLst>
      </pc:sldChg>
      <pc:sldChg chg="addSp delSp modSp add mod modClrScheme chgLayout">
        <pc:chgData name="Hans Gelissen (DHL SSC Maastricht)" userId="1afa8510-4eed-4b73-a29e-678838cd8acd" providerId="ADAL" clId="{D4795083-EE21-4870-A6A1-CBEBAABF3C14}" dt="2023-06-06T09:36:41.481" v="9728" actId="20577"/>
        <pc:sldMkLst>
          <pc:docMk/>
          <pc:sldMk cId="1796290143" sldId="427"/>
        </pc:sldMkLst>
        <pc:spChg chg="del mod ord">
          <ac:chgData name="Hans Gelissen (DHL SSC Maastricht)" userId="1afa8510-4eed-4b73-a29e-678838cd8acd" providerId="ADAL" clId="{D4795083-EE21-4870-A6A1-CBEBAABF3C14}" dt="2023-06-06T09:33:12.268" v="9429" actId="700"/>
          <ac:spMkLst>
            <pc:docMk/>
            <pc:sldMk cId="1796290143" sldId="427"/>
            <ac:spMk id="2" creationId="{1524604F-0584-E5D9-82DB-75072003E45A}"/>
          </ac:spMkLst>
        </pc:spChg>
        <pc:spChg chg="del mod ord">
          <ac:chgData name="Hans Gelissen (DHL SSC Maastricht)" userId="1afa8510-4eed-4b73-a29e-678838cd8acd" providerId="ADAL" clId="{D4795083-EE21-4870-A6A1-CBEBAABF3C14}" dt="2023-06-06T09:33:12.268" v="9429" actId="700"/>
          <ac:spMkLst>
            <pc:docMk/>
            <pc:sldMk cId="1796290143" sldId="427"/>
            <ac:spMk id="3" creationId="{6DA6E166-A7C0-B7A3-F764-40C800E081DD}"/>
          </ac:spMkLst>
        </pc:spChg>
        <pc:spChg chg="add mod ord">
          <ac:chgData name="Hans Gelissen (DHL SSC Maastricht)" userId="1afa8510-4eed-4b73-a29e-678838cd8acd" providerId="ADAL" clId="{D4795083-EE21-4870-A6A1-CBEBAABF3C14}" dt="2023-06-06T09:36:41.481" v="9728" actId="20577"/>
          <ac:spMkLst>
            <pc:docMk/>
            <pc:sldMk cId="1796290143" sldId="427"/>
            <ac:spMk id="4" creationId="{D23E7EE7-34C0-EFBC-269C-130843D16433}"/>
          </ac:spMkLst>
        </pc:spChg>
        <pc:spChg chg="add mod ord">
          <ac:chgData name="Hans Gelissen (DHL SSC Maastricht)" userId="1afa8510-4eed-4b73-a29e-678838cd8acd" providerId="ADAL" clId="{D4795083-EE21-4870-A6A1-CBEBAABF3C14}" dt="2023-06-06T09:33:22.981" v="9453" actId="20577"/>
          <ac:spMkLst>
            <pc:docMk/>
            <pc:sldMk cId="1796290143" sldId="427"/>
            <ac:spMk id="5" creationId="{9F5F104A-3A42-737F-ED7C-B012D115CB58}"/>
          </ac:spMkLst>
        </pc:spChg>
        <pc:spChg chg="add mod ord">
          <ac:chgData name="Hans Gelissen (DHL SSC Maastricht)" userId="1afa8510-4eed-4b73-a29e-678838cd8acd" providerId="ADAL" clId="{D4795083-EE21-4870-A6A1-CBEBAABF3C14}" dt="2023-06-06T09:36:03.359" v="9699" actId="207"/>
          <ac:spMkLst>
            <pc:docMk/>
            <pc:sldMk cId="1796290143" sldId="427"/>
            <ac:spMk id="6" creationId="{6BA439CC-3446-29B3-C74F-CEE5AAAD887E}"/>
          </ac:spMkLst>
        </pc:spChg>
        <pc:spChg chg="add mod ord">
          <ac:chgData name="Hans Gelissen (DHL SSC Maastricht)" userId="1afa8510-4eed-4b73-a29e-678838cd8acd" providerId="ADAL" clId="{D4795083-EE21-4870-A6A1-CBEBAABF3C14}" dt="2023-06-06T09:35:02.716" v="9586" actId="113"/>
          <ac:spMkLst>
            <pc:docMk/>
            <pc:sldMk cId="1796290143" sldId="427"/>
            <ac:spMk id="7" creationId="{06C01923-E4A3-1856-A857-44FF35396822}"/>
          </ac:spMkLst>
        </pc:spChg>
      </pc:sldChg>
      <pc:sldChg chg="addSp delSp modSp add mod delAnim modAnim">
        <pc:chgData name="Hans Gelissen (DHL SSC Maastricht)" userId="1afa8510-4eed-4b73-a29e-678838cd8acd" providerId="ADAL" clId="{D4795083-EE21-4870-A6A1-CBEBAABF3C14}" dt="2023-06-07T10:42:12.182" v="12639"/>
        <pc:sldMkLst>
          <pc:docMk/>
          <pc:sldMk cId="377651132" sldId="428"/>
        </pc:sldMkLst>
        <pc:spChg chg="mod">
          <ac:chgData name="Hans Gelissen (DHL SSC Maastricht)" userId="1afa8510-4eed-4b73-a29e-678838cd8acd" providerId="ADAL" clId="{D4795083-EE21-4870-A6A1-CBEBAABF3C14}" dt="2023-06-06T09:48:22.923" v="9958" actId="20577"/>
          <ac:spMkLst>
            <pc:docMk/>
            <pc:sldMk cId="377651132" sldId="428"/>
            <ac:spMk id="2" creationId="{1524604F-0584-E5D9-82DB-75072003E45A}"/>
          </ac:spMkLst>
        </pc:spChg>
        <pc:spChg chg="del">
          <ac:chgData name="Hans Gelissen (DHL SSC Maastricht)" userId="1afa8510-4eed-4b73-a29e-678838cd8acd" providerId="ADAL" clId="{D4795083-EE21-4870-A6A1-CBEBAABF3C14}" dt="2023-06-06T09:49:22.487" v="10042" actId="478"/>
          <ac:spMkLst>
            <pc:docMk/>
            <pc:sldMk cId="377651132" sldId="428"/>
            <ac:spMk id="3" creationId="{6DA6E166-A7C0-B7A3-F764-40C800E081DD}"/>
          </ac:spMkLst>
        </pc:spChg>
        <pc:spChg chg="mod">
          <ac:chgData name="Hans Gelissen (DHL SSC Maastricht)" userId="1afa8510-4eed-4b73-a29e-678838cd8acd" providerId="ADAL" clId="{D4795083-EE21-4870-A6A1-CBEBAABF3C14}" dt="2023-06-06T09:49:34.868" v="10043"/>
          <ac:spMkLst>
            <pc:docMk/>
            <pc:sldMk cId="377651132" sldId="428"/>
            <ac:spMk id="9" creationId="{3A4D208B-C9E1-A61C-A860-5B3E899FD02A}"/>
          </ac:spMkLst>
        </pc:spChg>
        <pc:spChg chg="mod">
          <ac:chgData name="Hans Gelissen (DHL SSC Maastricht)" userId="1afa8510-4eed-4b73-a29e-678838cd8acd" providerId="ADAL" clId="{D4795083-EE21-4870-A6A1-CBEBAABF3C14}" dt="2023-06-06T09:49:34.868" v="10043"/>
          <ac:spMkLst>
            <pc:docMk/>
            <pc:sldMk cId="377651132" sldId="428"/>
            <ac:spMk id="10" creationId="{347C716D-C752-EB5E-27B7-D520233FB4FA}"/>
          </ac:spMkLst>
        </pc:spChg>
        <pc:spChg chg="mod">
          <ac:chgData name="Hans Gelissen (DHL SSC Maastricht)" userId="1afa8510-4eed-4b73-a29e-678838cd8acd" providerId="ADAL" clId="{D4795083-EE21-4870-A6A1-CBEBAABF3C14}" dt="2023-06-06T09:49:34.868" v="10043"/>
          <ac:spMkLst>
            <pc:docMk/>
            <pc:sldMk cId="377651132" sldId="428"/>
            <ac:spMk id="11" creationId="{EC91C4D7-004A-52F1-CE0E-6F93C91E231E}"/>
          </ac:spMkLst>
        </pc:spChg>
        <pc:spChg chg="add mod">
          <ac:chgData name="Hans Gelissen (DHL SSC Maastricht)" userId="1afa8510-4eed-4b73-a29e-678838cd8acd" providerId="ADAL" clId="{D4795083-EE21-4870-A6A1-CBEBAABF3C14}" dt="2023-06-06T09:52:57.271" v="10073"/>
          <ac:spMkLst>
            <pc:docMk/>
            <pc:sldMk cId="377651132" sldId="428"/>
            <ac:spMk id="12" creationId="{3CEBDCBB-D242-0765-DF53-32DDEF7E7F88}"/>
          </ac:spMkLst>
        </pc:spChg>
        <pc:spChg chg="add del mod">
          <ac:chgData name="Hans Gelissen (DHL SSC Maastricht)" userId="1afa8510-4eed-4b73-a29e-678838cd8acd" providerId="ADAL" clId="{D4795083-EE21-4870-A6A1-CBEBAABF3C14}" dt="2023-06-06T09:53:03.508" v="10076"/>
          <ac:spMkLst>
            <pc:docMk/>
            <pc:sldMk cId="377651132" sldId="428"/>
            <ac:spMk id="13" creationId="{7A897E3B-8B7A-C955-CCA6-79C3B1489254}"/>
          </ac:spMkLst>
        </pc:spChg>
        <pc:spChg chg="add mod">
          <ac:chgData name="Hans Gelissen (DHL SSC Maastricht)" userId="1afa8510-4eed-4b73-a29e-678838cd8acd" providerId="ADAL" clId="{D4795083-EE21-4870-A6A1-CBEBAABF3C14}" dt="2023-06-06T09:52:57.271" v="10073"/>
          <ac:spMkLst>
            <pc:docMk/>
            <pc:sldMk cId="377651132" sldId="428"/>
            <ac:spMk id="16" creationId="{A4DF18AB-0696-4683-922E-CFE8FDD3BE39}"/>
          </ac:spMkLst>
        </pc:spChg>
        <pc:grpChg chg="add del mod">
          <ac:chgData name="Hans Gelissen (DHL SSC Maastricht)" userId="1afa8510-4eed-4b73-a29e-678838cd8acd" providerId="ADAL" clId="{D4795083-EE21-4870-A6A1-CBEBAABF3C14}" dt="2023-06-06T09:49:43.045" v="10044" actId="478"/>
          <ac:grpSpMkLst>
            <pc:docMk/>
            <pc:sldMk cId="377651132" sldId="428"/>
            <ac:grpSpMk id="5" creationId="{E7036113-AB10-C195-8C26-91266394E6FF}"/>
          </ac:grpSpMkLst>
        </pc:grpChg>
        <pc:grpChg chg="mod">
          <ac:chgData name="Hans Gelissen (DHL SSC Maastricht)" userId="1afa8510-4eed-4b73-a29e-678838cd8acd" providerId="ADAL" clId="{D4795083-EE21-4870-A6A1-CBEBAABF3C14}" dt="2023-06-06T09:49:34.868" v="10043"/>
          <ac:grpSpMkLst>
            <pc:docMk/>
            <pc:sldMk cId="377651132" sldId="428"/>
            <ac:grpSpMk id="6" creationId="{2657440F-0B63-A7CD-8BAA-1F721D464CDC}"/>
          </ac:grpSpMkLst>
        </pc:grpChg>
        <pc:picChg chg="add mod ord">
          <ac:chgData name="Hans Gelissen (DHL SSC Maastricht)" userId="1afa8510-4eed-4b73-a29e-678838cd8acd" providerId="ADAL" clId="{D4795083-EE21-4870-A6A1-CBEBAABF3C14}" dt="2023-06-06T09:57:24.800" v="10154" actId="167"/>
          <ac:picMkLst>
            <pc:docMk/>
            <pc:sldMk cId="377651132" sldId="428"/>
            <ac:picMk id="4" creationId="{37245BFE-F459-28E6-469E-AF2BAA43A05B}"/>
          </ac:picMkLst>
        </pc:picChg>
        <pc:picChg chg="mod">
          <ac:chgData name="Hans Gelissen (DHL SSC Maastricht)" userId="1afa8510-4eed-4b73-a29e-678838cd8acd" providerId="ADAL" clId="{D4795083-EE21-4870-A6A1-CBEBAABF3C14}" dt="2023-06-06T09:49:34.868" v="10043"/>
          <ac:picMkLst>
            <pc:docMk/>
            <pc:sldMk cId="377651132" sldId="428"/>
            <ac:picMk id="7" creationId="{C68D9892-DF15-C32A-6EEB-332E7A7E2FE2}"/>
          </ac:picMkLst>
        </pc:picChg>
        <pc:picChg chg="mod">
          <ac:chgData name="Hans Gelissen (DHL SSC Maastricht)" userId="1afa8510-4eed-4b73-a29e-678838cd8acd" providerId="ADAL" clId="{D4795083-EE21-4870-A6A1-CBEBAABF3C14}" dt="2023-06-06T09:49:34.868" v="10043"/>
          <ac:picMkLst>
            <pc:docMk/>
            <pc:sldMk cId="377651132" sldId="428"/>
            <ac:picMk id="8" creationId="{3F3F5B17-264E-7AED-B846-3770116FD92C}"/>
          </ac:picMkLst>
        </pc:picChg>
        <pc:picChg chg="add mod">
          <ac:chgData name="Hans Gelissen (DHL SSC Maastricht)" userId="1afa8510-4eed-4b73-a29e-678838cd8acd" providerId="ADAL" clId="{D4795083-EE21-4870-A6A1-CBEBAABF3C14}" dt="2023-06-06T09:53:05.376" v="10077" actId="1076"/>
          <ac:picMkLst>
            <pc:docMk/>
            <pc:sldMk cId="377651132" sldId="428"/>
            <ac:picMk id="14" creationId="{F251A4CF-ED46-ECDC-C420-7AEB62290223}"/>
          </ac:picMkLst>
        </pc:picChg>
        <pc:picChg chg="add mod">
          <ac:chgData name="Hans Gelissen (DHL SSC Maastricht)" userId="1afa8510-4eed-4b73-a29e-678838cd8acd" providerId="ADAL" clId="{D4795083-EE21-4870-A6A1-CBEBAABF3C14}" dt="2023-06-06T09:53:11.815" v="10078" actId="1076"/>
          <ac:picMkLst>
            <pc:docMk/>
            <pc:sldMk cId="377651132" sldId="428"/>
            <ac:picMk id="15" creationId="{8833BFF9-0AB9-4675-8F50-319762C5E957}"/>
          </ac:picMkLst>
        </pc:picChg>
        <pc:picChg chg="add mod ord">
          <ac:chgData name="Hans Gelissen (DHL SSC Maastricht)" userId="1afa8510-4eed-4b73-a29e-678838cd8acd" providerId="ADAL" clId="{D4795083-EE21-4870-A6A1-CBEBAABF3C14}" dt="2023-06-06T09:57:24.800" v="10154" actId="167"/>
          <ac:picMkLst>
            <pc:docMk/>
            <pc:sldMk cId="377651132" sldId="428"/>
            <ac:picMk id="17" creationId="{7820AC2B-8975-9D99-C660-CED9851EB315}"/>
          </ac:picMkLst>
        </pc:picChg>
        <pc:picChg chg="add mod ord">
          <ac:chgData name="Hans Gelissen (DHL SSC Maastricht)" userId="1afa8510-4eed-4b73-a29e-678838cd8acd" providerId="ADAL" clId="{D4795083-EE21-4870-A6A1-CBEBAABF3C14}" dt="2023-06-06T09:57:47.135" v="10158" actId="14100"/>
          <ac:picMkLst>
            <pc:docMk/>
            <pc:sldMk cId="377651132" sldId="428"/>
            <ac:picMk id="18" creationId="{0E676CB5-E05F-7055-2D7D-2B12207E61F5}"/>
          </ac:picMkLst>
        </pc:picChg>
      </pc:sldChg>
      <pc:sldChg chg="add del">
        <pc:chgData name="Hans Gelissen (DHL SSC Maastricht)" userId="1afa8510-4eed-4b73-a29e-678838cd8acd" providerId="ADAL" clId="{D4795083-EE21-4870-A6A1-CBEBAABF3C14}" dt="2023-06-06T09:00:17.933" v="9048"/>
        <pc:sldMkLst>
          <pc:docMk/>
          <pc:sldMk cId="1983297490" sldId="428"/>
        </pc:sldMkLst>
      </pc:sldChg>
      <pc:sldChg chg="addSp delSp modSp add mod modAnim">
        <pc:chgData name="Hans Gelissen (DHL SSC Maastricht)" userId="1afa8510-4eed-4b73-a29e-678838cd8acd" providerId="ADAL" clId="{D4795083-EE21-4870-A6A1-CBEBAABF3C14}" dt="2023-06-07T10:42:22.686" v="12640"/>
        <pc:sldMkLst>
          <pc:docMk/>
          <pc:sldMk cId="2222266673" sldId="429"/>
        </pc:sldMkLst>
        <pc:spChg chg="mod">
          <ac:chgData name="Hans Gelissen (DHL SSC Maastricht)" userId="1afa8510-4eed-4b73-a29e-678838cd8acd" providerId="ADAL" clId="{D4795083-EE21-4870-A6A1-CBEBAABF3C14}" dt="2023-06-06T09:48:28.625" v="9976" actId="20577"/>
          <ac:spMkLst>
            <pc:docMk/>
            <pc:sldMk cId="2222266673" sldId="429"/>
            <ac:spMk id="2" creationId="{1524604F-0584-E5D9-82DB-75072003E45A}"/>
          </ac:spMkLst>
        </pc:spChg>
        <pc:spChg chg="del">
          <ac:chgData name="Hans Gelissen (DHL SSC Maastricht)" userId="1afa8510-4eed-4b73-a29e-678838cd8acd" providerId="ADAL" clId="{D4795083-EE21-4870-A6A1-CBEBAABF3C14}" dt="2023-06-06T09:50:20.455" v="10048" actId="478"/>
          <ac:spMkLst>
            <pc:docMk/>
            <pc:sldMk cId="2222266673" sldId="429"/>
            <ac:spMk id="3" creationId="{6DA6E166-A7C0-B7A3-F764-40C800E081DD}"/>
          </ac:spMkLst>
        </pc:spChg>
        <pc:spChg chg="add del mod">
          <ac:chgData name="Hans Gelissen (DHL SSC Maastricht)" userId="1afa8510-4eed-4b73-a29e-678838cd8acd" providerId="ADAL" clId="{D4795083-EE21-4870-A6A1-CBEBAABF3C14}" dt="2023-06-06T09:50:15.587" v="10046" actId="21"/>
          <ac:spMkLst>
            <pc:docMk/>
            <pc:sldMk cId="2222266673" sldId="429"/>
            <ac:spMk id="4" creationId="{8B306C4C-DE0A-49F5-98EC-330EE4F45495}"/>
          </ac:spMkLst>
        </pc:spChg>
        <pc:spChg chg="add del mod">
          <ac:chgData name="Hans Gelissen (DHL SSC Maastricht)" userId="1afa8510-4eed-4b73-a29e-678838cd8acd" providerId="ADAL" clId="{D4795083-EE21-4870-A6A1-CBEBAABF3C14}" dt="2023-06-06T09:50:15.587" v="10046" actId="21"/>
          <ac:spMkLst>
            <pc:docMk/>
            <pc:sldMk cId="2222266673" sldId="429"/>
            <ac:spMk id="5" creationId="{0DA8AC9B-6A61-F941-E250-DFFBB356A8EA}"/>
          </ac:spMkLst>
        </pc:spChg>
        <pc:spChg chg="add mod">
          <ac:chgData name="Hans Gelissen (DHL SSC Maastricht)" userId="1afa8510-4eed-4b73-a29e-678838cd8acd" providerId="ADAL" clId="{D4795083-EE21-4870-A6A1-CBEBAABF3C14}" dt="2023-06-06T09:54:11.604" v="10087"/>
          <ac:spMkLst>
            <pc:docMk/>
            <pc:sldMk cId="2222266673" sldId="429"/>
            <ac:spMk id="7" creationId="{DAB7C47C-8329-1EC2-C0F5-BB052F6EB9E1}"/>
          </ac:spMkLst>
        </pc:spChg>
        <pc:spChg chg="add mod">
          <ac:chgData name="Hans Gelissen (DHL SSC Maastricht)" userId="1afa8510-4eed-4b73-a29e-678838cd8acd" providerId="ADAL" clId="{D4795083-EE21-4870-A6A1-CBEBAABF3C14}" dt="2023-06-06T09:54:19.067" v="10088"/>
          <ac:spMkLst>
            <pc:docMk/>
            <pc:sldMk cId="2222266673" sldId="429"/>
            <ac:spMk id="9" creationId="{C6FC91A6-3065-0FE9-9E80-DD6312EE65DE}"/>
          </ac:spMkLst>
        </pc:spChg>
        <pc:picChg chg="add mod ord">
          <ac:chgData name="Hans Gelissen (DHL SSC Maastricht)" userId="1afa8510-4eed-4b73-a29e-678838cd8acd" providerId="ADAL" clId="{D4795083-EE21-4870-A6A1-CBEBAABF3C14}" dt="2023-06-06T09:58:00.595" v="10160" actId="167"/>
          <ac:picMkLst>
            <pc:docMk/>
            <pc:sldMk cId="2222266673" sldId="429"/>
            <ac:picMk id="6" creationId="{E401F501-E34F-A125-19DC-A370E8282382}"/>
          </ac:picMkLst>
        </pc:picChg>
        <pc:picChg chg="add mod">
          <ac:chgData name="Hans Gelissen (DHL SSC Maastricht)" userId="1afa8510-4eed-4b73-a29e-678838cd8acd" providerId="ADAL" clId="{D4795083-EE21-4870-A6A1-CBEBAABF3C14}" dt="2023-06-06T09:53:47.425" v="10082" actId="167"/>
          <ac:picMkLst>
            <pc:docMk/>
            <pc:sldMk cId="2222266673" sldId="429"/>
            <ac:picMk id="8" creationId="{FE52476D-4EDB-9F15-5FC9-C99C7591FC24}"/>
          </ac:picMkLst>
        </pc:picChg>
        <pc:picChg chg="add mod">
          <ac:chgData name="Hans Gelissen (DHL SSC Maastricht)" userId="1afa8510-4eed-4b73-a29e-678838cd8acd" providerId="ADAL" clId="{D4795083-EE21-4870-A6A1-CBEBAABF3C14}" dt="2023-06-06T09:53:47.425" v="10082" actId="167"/>
          <ac:picMkLst>
            <pc:docMk/>
            <pc:sldMk cId="2222266673" sldId="429"/>
            <ac:picMk id="10" creationId="{5377F8CD-8019-5C10-29EB-FF54F85B8A74}"/>
          </ac:picMkLst>
        </pc:picChg>
        <pc:picChg chg="add mod ord">
          <ac:chgData name="Hans Gelissen (DHL SSC Maastricht)" userId="1afa8510-4eed-4b73-a29e-678838cd8acd" providerId="ADAL" clId="{D4795083-EE21-4870-A6A1-CBEBAABF3C14}" dt="2023-06-06T09:58:00.595" v="10160" actId="167"/>
          <ac:picMkLst>
            <pc:docMk/>
            <pc:sldMk cId="2222266673" sldId="429"/>
            <ac:picMk id="11" creationId="{AAA4E0F8-ED60-86F6-9AF0-F5886443CB4B}"/>
          </ac:picMkLst>
        </pc:picChg>
        <pc:picChg chg="add mod ord">
          <ac:chgData name="Hans Gelissen (DHL SSC Maastricht)" userId="1afa8510-4eed-4b73-a29e-678838cd8acd" providerId="ADAL" clId="{D4795083-EE21-4870-A6A1-CBEBAABF3C14}" dt="2023-06-06T09:58:00.595" v="10160" actId="167"/>
          <ac:picMkLst>
            <pc:docMk/>
            <pc:sldMk cId="2222266673" sldId="429"/>
            <ac:picMk id="12" creationId="{3EBCBBC6-2DC4-A1E3-4007-C074698B5AF3}"/>
          </ac:picMkLst>
        </pc:picChg>
      </pc:sldChg>
      <pc:sldChg chg="addSp delSp modSp add mod modAnim">
        <pc:chgData name="Hans Gelissen (DHL SSC Maastricht)" userId="1afa8510-4eed-4b73-a29e-678838cd8acd" providerId="ADAL" clId="{D4795083-EE21-4870-A6A1-CBEBAABF3C14}" dt="2023-06-07T10:42:26.513" v="12641"/>
        <pc:sldMkLst>
          <pc:docMk/>
          <pc:sldMk cId="1121522809" sldId="430"/>
        </pc:sldMkLst>
        <pc:spChg chg="mod">
          <ac:chgData name="Hans Gelissen (DHL SSC Maastricht)" userId="1afa8510-4eed-4b73-a29e-678838cd8acd" providerId="ADAL" clId="{D4795083-EE21-4870-A6A1-CBEBAABF3C14}" dt="2023-06-06T09:48:35.403" v="9988" actId="20577"/>
          <ac:spMkLst>
            <pc:docMk/>
            <pc:sldMk cId="1121522809" sldId="430"/>
            <ac:spMk id="2" creationId="{1524604F-0584-E5D9-82DB-75072003E45A}"/>
          </ac:spMkLst>
        </pc:spChg>
        <pc:spChg chg="del">
          <ac:chgData name="Hans Gelissen (DHL SSC Maastricht)" userId="1afa8510-4eed-4b73-a29e-678838cd8acd" providerId="ADAL" clId="{D4795083-EE21-4870-A6A1-CBEBAABF3C14}" dt="2023-06-06T09:50:23.072" v="10049" actId="478"/>
          <ac:spMkLst>
            <pc:docMk/>
            <pc:sldMk cId="1121522809" sldId="430"/>
            <ac:spMk id="3" creationId="{6DA6E166-A7C0-B7A3-F764-40C800E081DD}"/>
          </ac:spMkLst>
        </pc:spChg>
        <pc:spChg chg="add mod">
          <ac:chgData name="Hans Gelissen (DHL SSC Maastricht)" userId="1afa8510-4eed-4b73-a29e-678838cd8acd" providerId="ADAL" clId="{D4795083-EE21-4870-A6A1-CBEBAABF3C14}" dt="2023-06-06T09:55:09.206" v="10095" actId="20577"/>
          <ac:spMkLst>
            <pc:docMk/>
            <pc:sldMk cId="1121522809" sldId="430"/>
            <ac:spMk id="5" creationId="{33CCF9B2-32F7-5448-0665-DDA28023E717}"/>
          </ac:spMkLst>
        </pc:spChg>
        <pc:spChg chg="add mod">
          <ac:chgData name="Hans Gelissen (DHL SSC Maastricht)" userId="1afa8510-4eed-4b73-a29e-678838cd8acd" providerId="ADAL" clId="{D4795083-EE21-4870-A6A1-CBEBAABF3C14}" dt="2023-06-06T09:55:19.435" v="10096" actId="6549"/>
          <ac:spMkLst>
            <pc:docMk/>
            <pc:sldMk cId="1121522809" sldId="430"/>
            <ac:spMk id="7" creationId="{B7A9F867-E47F-F3CC-369C-E571A2370F53}"/>
          </ac:spMkLst>
        </pc:spChg>
        <pc:picChg chg="add mod ord">
          <ac:chgData name="Hans Gelissen (DHL SSC Maastricht)" userId="1afa8510-4eed-4b73-a29e-678838cd8acd" providerId="ADAL" clId="{D4795083-EE21-4870-A6A1-CBEBAABF3C14}" dt="2023-06-06T09:58:05.725" v="10162" actId="167"/>
          <ac:picMkLst>
            <pc:docMk/>
            <pc:sldMk cId="1121522809" sldId="430"/>
            <ac:picMk id="4" creationId="{E1722109-3EE3-BCE4-7550-BAECE8CA2C60}"/>
          </ac:picMkLst>
        </pc:picChg>
        <pc:picChg chg="add mod">
          <ac:chgData name="Hans Gelissen (DHL SSC Maastricht)" userId="1afa8510-4eed-4b73-a29e-678838cd8acd" providerId="ADAL" clId="{D4795083-EE21-4870-A6A1-CBEBAABF3C14}" dt="2023-06-06T09:53:51.885" v="10084" actId="167"/>
          <ac:picMkLst>
            <pc:docMk/>
            <pc:sldMk cId="1121522809" sldId="430"/>
            <ac:picMk id="6" creationId="{BB57AA7E-19B6-A5C1-1837-CFAC7F2EF57D}"/>
          </ac:picMkLst>
        </pc:picChg>
        <pc:picChg chg="add mod">
          <ac:chgData name="Hans Gelissen (DHL SSC Maastricht)" userId="1afa8510-4eed-4b73-a29e-678838cd8acd" providerId="ADAL" clId="{D4795083-EE21-4870-A6A1-CBEBAABF3C14}" dt="2023-06-06T09:53:51.885" v="10084" actId="167"/>
          <ac:picMkLst>
            <pc:docMk/>
            <pc:sldMk cId="1121522809" sldId="430"/>
            <ac:picMk id="8" creationId="{E8462753-447F-65BA-12AC-2F87971B84DF}"/>
          </ac:picMkLst>
        </pc:picChg>
        <pc:picChg chg="add mod ord">
          <ac:chgData name="Hans Gelissen (DHL SSC Maastricht)" userId="1afa8510-4eed-4b73-a29e-678838cd8acd" providerId="ADAL" clId="{D4795083-EE21-4870-A6A1-CBEBAABF3C14}" dt="2023-06-06T09:58:05.725" v="10162" actId="167"/>
          <ac:picMkLst>
            <pc:docMk/>
            <pc:sldMk cId="1121522809" sldId="430"/>
            <ac:picMk id="9" creationId="{A34BB0B3-2D77-5135-6230-0C9EB3980071}"/>
          </ac:picMkLst>
        </pc:picChg>
        <pc:picChg chg="add mod ord">
          <ac:chgData name="Hans Gelissen (DHL SSC Maastricht)" userId="1afa8510-4eed-4b73-a29e-678838cd8acd" providerId="ADAL" clId="{D4795083-EE21-4870-A6A1-CBEBAABF3C14}" dt="2023-06-06T09:58:05.725" v="10162" actId="167"/>
          <ac:picMkLst>
            <pc:docMk/>
            <pc:sldMk cId="1121522809" sldId="430"/>
            <ac:picMk id="10" creationId="{4A0C4CE2-B868-68B3-9C92-7249400623A3}"/>
          </ac:picMkLst>
        </pc:picChg>
      </pc:sldChg>
      <pc:sldChg chg="addSp delSp modSp add mod modAnim">
        <pc:chgData name="Hans Gelissen (DHL SSC Maastricht)" userId="1afa8510-4eed-4b73-a29e-678838cd8acd" providerId="ADAL" clId="{D4795083-EE21-4870-A6A1-CBEBAABF3C14}" dt="2023-06-07T10:42:30.211" v="12642"/>
        <pc:sldMkLst>
          <pc:docMk/>
          <pc:sldMk cId="3024588730" sldId="431"/>
        </pc:sldMkLst>
        <pc:spChg chg="mod">
          <ac:chgData name="Hans Gelissen (DHL SSC Maastricht)" userId="1afa8510-4eed-4b73-a29e-678838cd8acd" providerId="ADAL" clId="{D4795083-EE21-4870-A6A1-CBEBAABF3C14}" dt="2023-06-06T09:48:49.597" v="10029" actId="20577"/>
          <ac:spMkLst>
            <pc:docMk/>
            <pc:sldMk cId="3024588730" sldId="431"/>
            <ac:spMk id="2" creationId="{1524604F-0584-E5D9-82DB-75072003E45A}"/>
          </ac:spMkLst>
        </pc:spChg>
        <pc:spChg chg="del">
          <ac:chgData name="Hans Gelissen (DHL SSC Maastricht)" userId="1afa8510-4eed-4b73-a29e-678838cd8acd" providerId="ADAL" clId="{D4795083-EE21-4870-A6A1-CBEBAABF3C14}" dt="2023-06-06T09:50:25.183" v="10050" actId="478"/>
          <ac:spMkLst>
            <pc:docMk/>
            <pc:sldMk cId="3024588730" sldId="431"/>
            <ac:spMk id="3" creationId="{6DA6E166-A7C0-B7A3-F764-40C800E081DD}"/>
          </ac:spMkLst>
        </pc:spChg>
        <pc:spChg chg="add mod">
          <ac:chgData name="Hans Gelissen (DHL SSC Maastricht)" userId="1afa8510-4eed-4b73-a29e-678838cd8acd" providerId="ADAL" clId="{D4795083-EE21-4870-A6A1-CBEBAABF3C14}" dt="2023-06-06T09:56:05.723" v="10126" actId="20577"/>
          <ac:spMkLst>
            <pc:docMk/>
            <pc:sldMk cId="3024588730" sldId="431"/>
            <ac:spMk id="5" creationId="{0DD763B2-A3A0-E84C-8639-6CFA118EC073}"/>
          </ac:spMkLst>
        </pc:spChg>
        <pc:spChg chg="add mod">
          <ac:chgData name="Hans Gelissen (DHL SSC Maastricht)" userId="1afa8510-4eed-4b73-a29e-678838cd8acd" providerId="ADAL" clId="{D4795083-EE21-4870-A6A1-CBEBAABF3C14}" dt="2023-06-06T09:56:47.361" v="10152" actId="20577"/>
          <ac:spMkLst>
            <pc:docMk/>
            <pc:sldMk cId="3024588730" sldId="431"/>
            <ac:spMk id="7" creationId="{F807C684-3A3C-E15F-D3B9-F295FDF3F7DA}"/>
          </ac:spMkLst>
        </pc:spChg>
        <pc:picChg chg="add mod ord">
          <ac:chgData name="Hans Gelissen (DHL SSC Maastricht)" userId="1afa8510-4eed-4b73-a29e-678838cd8acd" providerId="ADAL" clId="{D4795083-EE21-4870-A6A1-CBEBAABF3C14}" dt="2023-06-06T09:58:09.181" v="10164" actId="167"/>
          <ac:picMkLst>
            <pc:docMk/>
            <pc:sldMk cId="3024588730" sldId="431"/>
            <ac:picMk id="4" creationId="{AFEE9A03-9653-23EE-D6C1-D65F9738EED9}"/>
          </ac:picMkLst>
        </pc:picChg>
        <pc:picChg chg="add mod">
          <ac:chgData name="Hans Gelissen (DHL SSC Maastricht)" userId="1afa8510-4eed-4b73-a29e-678838cd8acd" providerId="ADAL" clId="{D4795083-EE21-4870-A6A1-CBEBAABF3C14}" dt="2023-06-06T09:53:55.877" v="10086" actId="167"/>
          <ac:picMkLst>
            <pc:docMk/>
            <pc:sldMk cId="3024588730" sldId="431"/>
            <ac:picMk id="6" creationId="{6E9553B5-DCAC-F2EC-1B34-E3ADB31009D9}"/>
          </ac:picMkLst>
        </pc:picChg>
        <pc:picChg chg="add mod">
          <ac:chgData name="Hans Gelissen (DHL SSC Maastricht)" userId="1afa8510-4eed-4b73-a29e-678838cd8acd" providerId="ADAL" clId="{D4795083-EE21-4870-A6A1-CBEBAABF3C14}" dt="2023-06-06T09:53:55.877" v="10086" actId="167"/>
          <ac:picMkLst>
            <pc:docMk/>
            <pc:sldMk cId="3024588730" sldId="431"/>
            <ac:picMk id="8" creationId="{3DCEB6EC-119F-19BA-34B9-92C6887EB84E}"/>
          </ac:picMkLst>
        </pc:picChg>
        <pc:picChg chg="add mod ord">
          <ac:chgData name="Hans Gelissen (DHL SSC Maastricht)" userId="1afa8510-4eed-4b73-a29e-678838cd8acd" providerId="ADAL" clId="{D4795083-EE21-4870-A6A1-CBEBAABF3C14}" dt="2023-06-06T09:58:09.181" v="10164" actId="167"/>
          <ac:picMkLst>
            <pc:docMk/>
            <pc:sldMk cId="3024588730" sldId="431"/>
            <ac:picMk id="9" creationId="{EAFBED3B-660F-C35C-4730-0811699043FA}"/>
          </ac:picMkLst>
        </pc:picChg>
        <pc:picChg chg="add mod ord">
          <ac:chgData name="Hans Gelissen (DHL SSC Maastricht)" userId="1afa8510-4eed-4b73-a29e-678838cd8acd" providerId="ADAL" clId="{D4795083-EE21-4870-A6A1-CBEBAABF3C14}" dt="2023-06-06T09:58:09.181" v="10164" actId="167"/>
          <ac:picMkLst>
            <pc:docMk/>
            <pc:sldMk cId="3024588730" sldId="431"/>
            <ac:picMk id="10" creationId="{6B846EE6-A70E-AC84-315D-253930571F49}"/>
          </ac:picMkLst>
        </pc:picChg>
      </pc:sldChg>
      <pc:sldChg chg="addSp delSp modSp add del mod modAnim">
        <pc:chgData name="Hans Gelissen (DHL SSC Maastricht)" userId="1afa8510-4eed-4b73-a29e-678838cd8acd" providerId="ADAL" clId="{D4795083-EE21-4870-A6A1-CBEBAABF3C14}" dt="2023-06-06T10:02:57.784" v="10231" actId="47"/>
        <pc:sldMkLst>
          <pc:docMk/>
          <pc:sldMk cId="2462165406" sldId="432"/>
        </pc:sldMkLst>
        <pc:spChg chg="mod">
          <ac:chgData name="Hans Gelissen (DHL SSC Maastricht)" userId="1afa8510-4eed-4b73-a29e-678838cd8acd" providerId="ADAL" clId="{D4795083-EE21-4870-A6A1-CBEBAABF3C14}" dt="2023-06-06T10:00:46.449" v="10188" actId="20577"/>
          <ac:spMkLst>
            <pc:docMk/>
            <pc:sldMk cId="2462165406" sldId="432"/>
            <ac:spMk id="2" creationId="{1524604F-0584-E5D9-82DB-75072003E45A}"/>
          </ac:spMkLst>
        </pc:spChg>
        <pc:spChg chg="del">
          <ac:chgData name="Hans Gelissen (DHL SSC Maastricht)" userId="1afa8510-4eed-4b73-a29e-678838cd8acd" providerId="ADAL" clId="{D4795083-EE21-4870-A6A1-CBEBAABF3C14}" dt="2023-06-06T10:00:05.054" v="10167" actId="478"/>
          <ac:spMkLst>
            <pc:docMk/>
            <pc:sldMk cId="2462165406" sldId="432"/>
            <ac:spMk id="3" creationId="{6DA6E166-A7C0-B7A3-F764-40C800E081DD}"/>
          </ac:spMkLst>
        </pc:spChg>
        <pc:spChg chg="add mod">
          <ac:chgData name="Hans Gelissen (DHL SSC Maastricht)" userId="1afa8510-4eed-4b73-a29e-678838cd8acd" providerId="ADAL" clId="{D4795083-EE21-4870-A6A1-CBEBAABF3C14}" dt="2023-06-06T10:01:29.750" v="10230" actId="1076"/>
          <ac:spMkLst>
            <pc:docMk/>
            <pc:sldMk cId="2462165406" sldId="432"/>
            <ac:spMk id="7" creationId="{E04135E2-0786-FE16-907C-43BF1613CD96}"/>
          </ac:spMkLst>
        </pc:spChg>
        <pc:spChg chg="add mod">
          <ac:chgData name="Hans Gelissen (DHL SSC Maastricht)" userId="1afa8510-4eed-4b73-a29e-678838cd8acd" providerId="ADAL" clId="{D4795083-EE21-4870-A6A1-CBEBAABF3C14}" dt="2023-06-06T10:01:29.750" v="10230" actId="1076"/>
          <ac:spMkLst>
            <pc:docMk/>
            <pc:sldMk cId="2462165406" sldId="432"/>
            <ac:spMk id="8" creationId="{D58BA696-C630-8707-B1CE-1F651E48C8F3}"/>
          </ac:spMkLst>
        </pc:spChg>
        <pc:picChg chg="add mod ord">
          <ac:chgData name="Hans Gelissen (DHL SSC Maastricht)" userId="1afa8510-4eed-4b73-a29e-678838cd8acd" providerId="ADAL" clId="{D4795083-EE21-4870-A6A1-CBEBAABF3C14}" dt="2023-06-06T10:00:26.897" v="10175" actId="167"/>
          <ac:picMkLst>
            <pc:docMk/>
            <pc:sldMk cId="2462165406" sldId="432"/>
            <ac:picMk id="4" creationId="{5CA5A3D7-1669-6EF2-FA30-4AE8BDAFAD27}"/>
          </ac:picMkLst>
        </pc:picChg>
        <pc:picChg chg="add mod">
          <ac:chgData name="Hans Gelissen (DHL SSC Maastricht)" userId="1afa8510-4eed-4b73-a29e-678838cd8acd" providerId="ADAL" clId="{D4795083-EE21-4870-A6A1-CBEBAABF3C14}" dt="2023-06-06T10:00:33.472" v="10176"/>
          <ac:picMkLst>
            <pc:docMk/>
            <pc:sldMk cId="2462165406" sldId="432"/>
            <ac:picMk id="5" creationId="{36CCB8FE-624B-E0C6-D0DC-3055E59635EA}"/>
          </ac:picMkLst>
        </pc:picChg>
        <pc:picChg chg="add del mod">
          <ac:chgData name="Hans Gelissen (DHL SSC Maastricht)" userId="1afa8510-4eed-4b73-a29e-678838cd8acd" providerId="ADAL" clId="{D4795083-EE21-4870-A6A1-CBEBAABF3C14}" dt="2023-06-06T10:00:40.540" v="10177" actId="478"/>
          <ac:picMkLst>
            <pc:docMk/>
            <pc:sldMk cId="2462165406" sldId="432"/>
            <ac:picMk id="6" creationId="{17587529-2DB8-E997-7EB7-4CC3ED1F8462}"/>
          </ac:picMkLst>
        </pc:picChg>
      </pc:sldChg>
      <pc:sldChg chg="modSp add mod ord modClrScheme chgLayout">
        <pc:chgData name="Hans Gelissen (DHL SSC Maastricht)" userId="1afa8510-4eed-4b73-a29e-678838cd8acd" providerId="ADAL" clId="{D4795083-EE21-4870-A6A1-CBEBAABF3C14}" dt="2023-06-06T14:37:33.870" v="12219" actId="700"/>
        <pc:sldMkLst>
          <pc:docMk/>
          <pc:sldMk cId="2467969295" sldId="433"/>
        </pc:sldMkLst>
        <pc:spChg chg="mod ord">
          <ac:chgData name="Hans Gelissen (DHL SSC Maastricht)" userId="1afa8510-4eed-4b73-a29e-678838cd8acd" providerId="ADAL" clId="{D4795083-EE21-4870-A6A1-CBEBAABF3C14}" dt="2023-06-06T14:37:33.870" v="12219" actId="700"/>
          <ac:spMkLst>
            <pc:docMk/>
            <pc:sldMk cId="2467969295" sldId="433"/>
            <ac:spMk id="5" creationId="{83627CEC-EB08-0178-90BB-5F4C1A2A72BB}"/>
          </ac:spMkLst>
        </pc:spChg>
      </pc:sldChg>
      <pc:sldChg chg="delSp add mod modClrScheme chgLayout">
        <pc:chgData name="Hans Gelissen (DHL SSC Maastricht)" userId="1afa8510-4eed-4b73-a29e-678838cd8acd" providerId="ADAL" clId="{D4795083-EE21-4870-A6A1-CBEBAABF3C14}" dt="2023-06-06T10:06:17.819" v="10300" actId="700"/>
        <pc:sldMkLst>
          <pc:docMk/>
          <pc:sldMk cId="199859289" sldId="434"/>
        </pc:sldMkLst>
        <pc:spChg chg="del">
          <ac:chgData name="Hans Gelissen (DHL SSC Maastricht)" userId="1afa8510-4eed-4b73-a29e-678838cd8acd" providerId="ADAL" clId="{D4795083-EE21-4870-A6A1-CBEBAABF3C14}" dt="2023-06-06T10:06:17.819" v="10300" actId="700"/>
          <ac:spMkLst>
            <pc:docMk/>
            <pc:sldMk cId="199859289" sldId="434"/>
            <ac:spMk id="2" creationId="{1524604F-0584-E5D9-82DB-75072003E45A}"/>
          </ac:spMkLst>
        </pc:spChg>
        <pc:spChg chg="del">
          <ac:chgData name="Hans Gelissen (DHL SSC Maastricht)" userId="1afa8510-4eed-4b73-a29e-678838cd8acd" providerId="ADAL" clId="{D4795083-EE21-4870-A6A1-CBEBAABF3C14}" dt="2023-06-06T10:06:17.819" v="10300" actId="700"/>
          <ac:spMkLst>
            <pc:docMk/>
            <pc:sldMk cId="199859289" sldId="434"/>
            <ac:spMk id="3" creationId="{6DA6E166-A7C0-B7A3-F764-40C800E081DD}"/>
          </ac:spMkLst>
        </pc:spChg>
      </pc:sldChg>
      <pc:sldChg chg="addSp delSp modSp add mod modClrScheme modAnim chgLayout">
        <pc:chgData name="Hans Gelissen (DHL SSC Maastricht)" userId="1afa8510-4eed-4b73-a29e-678838cd8acd" providerId="ADAL" clId="{D4795083-EE21-4870-A6A1-CBEBAABF3C14}" dt="2023-06-06T10:21:11.072" v="11038" actId="20577"/>
        <pc:sldMkLst>
          <pc:docMk/>
          <pc:sldMk cId="469044922" sldId="435"/>
        </pc:sldMkLst>
        <pc:spChg chg="del mod ord">
          <ac:chgData name="Hans Gelissen (DHL SSC Maastricht)" userId="1afa8510-4eed-4b73-a29e-678838cd8acd" providerId="ADAL" clId="{D4795083-EE21-4870-A6A1-CBEBAABF3C14}" dt="2023-06-06T10:05:06.273" v="10238" actId="700"/>
          <ac:spMkLst>
            <pc:docMk/>
            <pc:sldMk cId="469044922" sldId="435"/>
            <ac:spMk id="2" creationId="{1524604F-0584-E5D9-82DB-75072003E45A}"/>
          </ac:spMkLst>
        </pc:spChg>
        <pc:spChg chg="del">
          <ac:chgData name="Hans Gelissen (DHL SSC Maastricht)" userId="1afa8510-4eed-4b73-a29e-678838cd8acd" providerId="ADAL" clId="{D4795083-EE21-4870-A6A1-CBEBAABF3C14}" dt="2023-06-06T10:04:59.069" v="10237" actId="478"/>
          <ac:spMkLst>
            <pc:docMk/>
            <pc:sldMk cId="469044922" sldId="435"/>
            <ac:spMk id="3" creationId="{6DA6E166-A7C0-B7A3-F764-40C800E081DD}"/>
          </ac:spMkLst>
        </pc:spChg>
        <pc:spChg chg="add mod ord">
          <ac:chgData name="Hans Gelissen (DHL SSC Maastricht)" userId="1afa8510-4eed-4b73-a29e-678838cd8acd" providerId="ADAL" clId="{D4795083-EE21-4870-A6A1-CBEBAABF3C14}" dt="2023-06-06T10:05:18.983" v="10268" actId="20577"/>
          <ac:spMkLst>
            <pc:docMk/>
            <pc:sldMk cId="469044922" sldId="435"/>
            <ac:spMk id="4" creationId="{331B81E9-663E-E7AB-30DC-D225D3DA8998}"/>
          </ac:spMkLst>
        </pc:spChg>
        <pc:spChg chg="add mod">
          <ac:chgData name="Hans Gelissen (DHL SSC Maastricht)" userId="1afa8510-4eed-4b73-a29e-678838cd8acd" providerId="ADAL" clId="{D4795083-EE21-4870-A6A1-CBEBAABF3C14}" dt="2023-06-06T10:05:07.532" v="10239"/>
          <ac:spMkLst>
            <pc:docMk/>
            <pc:sldMk cId="469044922" sldId="435"/>
            <ac:spMk id="5" creationId="{BC009954-D14D-D7C2-F030-D73DF4D84107}"/>
          </ac:spMkLst>
        </pc:spChg>
        <pc:spChg chg="mod">
          <ac:chgData name="Hans Gelissen (DHL SSC Maastricht)" userId="1afa8510-4eed-4b73-a29e-678838cd8acd" providerId="ADAL" clId="{D4795083-EE21-4870-A6A1-CBEBAABF3C14}" dt="2023-06-06T10:06:01.754" v="10299" actId="1036"/>
          <ac:spMkLst>
            <pc:docMk/>
            <pc:sldMk cId="469044922" sldId="435"/>
            <ac:spMk id="7" creationId="{16EA64CA-5114-3E94-5E03-BCC8C295C077}"/>
          </ac:spMkLst>
        </pc:spChg>
        <pc:spChg chg="add mod">
          <ac:chgData name="Hans Gelissen (DHL SSC Maastricht)" userId="1afa8510-4eed-4b73-a29e-678838cd8acd" providerId="ADAL" clId="{D4795083-EE21-4870-A6A1-CBEBAABF3C14}" dt="2023-06-06T10:05:07.532" v="10239"/>
          <ac:spMkLst>
            <pc:docMk/>
            <pc:sldMk cId="469044922" sldId="435"/>
            <ac:spMk id="9" creationId="{00205CAD-90E8-480C-A020-ACF5D75A9832}"/>
          </ac:spMkLst>
        </pc:spChg>
        <pc:spChg chg="add mod">
          <ac:chgData name="Hans Gelissen (DHL SSC Maastricht)" userId="1afa8510-4eed-4b73-a29e-678838cd8acd" providerId="ADAL" clId="{D4795083-EE21-4870-A6A1-CBEBAABF3C14}" dt="2023-06-06T10:19:48.635" v="10765" actId="20577"/>
          <ac:spMkLst>
            <pc:docMk/>
            <pc:sldMk cId="469044922" sldId="435"/>
            <ac:spMk id="10" creationId="{6063235E-F6ED-A4AE-7E4A-DBE89CFC62C7}"/>
          </ac:spMkLst>
        </pc:spChg>
        <pc:spChg chg="add mod">
          <ac:chgData name="Hans Gelissen (DHL SSC Maastricht)" userId="1afa8510-4eed-4b73-a29e-678838cd8acd" providerId="ADAL" clId="{D4795083-EE21-4870-A6A1-CBEBAABF3C14}" dt="2023-06-06T10:20:34.696" v="10909" actId="122"/>
          <ac:spMkLst>
            <pc:docMk/>
            <pc:sldMk cId="469044922" sldId="435"/>
            <ac:spMk id="11" creationId="{BD7C961A-E2BD-43D7-E847-EBCB9ED0FD7F}"/>
          </ac:spMkLst>
        </pc:spChg>
        <pc:spChg chg="add mod">
          <ac:chgData name="Hans Gelissen (DHL SSC Maastricht)" userId="1afa8510-4eed-4b73-a29e-678838cd8acd" providerId="ADAL" clId="{D4795083-EE21-4870-A6A1-CBEBAABF3C14}" dt="2023-06-06T10:05:46.589" v="10290" actId="14100"/>
          <ac:spMkLst>
            <pc:docMk/>
            <pc:sldMk cId="469044922" sldId="435"/>
            <ac:spMk id="12" creationId="{85F54406-0B44-311E-D72D-0189D9472A9F}"/>
          </ac:spMkLst>
        </pc:spChg>
        <pc:spChg chg="add mod">
          <ac:chgData name="Hans Gelissen (DHL SSC Maastricht)" userId="1afa8510-4eed-4b73-a29e-678838cd8acd" providerId="ADAL" clId="{D4795083-EE21-4870-A6A1-CBEBAABF3C14}" dt="2023-06-06T10:21:11.072" v="11038" actId="20577"/>
          <ac:spMkLst>
            <pc:docMk/>
            <pc:sldMk cId="469044922" sldId="435"/>
            <ac:spMk id="13" creationId="{1A1FAF3C-0604-EAA1-2C17-9A9D9C820405}"/>
          </ac:spMkLst>
        </pc:spChg>
        <pc:grpChg chg="add mod">
          <ac:chgData name="Hans Gelissen (DHL SSC Maastricht)" userId="1afa8510-4eed-4b73-a29e-678838cd8acd" providerId="ADAL" clId="{D4795083-EE21-4870-A6A1-CBEBAABF3C14}" dt="2023-06-06T10:06:01.754" v="10299" actId="1036"/>
          <ac:grpSpMkLst>
            <pc:docMk/>
            <pc:sldMk cId="469044922" sldId="435"/>
            <ac:grpSpMk id="6" creationId="{2402AF28-03DC-298D-969E-8D4E7822135F}"/>
          </ac:grpSpMkLst>
        </pc:grpChg>
        <pc:picChg chg="mod">
          <ac:chgData name="Hans Gelissen (DHL SSC Maastricht)" userId="1afa8510-4eed-4b73-a29e-678838cd8acd" providerId="ADAL" clId="{D4795083-EE21-4870-A6A1-CBEBAABF3C14}" dt="2023-06-06T10:06:01.754" v="10299" actId="1036"/>
          <ac:picMkLst>
            <pc:docMk/>
            <pc:sldMk cId="469044922" sldId="435"/>
            <ac:picMk id="8" creationId="{94BBA0CB-84B6-5DE6-CDC8-D2C1121F170E}"/>
          </ac:picMkLst>
        </pc:picChg>
      </pc:sldChg>
      <pc:sldChg chg="addSp delSp modSp add mod modClrScheme modAnim chgLayout">
        <pc:chgData name="Hans Gelissen (DHL SSC Maastricht)" userId="1afa8510-4eed-4b73-a29e-678838cd8acd" providerId="ADAL" clId="{D4795083-EE21-4870-A6A1-CBEBAABF3C14}" dt="2023-06-06T10:23:38.984" v="11466" actId="122"/>
        <pc:sldMkLst>
          <pc:docMk/>
          <pc:sldMk cId="1876015795" sldId="436"/>
        </pc:sldMkLst>
        <pc:spChg chg="del mod ord">
          <ac:chgData name="Hans Gelissen (DHL SSC Maastricht)" userId="1afa8510-4eed-4b73-a29e-678838cd8acd" providerId="ADAL" clId="{D4795083-EE21-4870-A6A1-CBEBAABF3C14}" dt="2023-06-06T10:06:53.296" v="10303" actId="700"/>
          <ac:spMkLst>
            <pc:docMk/>
            <pc:sldMk cId="1876015795" sldId="436"/>
            <ac:spMk id="2" creationId="{1524604F-0584-E5D9-82DB-75072003E45A}"/>
          </ac:spMkLst>
        </pc:spChg>
        <pc:spChg chg="del">
          <ac:chgData name="Hans Gelissen (DHL SSC Maastricht)" userId="1afa8510-4eed-4b73-a29e-678838cd8acd" providerId="ADAL" clId="{D4795083-EE21-4870-A6A1-CBEBAABF3C14}" dt="2023-06-06T10:06:53.296" v="10303" actId="700"/>
          <ac:spMkLst>
            <pc:docMk/>
            <pc:sldMk cId="1876015795" sldId="436"/>
            <ac:spMk id="3" creationId="{6DA6E166-A7C0-B7A3-F764-40C800E081DD}"/>
          </ac:spMkLst>
        </pc:spChg>
        <pc:spChg chg="add mod">
          <ac:chgData name="Hans Gelissen (DHL SSC Maastricht)" userId="1afa8510-4eed-4b73-a29e-678838cd8acd" providerId="ADAL" clId="{D4795083-EE21-4870-A6A1-CBEBAABF3C14}" dt="2023-06-06T10:06:31.914" v="10301"/>
          <ac:spMkLst>
            <pc:docMk/>
            <pc:sldMk cId="1876015795" sldId="436"/>
            <ac:spMk id="4" creationId="{E85E0410-DF0A-00DF-5B28-EBFF7165556B}"/>
          </ac:spMkLst>
        </pc:spChg>
        <pc:spChg chg="mod">
          <ac:chgData name="Hans Gelissen (DHL SSC Maastricht)" userId="1afa8510-4eed-4b73-a29e-678838cd8acd" providerId="ADAL" clId="{D4795083-EE21-4870-A6A1-CBEBAABF3C14}" dt="2023-06-06T10:07:32.517" v="10338" actId="1037"/>
          <ac:spMkLst>
            <pc:docMk/>
            <pc:sldMk cId="1876015795" sldId="436"/>
            <ac:spMk id="6" creationId="{D5919C14-D032-D434-C6BB-344BFCFD4393}"/>
          </ac:spMkLst>
        </pc:spChg>
        <pc:spChg chg="add mod">
          <ac:chgData name="Hans Gelissen (DHL SSC Maastricht)" userId="1afa8510-4eed-4b73-a29e-678838cd8acd" providerId="ADAL" clId="{D4795083-EE21-4870-A6A1-CBEBAABF3C14}" dt="2023-06-06T10:06:31.914" v="10301"/>
          <ac:spMkLst>
            <pc:docMk/>
            <pc:sldMk cId="1876015795" sldId="436"/>
            <ac:spMk id="8" creationId="{BADB3874-A03C-0A55-AA6E-56CB500DC071}"/>
          </ac:spMkLst>
        </pc:spChg>
        <pc:spChg chg="add mod">
          <ac:chgData name="Hans Gelissen (DHL SSC Maastricht)" userId="1afa8510-4eed-4b73-a29e-678838cd8acd" providerId="ADAL" clId="{D4795083-EE21-4870-A6A1-CBEBAABF3C14}" dt="2023-06-06T10:21:56.718" v="11128" actId="20577"/>
          <ac:spMkLst>
            <pc:docMk/>
            <pc:sldMk cId="1876015795" sldId="436"/>
            <ac:spMk id="9" creationId="{56877F66-9FD1-F38E-7DAC-38CC4C96A5CC}"/>
          </ac:spMkLst>
        </pc:spChg>
        <pc:spChg chg="add mod">
          <ac:chgData name="Hans Gelissen (DHL SSC Maastricht)" userId="1afa8510-4eed-4b73-a29e-678838cd8acd" providerId="ADAL" clId="{D4795083-EE21-4870-A6A1-CBEBAABF3C14}" dt="2023-06-06T10:22:43.400" v="11280" actId="20577"/>
          <ac:spMkLst>
            <pc:docMk/>
            <pc:sldMk cId="1876015795" sldId="436"/>
            <ac:spMk id="10" creationId="{49A4D109-A277-9410-E34E-D3E3F3008E11}"/>
          </ac:spMkLst>
        </pc:spChg>
        <pc:spChg chg="add mod">
          <ac:chgData name="Hans Gelissen (DHL SSC Maastricht)" userId="1afa8510-4eed-4b73-a29e-678838cd8acd" providerId="ADAL" clId="{D4795083-EE21-4870-A6A1-CBEBAABF3C14}" dt="2023-06-06T10:06:31.914" v="10301"/>
          <ac:spMkLst>
            <pc:docMk/>
            <pc:sldMk cId="1876015795" sldId="436"/>
            <ac:spMk id="11" creationId="{D358189B-2A45-E3C1-08F3-F1EF76D8CEA5}"/>
          </ac:spMkLst>
        </pc:spChg>
        <pc:spChg chg="add mod">
          <ac:chgData name="Hans Gelissen (DHL SSC Maastricht)" userId="1afa8510-4eed-4b73-a29e-678838cd8acd" providerId="ADAL" clId="{D4795083-EE21-4870-A6A1-CBEBAABF3C14}" dt="2023-06-06T10:23:38.984" v="11466" actId="122"/>
          <ac:spMkLst>
            <pc:docMk/>
            <pc:sldMk cId="1876015795" sldId="436"/>
            <ac:spMk id="12" creationId="{51685E55-471F-AC2A-B896-8362F49525B5}"/>
          </ac:spMkLst>
        </pc:spChg>
        <pc:spChg chg="add mod ord">
          <ac:chgData name="Hans Gelissen (DHL SSC Maastricht)" userId="1afa8510-4eed-4b73-a29e-678838cd8acd" providerId="ADAL" clId="{D4795083-EE21-4870-A6A1-CBEBAABF3C14}" dt="2023-06-06T10:07:08.816" v="10326" actId="20577"/>
          <ac:spMkLst>
            <pc:docMk/>
            <pc:sldMk cId="1876015795" sldId="436"/>
            <ac:spMk id="13" creationId="{14D61999-1DB5-A647-4AA7-5895CA50C6D0}"/>
          </ac:spMkLst>
        </pc:spChg>
        <pc:grpChg chg="add mod">
          <ac:chgData name="Hans Gelissen (DHL SSC Maastricht)" userId="1afa8510-4eed-4b73-a29e-678838cd8acd" providerId="ADAL" clId="{D4795083-EE21-4870-A6A1-CBEBAABF3C14}" dt="2023-06-06T10:07:32.517" v="10338" actId="1037"/>
          <ac:grpSpMkLst>
            <pc:docMk/>
            <pc:sldMk cId="1876015795" sldId="436"/>
            <ac:grpSpMk id="5" creationId="{93957F75-DC53-DE00-867F-00FCBE9365A8}"/>
          </ac:grpSpMkLst>
        </pc:grpChg>
        <pc:picChg chg="mod">
          <ac:chgData name="Hans Gelissen (DHL SSC Maastricht)" userId="1afa8510-4eed-4b73-a29e-678838cd8acd" providerId="ADAL" clId="{D4795083-EE21-4870-A6A1-CBEBAABF3C14}" dt="2023-06-06T10:07:32.517" v="10338" actId="1037"/>
          <ac:picMkLst>
            <pc:docMk/>
            <pc:sldMk cId="1876015795" sldId="436"/>
            <ac:picMk id="7" creationId="{8AA79DD3-A765-1A97-A5E9-FADBF204B205}"/>
          </ac:picMkLst>
        </pc:picChg>
      </pc:sldChg>
      <pc:sldChg chg="addSp modSp add del modAnim">
        <pc:chgData name="Hans Gelissen (DHL SSC Maastricht)" userId="1afa8510-4eed-4b73-a29e-678838cd8acd" providerId="ADAL" clId="{D4795083-EE21-4870-A6A1-CBEBAABF3C14}" dt="2023-06-06T10:07:00.496" v="10304" actId="47"/>
        <pc:sldMkLst>
          <pc:docMk/>
          <pc:sldMk cId="3587488912" sldId="437"/>
        </pc:sldMkLst>
        <pc:spChg chg="add mod">
          <ac:chgData name="Hans Gelissen (DHL SSC Maastricht)" userId="1afa8510-4eed-4b73-a29e-678838cd8acd" providerId="ADAL" clId="{D4795083-EE21-4870-A6A1-CBEBAABF3C14}" dt="2023-06-06T10:06:32.979" v="10302"/>
          <ac:spMkLst>
            <pc:docMk/>
            <pc:sldMk cId="3587488912" sldId="437"/>
            <ac:spMk id="4" creationId="{F542B524-5D7B-6010-8A9B-B0BCE7239D7D}"/>
          </ac:spMkLst>
        </pc:spChg>
        <pc:spChg chg="mod">
          <ac:chgData name="Hans Gelissen (DHL SSC Maastricht)" userId="1afa8510-4eed-4b73-a29e-678838cd8acd" providerId="ADAL" clId="{D4795083-EE21-4870-A6A1-CBEBAABF3C14}" dt="2023-06-06T10:06:32.979" v="10302"/>
          <ac:spMkLst>
            <pc:docMk/>
            <pc:sldMk cId="3587488912" sldId="437"/>
            <ac:spMk id="6" creationId="{199C141E-20A8-1776-46A1-7D671F4F7C83}"/>
          </ac:spMkLst>
        </pc:spChg>
        <pc:spChg chg="add mod">
          <ac:chgData name="Hans Gelissen (DHL SSC Maastricht)" userId="1afa8510-4eed-4b73-a29e-678838cd8acd" providerId="ADAL" clId="{D4795083-EE21-4870-A6A1-CBEBAABF3C14}" dt="2023-06-06T10:06:32.979" v="10302"/>
          <ac:spMkLst>
            <pc:docMk/>
            <pc:sldMk cId="3587488912" sldId="437"/>
            <ac:spMk id="8" creationId="{F0665E81-906A-D59B-20F6-4E81E70DFECC}"/>
          </ac:spMkLst>
        </pc:spChg>
        <pc:spChg chg="add mod">
          <ac:chgData name="Hans Gelissen (DHL SSC Maastricht)" userId="1afa8510-4eed-4b73-a29e-678838cd8acd" providerId="ADAL" clId="{D4795083-EE21-4870-A6A1-CBEBAABF3C14}" dt="2023-06-06T10:06:32.979" v="10302"/>
          <ac:spMkLst>
            <pc:docMk/>
            <pc:sldMk cId="3587488912" sldId="437"/>
            <ac:spMk id="9" creationId="{F9F84199-B07F-4EC7-BACF-3BABCA77567C}"/>
          </ac:spMkLst>
        </pc:spChg>
        <pc:spChg chg="add mod">
          <ac:chgData name="Hans Gelissen (DHL SSC Maastricht)" userId="1afa8510-4eed-4b73-a29e-678838cd8acd" providerId="ADAL" clId="{D4795083-EE21-4870-A6A1-CBEBAABF3C14}" dt="2023-06-06T10:06:32.979" v="10302"/>
          <ac:spMkLst>
            <pc:docMk/>
            <pc:sldMk cId="3587488912" sldId="437"/>
            <ac:spMk id="10" creationId="{0A3357F8-3EAB-33A3-20B9-94BCD8BF4D99}"/>
          </ac:spMkLst>
        </pc:spChg>
        <pc:spChg chg="add mod">
          <ac:chgData name="Hans Gelissen (DHL SSC Maastricht)" userId="1afa8510-4eed-4b73-a29e-678838cd8acd" providerId="ADAL" clId="{D4795083-EE21-4870-A6A1-CBEBAABF3C14}" dt="2023-06-06T10:06:32.979" v="10302"/>
          <ac:spMkLst>
            <pc:docMk/>
            <pc:sldMk cId="3587488912" sldId="437"/>
            <ac:spMk id="11" creationId="{D8125AE5-D946-5154-A1B2-8811CCCF5EB1}"/>
          </ac:spMkLst>
        </pc:spChg>
        <pc:spChg chg="add mod">
          <ac:chgData name="Hans Gelissen (DHL SSC Maastricht)" userId="1afa8510-4eed-4b73-a29e-678838cd8acd" providerId="ADAL" clId="{D4795083-EE21-4870-A6A1-CBEBAABF3C14}" dt="2023-06-06T10:06:32.979" v="10302"/>
          <ac:spMkLst>
            <pc:docMk/>
            <pc:sldMk cId="3587488912" sldId="437"/>
            <ac:spMk id="12" creationId="{E186A333-66F6-0DFE-83EF-241EEF06B6DA}"/>
          </ac:spMkLst>
        </pc:spChg>
        <pc:grpChg chg="add mod">
          <ac:chgData name="Hans Gelissen (DHL SSC Maastricht)" userId="1afa8510-4eed-4b73-a29e-678838cd8acd" providerId="ADAL" clId="{D4795083-EE21-4870-A6A1-CBEBAABF3C14}" dt="2023-06-06T10:06:32.979" v="10302"/>
          <ac:grpSpMkLst>
            <pc:docMk/>
            <pc:sldMk cId="3587488912" sldId="437"/>
            <ac:grpSpMk id="5" creationId="{85BAC5FA-3CB3-D95A-FD7A-1B19C8DB33E1}"/>
          </ac:grpSpMkLst>
        </pc:grpChg>
        <pc:picChg chg="mod">
          <ac:chgData name="Hans Gelissen (DHL SSC Maastricht)" userId="1afa8510-4eed-4b73-a29e-678838cd8acd" providerId="ADAL" clId="{D4795083-EE21-4870-A6A1-CBEBAABF3C14}" dt="2023-06-06T10:06:32.979" v="10302"/>
          <ac:picMkLst>
            <pc:docMk/>
            <pc:sldMk cId="3587488912" sldId="437"/>
            <ac:picMk id="7" creationId="{A74F1269-1A17-DE85-B8C0-D829492389C4}"/>
          </ac:picMkLst>
        </pc:picChg>
      </pc:sldChg>
      <pc:sldChg chg="add del">
        <pc:chgData name="Hans Gelissen (DHL SSC Maastricht)" userId="1afa8510-4eed-4b73-a29e-678838cd8acd" providerId="ADAL" clId="{D4795083-EE21-4870-A6A1-CBEBAABF3C14}" dt="2023-06-06T10:08:02.814" v="10349" actId="47"/>
        <pc:sldMkLst>
          <pc:docMk/>
          <pc:sldMk cId="442441863" sldId="438"/>
        </pc:sldMkLst>
      </pc:sldChg>
      <pc:sldChg chg="modSp add mod">
        <pc:chgData name="Hans Gelissen (DHL SSC Maastricht)" userId="1afa8510-4eed-4b73-a29e-678838cd8acd" providerId="ADAL" clId="{D4795083-EE21-4870-A6A1-CBEBAABF3C14}" dt="2023-06-06T10:24:43.238" v="11582" actId="122"/>
        <pc:sldMkLst>
          <pc:docMk/>
          <pc:sldMk cId="582056422" sldId="439"/>
        </pc:sldMkLst>
        <pc:spChg chg="mod">
          <ac:chgData name="Hans Gelissen (DHL SSC Maastricht)" userId="1afa8510-4eed-4b73-a29e-678838cd8acd" providerId="ADAL" clId="{D4795083-EE21-4870-A6A1-CBEBAABF3C14}" dt="2023-06-06T10:07:43.353" v="10348" actId="1036"/>
          <ac:spMkLst>
            <pc:docMk/>
            <pc:sldMk cId="582056422" sldId="439"/>
            <ac:spMk id="6" creationId="{D5919C14-D032-D434-C6BB-344BFCFD4393}"/>
          </ac:spMkLst>
        </pc:spChg>
        <pc:spChg chg="mod">
          <ac:chgData name="Hans Gelissen (DHL SSC Maastricht)" userId="1afa8510-4eed-4b73-a29e-678838cd8acd" providerId="ADAL" clId="{D4795083-EE21-4870-A6A1-CBEBAABF3C14}" dt="2023-06-06T10:24:09.971" v="11544" actId="20577"/>
          <ac:spMkLst>
            <pc:docMk/>
            <pc:sldMk cId="582056422" sldId="439"/>
            <ac:spMk id="9" creationId="{56877F66-9FD1-F38E-7DAC-38CC4C96A5CC}"/>
          </ac:spMkLst>
        </pc:spChg>
        <pc:spChg chg="mod">
          <ac:chgData name="Hans Gelissen (DHL SSC Maastricht)" userId="1afa8510-4eed-4b73-a29e-678838cd8acd" providerId="ADAL" clId="{D4795083-EE21-4870-A6A1-CBEBAABF3C14}" dt="2023-06-06T10:24:27.886" v="11564" actId="404"/>
          <ac:spMkLst>
            <pc:docMk/>
            <pc:sldMk cId="582056422" sldId="439"/>
            <ac:spMk id="10" creationId="{49A4D109-A277-9410-E34E-D3E3F3008E11}"/>
          </ac:spMkLst>
        </pc:spChg>
        <pc:spChg chg="mod">
          <ac:chgData name="Hans Gelissen (DHL SSC Maastricht)" userId="1afa8510-4eed-4b73-a29e-678838cd8acd" providerId="ADAL" clId="{D4795083-EE21-4870-A6A1-CBEBAABF3C14}" dt="2023-06-06T10:24:43.238" v="11582" actId="122"/>
          <ac:spMkLst>
            <pc:docMk/>
            <pc:sldMk cId="582056422" sldId="439"/>
            <ac:spMk id="12" creationId="{51685E55-471F-AC2A-B896-8362F49525B5}"/>
          </ac:spMkLst>
        </pc:spChg>
        <pc:spChg chg="mod">
          <ac:chgData name="Hans Gelissen (DHL SSC Maastricht)" userId="1afa8510-4eed-4b73-a29e-678838cd8acd" providerId="ADAL" clId="{D4795083-EE21-4870-A6A1-CBEBAABF3C14}" dt="2023-06-06T10:07:16.709" v="10330" actId="20577"/>
          <ac:spMkLst>
            <pc:docMk/>
            <pc:sldMk cId="582056422" sldId="439"/>
            <ac:spMk id="13" creationId="{14D61999-1DB5-A647-4AA7-5895CA50C6D0}"/>
          </ac:spMkLst>
        </pc:spChg>
        <pc:grpChg chg="mod">
          <ac:chgData name="Hans Gelissen (DHL SSC Maastricht)" userId="1afa8510-4eed-4b73-a29e-678838cd8acd" providerId="ADAL" clId="{D4795083-EE21-4870-A6A1-CBEBAABF3C14}" dt="2023-06-06T10:07:43.353" v="10348" actId="1036"/>
          <ac:grpSpMkLst>
            <pc:docMk/>
            <pc:sldMk cId="582056422" sldId="439"/>
            <ac:grpSpMk id="5" creationId="{93957F75-DC53-DE00-867F-00FCBE9365A8}"/>
          </ac:grpSpMkLst>
        </pc:grpChg>
        <pc:picChg chg="mod">
          <ac:chgData name="Hans Gelissen (DHL SSC Maastricht)" userId="1afa8510-4eed-4b73-a29e-678838cd8acd" providerId="ADAL" clId="{D4795083-EE21-4870-A6A1-CBEBAABF3C14}" dt="2023-06-06T10:07:43.353" v="10348" actId="1036"/>
          <ac:picMkLst>
            <pc:docMk/>
            <pc:sldMk cId="582056422" sldId="439"/>
            <ac:picMk id="7" creationId="{8AA79DD3-A765-1A97-A5E9-FADBF204B205}"/>
          </ac:picMkLst>
        </pc:picChg>
      </pc:sldChg>
      <pc:sldChg chg="modSp add mod">
        <pc:chgData name="Hans Gelissen (DHL SSC Maastricht)" userId="1afa8510-4eed-4b73-a29e-678838cd8acd" providerId="ADAL" clId="{D4795083-EE21-4870-A6A1-CBEBAABF3C14}" dt="2023-06-06T10:26:50.668" v="11924" actId="20577"/>
        <pc:sldMkLst>
          <pc:docMk/>
          <pc:sldMk cId="3394775343" sldId="440"/>
        </pc:sldMkLst>
        <pc:spChg chg="mod">
          <ac:chgData name="Hans Gelissen (DHL SSC Maastricht)" userId="1afa8510-4eed-4b73-a29e-678838cd8acd" providerId="ADAL" clId="{D4795083-EE21-4870-A6A1-CBEBAABF3C14}" dt="2023-06-06T10:25:20.625" v="11667" actId="20577"/>
          <ac:spMkLst>
            <pc:docMk/>
            <pc:sldMk cId="3394775343" sldId="440"/>
            <ac:spMk id="9" creationId="{56877F66-9FD1-F38E-7DAC-38CC4C96A5CC}"/>
          </ac:spMkLst>
        </pc:spChg>
        <pc:spChg chg="mod">
          <ac:chgData name="Hans Gelissen (DHL SSC Maastricht)" userId="1afa8510-4eed-4b73-a29e-678838cd8acd" providerId="ADAL" clId="{D4795083-EE21-4870-A6A1-CBEBAABF3C14}" dt="2023-06-06T10:26:50.668" v="11924" actId="20577"/>
          <ac:spMkLst>
            <pc:docMk/>
            <pc:sldMk cId="3394775343" sldId="440"/>
            <ac:spMk id="10" creationId="{49A4D109-A277-9410-E34E-D3E3F3008E11}"/>
          </ac:spMkLst>
        </pc:spChg>
        <pc:spChg chg="mod">
          <ac:chgData name="Hans Gelissen (DHL SSC Maastricht)" userId="1afa8510-4eed-4b73-a29e-678838cd8acd" providerId="ADAL" clId="{D4795083-EE21-4870-A6A1-CBEBAABF3C14}" dt="2023-06-06T10:26:13.311" v="11773" actId="122"/>
          <ac:spMkLst>
            <pc:docMk/>
            <pc:sldMk cId="3394775343" sldId="440"/>
            <ac:spMk id="12" creationId="{51685E55-471F-AC2A-B896-8362F49525B5}"/>
          </ac:spMkLst>
        </pc:spChg>
        <pc:spChg chg="mod">
          <ac:chgData name="Hans Gelissen (DHL SSC Maastricht)" userId="1afa8510-4eed-4b73-a29e-678838cd8acd" providerId="ADAL" clId="{D4795083-EE21-4870-A6A1-CBEBAABF3C14}" dt="2023-06-06T10:07:19.940" v="10332" actId="20577"/>
          <ac:spMkLst>
            <pc:docMk/>
            <pc:sldMk cId="3394775343" sldId="440"/>
            <ac:spMk id="13" creationId="{14D61999-1DB5-A647-4AA7-5895CA50C6D0}"/>
          </ac:spMkLst>
        </pc:spChg>
      </pc:sldChg>
      <pc:sldChg chg="addSp delSp modSp new mod modClrScheme chgLayout">
        <pc:chgData name="Hans Gelissen (DHL SSC Maastricht)" userId="1afa8510-4eed-4b73-a29e-678838cd8acd" providerId="ADAL" clId="{D4795083-EE21-4870-A6A1-CBEBAABF3C14}" dt="2023-06-06T11:53:34.832" v="12016" actId="20577"/>
        <pc:sldMkLst>
          <pc:docMk/>
          <pc:sldMk cId="2562776276" sldId="441"/>
        </pc:sldMkLst>
        <pc:spChg chg="del mod ord">
          <ac:chgData name="Hans Gelissen (DHL SSC Maastricht)" userId="1afa8510-4eed-4b73-a29e-678838cd8acd" providerId="ADAL" clId="{D4795083-EE21-4870-A6A1-CBEBAABF3C14}" dt="2023-06-06T10:08:40.899" v="10351" actId="700"/>
          <ac:spMkLst>
            <pc:docMk/>
            <pc:sldMk cId="2562776276" sldId="441"/>
            <ac:spMk id="2" creationId="{F6AD4AFB-5C85-E2F0-75B6-D72C03EEB6F7}"/>
          </ac:spMkLst>
        </pc:spChg>
        <pc:spChg chg="add mod ord">
          <ac:chgData name="Hans Gelissen (DHL SSC Maastricht)" userId="1afa8510-4eed-4b73-a29e-678838cd8acd" providerId="ADAL" clId="{D4795083-EE21-4870-A6A1-CBEBAABF3C14}" dt="2023-06-06T11:53:34.832" v="12016" actId="20577"/>
          <ac:spMkLst>
            <pc:docMk/>
            <pc:sldMk cId="2562776276" sldId="441"/>
            <ac:spMk id="3" creationId="{2E513A6E-086B-047A-4755-790A2A278882}"/>
          </ac:spMkLst>
        </pc:spChg>
      </pc:sldChg>
      <pc:sldChg chg="addSp delSp modSp new mod modClrScheme chgLayout">
        <pc:chgData name="Hans Gelissen (DHL SSC Maastricht)" userId="1afa8510-4eed-4b73-a29e-678838cd8acd" providerId="ADAL" clId="{D4795083-EE21-4870-A6A1-CBEBAABF3C14}" dt="2023-06-06T10:10:04.572" v="10419" actId="20577"/>
        <pc:sldMkLst>
          <pc:docMk/>
          <pc:sldMk cId="1415545045" sldId="442"/>
        </pc:sldMkLst>
        <pc:spChg chg="del mod ord">
          <ac:chgData name="Hans Gelissen (DHL SSC Maastricht)" userId="1afa8510-4eed-4b73-a29e-678838cd8acd" providerId="ADAL" clId="{D4795083-EE21-4870-A6A1-CBEBAABF3C14}" dt="2023-06-06T10:09:35.482" v="10394" actId="700"/>
          <ac:spMkLst>
            <pc:docMk/>
            <pc:sldMk cId="1415545045" sldId="442"/>
            <ac:spMk id="2" creationId="{463A351A-F494-A887-9BC5-40A2CC15085F}"/>
          </ac:spMkLst>
        </pc:spChg>
        <pc:spChg chg="del">
          <ac:chgData name="Hans Gelissen (DHL SSC Maastricht)" userId="1afa8510-4eed-4b73-a29e-678838cd8acd" providerId="ADAL" clId="{D4795083-EE21-4870-A6A1-CBEBAABF3C14}" dt="2023-06-06T10:09:35.482" v="10394" actId="700"/>
          <ac:spMkLst>
            <pc:docMk/>
            <pc:sldMk cId="1415545045" sldId="442"/>
            <ac:spMk id="3" creationId="{5CD79A79-F862-F90E-3E9D-387CA6C2D41E}"/>
          </ac:spMkLst>
        </pc:spChg>
        <pc:spChg chg="add mod ord">
          <ac:chgData name="Hans Gelissen (DHL SSC Maastricht)" userId="1afa8510-4eed-4b73-a29e-678838cd8acd" providerId="ADAL" clId="{D4795083-EE21-4870-A6A1-CBEBAABF3C14}" dt="2023-06-06T10:10:04.572" v="10419" actId="20577"/>
          <ac:spMkLst>
            <pc:docMk/>
            <pc:sldMk cId="1415545045" sldId="442"/>
            <ac:spMk id="4" creationId="{2F5B7247-1D98-9118-F333-3222C593C03A}"/>
          </ac:spMkLst>
        </pc:spChg>
      </pc:sldChg>
      <pc:sldChg chg="new del">
        <pc:chgData name="Hans Gelissen (DHL SSC Maastricht)" userId="1afa8510-4eed-4b73-a29e-678838cd8acd" providerId="ADAL" clId="{D4795083-EE21-4870-A6A1-CBEBAABF3C14}" dt="2023-06-06T10:09:18.436" v="10391" actId="680"/>
        <pc:sldMkLst>
          <pc:docMk/>
          <pc:sldMk cId="3451434842" sldId="442"/>
        </pc:sldMkLst>
      </pc:sldChg>
      <pc:sldChg chg="addSp delSp modSp add mod modClrScheme chgLayout">
        <pc:chgData name="Hans Gelissen (DHL SSC Maastricht)" userId="1afa8510-4eed-4b73-a29e-678838cd8acd" providerId="ADAL" clId="{D4795083-EE21-4870-A6A1-CBEBAABF3C14}" dt="2023-06-06T10:12:34.548" v="10696" actId="20577"/>
        <pc:sldMkLst>
          <pc:docMk/>
          <pc:sldMk cId="1175048160" sldId="443"/>
        </pc:sldMkLst>
        <pc:spChg chg="del mod ord">
          <ac:chgData name="Hans Gelissen (DHL SSC Maastricht)" userId="1afa8510-4eed-4b73-a29e-678838cd8acd" providerId="ADAL" clId="{D4795083-EE21-4870-A6A1-CBEBAABF3C14}" dt="2023-06-06T10:09:47.596" v="10395" actId="700"/>
          <ac:spMkLst>
            <pc:docMk/>
            <pc:sldMk cId="1175048160" sldId="443"/>
            <ac:spMk id="2" creationId="{463A351A-F494-A887-9BC5-40A2CC15085F}"/>
          </ac:spMkLst>
        </pc:spChg>
        <pc:spChg chg="del mod ord">
          <ac:chgData name="Hans Gelissen (DHL SSC Maastricht)" userId="1afa8510-4eed-4b73-a29e-678838cd8acd" providerId="ADAL" clId="{D4795083-EE21-4870-A6A1-CBEBAABF3C14}" dt="2023-06-06T10:09:47.596" v="10395" actId="700"/>
          <ac:spMkLst>
            <pc:docMk/>
            <pc:sldMk cId="1175048160" sldId="443"/>
            <ac:spMk id="3" creationId="{5CD79A79-F862-F90E-3E9D-387CA6C2D41E}"/>
          </ac:spMkLst>
        </pc:spChg>
        <pc:spChg chg="add mod ord">
          <ac:chgData name="Hans Gelissen (DHL SSC Maastricht)" userId="1afa8510-4eed-4b73-a29e-678838cd8acd" providerId="ADAL" clId="{D4795083-EE21-4870-A6A1-CBEBAABF3C14}" dt="2023-06-06T10:10:14.068" v="10451" actId="20577"/>
          <ac:spMkLst>
            <pc:docMk/>
            <pc:sldMk cId="1175048160" sldId="443"/>
            <ac:spMk id="4" creationId="{E9677169-0030-ABF8-8094-7BF9AD426511}"/>
          </ac:spMkLst>
        </pc:spChg>
        <pc:spChg chg="add mod ord">
          <ac:chgData name="Hans Gelissen (DHL SSC Maastricht)" userId="1afa8510-4eed-4b73-a29e-678838cd8acd" providerId="ADAL" clId="{D4795083-EE21-4870-A6A1-CBEBAABF3C14}" dt="2023-06-06T10:11:03.666" v="10480" actId="20577"/>
          <ac:spMkLst>
            <pc:docMk/>
            <pc:sldMk cId="1175048160" sldId="443"/>
            <ac:spMk id="5" creationId="{9F277ECE-E06D-7E00-7AC8-47504A10313D}"/>
          </ac:spMkLst>
        </pc:spChg>
        <pc:spChg chg="add mod ord">
          <ac:chgData name="Hans Gelissen (DHL SSC Maastricht)" userId="1afa8510-4eed-4b73-a29e-678838cd8acd" providerId="ADAL" clId="{D4795083-EE21-4870-A6A1-CBEBAABF3C14}" dt="2023-06-06T10:12:34.548" v="10696" actId="20577"/>
          <ac:spMkLst>
            <pc:docMk/>
            <pc:sldMk cId="1175048160" sldId="443"/>
            <ac:spMk id="6" creationId="{04BE7450-C56E-D4CD-7E12-8182243FC0D3}"/>
          </ac:spMkLst>
        </pc:spChg>
        <pc:spChg chg="add mod ord">
          <ac:chgData name="Hans Gelissen (DHL SSC Maastricht)" userId="1afa8510-4eed-4b73-a29e-678838cd8acd" providerId="ADAL" clId="{D4795083-EE21-4870-A6A1-CBEBAABF3C14}" dt="2023-06-06T10:12:11.128" v="10626" actId="20577"/>
          <ac:spMkLst>
            <pc:docMk/>
            <pc:sldMk cId="1175048160" sldId="443"/>
            <ac:spMk id="7" creationId="{C06B3BAF-C348-1CFB-2914-D41AFBC2EBF4}"/>
          </ac:spMkLst>
        </pc:spChg>
      </pc:sldChg>
      <pc:sldChg chg="add ord">
        <pc:chgData name="Hans Gelissen (DHL SSC Maastricht)" userId="1afa8510-4eed-4b73-a29e-678838cd8acd" providerId="ADAL" clId="{D4795083-EE21-4870-A6A1-CBEBAABF3C14}" dt="2023-06-06T10:17:43.194" v="10699"/>
        <pc:sldMkLst>
          <pc:docMk/>
          <pc:sldMk cId="3416127641" sldId="444"/>
        </pc:sldMkLst>
      </pc:sldChg>
      <pc:sldChg chg="addSp delSp modSp new mod">
        <pc:chgData name="Hans Gelissen (DHL SSC Maastricht)" userId="1afa8510-4eed-4b73-a29e-678838cd8acd" providerId="ADAL" clId="{D4795083-EE21-4870-A6A1-CBEBAABF3C14}" dt="2023-06-06T12:31:59.626" v="12078" actId="478"/>
        <pc:sldMkLst>
          <pc:docMk/>
          <pc:sldMk cId="1903837455" sldId="445"/>
        </pc:sldMkLst>
        <pc:spChg chg="mod">
          <ac:chgData name="Hans Gelissen (DHL SSC Maastricht)" userId="1afa8510-4eed-4b73-a29e-678838cd8acd" providerId="ADAL" clId="{D4795083-EE21-4870-A6A1-CBEBAABF3C14}" dt="2023-06-06T12:31:02.697" v="12072" actId="20577"/>
          <ac:spMkLst>
            <pc:docMk/>
            <pc:sldMk cId="1903837455" sldId="445"/>
            <ac:spMk id="2" creationId="{E9F1A1AF-469A-CA40-583A-206E17BD351A}"/>
          </ac:spMkLst>
        </pc:spChg>
        <pc:spChg chg="del">
          <ac:chgData name="Hans Gelissen (DHL SSC Maastricht)" userId="1afa8510-4eed-4b73-a29e-678838cd8acd" providerId="ADAL" clId="{D4795083-EE21-4870-A6A1-CBEBAABF3C14}" dt="2023-06-06T12:30:14.564" v="12020" actId="478"/>
          <ac:spMkLst>
            <pc:docMk/>
            <pc:sldMk cId="1903837455" sldId="445"/>
            <ac:spMk id="3" creationId="{D4CE3473-2361-077E-887F-DDAD0DB33779}"/>
          </ac:spMkLst>
        </pc:spChg>
        <pc:picChg chg="add mod">
          <ac:chgData name="Hans Gelissen (DHL SSC Maastricht)" userId="1afa8510-4eed-4b73-a29e-678838cd8acd" providerId="ADAL" clId="{D4795083-EE21-4870-A6A1-CBEBAABF3C14}" dt="2023-06-06T12:30:43.694" v="12023" actId="167"/>
          <ac:picMkLst>
            <pc:docMk/>
            <pc:sldMk cId="1903837455" sldId="445"/>
            <ac:picMk id="4" creationId="{55F73E5D-07C4-E234-AA46-EE07CE6A2512}"/>
          </ac:picMkLst>
        </pc:picChg>
        <pc:picChg chg="add del mod">
          <ac:chgData name="Hans Gelissen (DHL SSC Maastricht)" userId="1afa8510-4eed-4b73-a29e-678838cd8acd" providerId="ADAL" clId="{D4795083-EE21-4870-A6A1-CBEBAABF3C14}" dt="2023-06-06T12:31:59.626" v="12078" actId="478"/>
          <ac:picMkLst>
            <pc:docMk/>
            <pc:sldMk cId="1903837455" sldId="445"/>
            <ac:picMk id="5" creationId="{A62BE2A9-FA27-FE66-AC5B-ED616D895A73}"/>
          </ac:picMkLst>
        </pc:picChg>
      </pc:sldChg>
      <pc:sldChg chg="addSp delSp modSp add mod ord modClrScheme modAnim chgLayout">
        <pc:chgData name="Hans Gelissen (DHL SSC Maastricht)" userId="1afa8510-4eed-4b73-a29e-678838cd8acd" providerId="ADAL" clId="{D4795083-EE21-4870-A6A1-CBEBAABF3C14}" dt="2023-06-07T09:27:13.288" v="12638"/>
        <pc:sldMkLst>
          <pc:docMk/>
          <pc:sldMk cId="781442985" sldId="446"/>
        </pc:sldMkLst>
        <pc:spChg chg="mod ord">
          <ac:chgData name="Hans Gelissen (DHL SSC Maastricht)" userId="1afa8510-4eed-4b73-a29e-678838cd8acd" providerId="ADAL" clId="{D4795083-EE21-4870-A6A1-CBEBAABF3C14}" dt="2023-06-07T09:17:00.585" v="12560" actId="700"/>
          <ac:spMkLst>
            <pc:docMk/>
            <pc:sldMk cId="781442985" sldId="446"/>
            <ac:spMk id="2" creationId="{5EB55963-2ED2-C1E7-9ABD-D06F094CD6BF}"/>
          </ac:spMkLst>
        </pc:spChg>
        <pc:spChg chg="add del mod ord">
          <ac:chgData name="Hans Gelissen (DHL SSC Maastricht)" userId="1afa8510-4eed-4b73-a29e-678838cd8acd" providerId="ADAL" clId="{D4795083-EE21-4870-A6A1-CBEBAABF3C14}" dt="2023-06-07T09:17:04.311" v="12561" actId="478"/>
          <ac:spMkLst>
            <pc:docMk/>
            <pc:sldMk cId="781442985" sldId="446"/>
            <ac:spMk id="3" creationId="{1E5CC336-4B36-201A-4945-A00C2625D905}"/>
          </ac:spMkLst>
        </pc:spChg>
        <pc:spChg chg="mod">
          <ac:chgData name="Hans Gelissen (DHL SSC Maastricht)" userId="1afa8510-4eed-4b73-a29e-678838cd8acd" providerId="ADAL" clId="{D4795083-EE21-4870-A6A1-CBEBAABF3C14}" dt="2023-06-07T09:22:29.746" v="12610" actId="21"/>
          <ac:spMkLst>
            <pc:docMk/>
            <pc:sldMk cId="781442985" sldId="446"/>
            <ac:spMk id="5" creationId="{1048999F-F3AD-2C6B-8A81-AF3CDF7C8D41}"/>
          </ac:spMkLst>
        </pc:spChg>
        <pc:spChg chg="add mod">
          <ac:chgData name="Hans Gelissen (DHL SSC Maastricht)" userId="1afa8510-4eed-4b73-a29e-678838cd8acd" providerId="ADAL" clId="{D4795083-EE21-4870-A6A1-CBEBAABF3C14}" dt="2023-06-07T09:22:45.411" v="12615" actId="1076"/>
          <ac:spMkLst>
            <pc:docMk/>
            <pc:sldMk cId="781442985" sldId="446"/>
            <ac:spMk id="7" creationId="{34A8724D-4AA8-B704-85DC-517E27613831}"/>
          </ac:spMkLst>
        </pc:spChg>
        <pc:spChg chg="add mod">
          <ac:chgData name="Hans Gelissen (DHL SSC Maastricht)" userId="1afa8510-4eed-4b73-a29e-678838cd8acd" providerId="ADAL" clId="{D4795083-EE21-4870-A6A1-CBEBAABF3C14}" dt="2023-06-07T09:22:51.493" v="12616" actId="1076"/>
          <ac:spMkLst>
            <pc:docMk/>
            <pc:sldMk cId="781442985" sldId="446"/>
            <ac:spMk id="8" creationId="{A74FC46A-3DF8-C146-0803-295AAF2D5257}"/>
          </ac:spMkLst>
        </pc:spChg>
        <pc:spChg chg="add mod">
          <ac:chgData name="Hans Gelissen (DHL SSC Maastricht)" userId="1afa8510-4eed-4b73-a29e-678838cd8acd" providerId="ADAL" clId="{D4795083-EE21-4870-A6A1-CBEBAABF3C14}" dt="2023-06-07T09:22:57.257" v="12617" actId="1076"/>
          <ac:spMkLst>
            <pc:docMk/>
            <pc:sldMk cId="781442985" sldId="446"/>
            <ac:spMk id="9" creationId="{DD94800F-A47B-4687-8D07-EBD90E5A6273}"/>
          </ac:spMkLst>
        </pc:spChg>
        <pc:spChg chg="add mod">
          <ac:chgData name="Hans Gelissen (DHL SSC Maastricht)" userId="1afa8510-4eed-4b73-a29e-678838cd8acd" providerId="ADAL" clId="{D4795083-EE21-4870-A6A1-CBEBAABF3C14}" dt="2023-06-07T09:23:07.655" v="12621" actId="1076"/>
          <ac:spMkLst>
            <pc:docMk/>
            <pc:sldMk cId="781442985" sldId="446"/>
            <ac:spMk id="10" creationId="{76C04B3B-7BC1-1E81-912B-8DF2BBE69EEA}"/>
          </ac:spMkLst>
        </pc:spChg>
        <pc:spChg chg="add mod">
          <ac:chgData name="Hans Gelissen (DHL SSC Maastricht)" userId="1afa8510-4eed-4b73-a29e-678838cd8acd" providerId="ADAL" clId="{D4795083-EE21-4870-A6A1-CBEBAABF3C14}" dt="2023-06-07T09:23:14.548" v="12622" actId="1076"/>
          <ac:spMkLst>
            <pc:docMk/>
            <pc:sldMk cId="781442985" sldId="446"/>
            <ac:spMk id="11" creationId="{A666D952-41BF-A8C0-F595-49F95AA0898D}"/>
          </ac:spMkLst>
        </pc:spChg>
        <pc:picChg chg="add mod ord modCrop">
          <ac:chgData name="Hans Gelissen (DHL SSC Maastricht)" userId="1afa8510-4eed-4b73-a29e-678838cd8acd" providerId="ADAL" clId="{D4795083-EE21-4870-A6A1-CBEBAABF3C14}" dt="2023-06-07T09:26:20.345" v="12636" actId="167"/>
          <ac:picMkLst>
            <pc:docMk/>
            <pc:sldMk cId="781442985" sldId="446"/>
            <ac:picMk id="6" creationId="{2C74D9AE-A86E-EA1A-EB5B-B38E28EF3AD2}"/>
          </ac:picMkLst>
        </pc:picChg>
        <pc:picChg chg="add mod ord">
          <ac:chgData name="Hans Gelissen (DHL SSC Maastricht)" userId="1afa8510-4eed-4b73-a29e-678838cd8acd" providerId="ADAL" clId="{D4795083-EE21-4870-A6A1-CBEBAABF3C14}" dt="2023-06-07T09:27:13.288" v="12638"/>
          <ac:picMkLst>
            <pc:docMk/>
            <pc:sldMk cId="781442985" sldId="446"/>
            <ac:picMk id="12" creationId="{0386B313-7B6D-1D19-AD13-6D88CEC2F267}"/>
          </ac:picMkLst>
        </pc:picChg>
        <pc:picChg chg="add mod ord">
          <ac:chgData name="Hans Gelissen (DHL SSC Maastricht)" userId="1afa8510-4eed-4b73-a29e-678838cd8acd" providerId="ADAL" clId="{D4795083-EE21-4870-A6A1-CBEBAABF3C14}" dt="2023-06-07T09:26:38.911" v="12637"/>
          <ac:picMkLst>
            <pc:docMk/>
            <pc:sldMk cId="781442985" sldId="446"/>
            <ac:picMk id="13" creationId="{23997201-C2BB-EEDF-9CFC-46B2AEE76A8B}"/>
          </ac:picMkLst>
        </pc:picChg>
        <pc:picChg chg="add del mod">
          <ac:chgData name="Hans Gelissen (DHL SSC Maastricht)" userId="1afa8510-4eed-4b73-a29e-678838cd8acd" providerId="ADAL" clId="{D4795083-EE21-4870-A6A1-CBEBAABF3C14}" dt="2023-06-07T09:16:53.231" v="12559" actId="478"/>
          <ac:picMkLst>
            <pc:docMk/>
            <pc:sldMk cId="781442985" sldId="446"/>
            <ac:picMk id="1026" creationId="{C844DC6A-DDC5-001F-83FB-AF979BCD02C9}"/>
          </ac:picMkLst>
        </pc:picChg>
      </pc:sldChg>
      <pc:sldChg chg="addSp delSp add del mod addAnim delAnim modAnim">
        <pc:chgData name="Hans Gelissen (DHL SSC Maastricht)" userId="1afa8510-4eed-4b73-a29e-678838cd8acd" providerId="ADAL" clId="{D4795083-EE21-4870-A6A1-CBEBAABF3C14}" dt="2023-06-07T08:18:26.226" v="12259" actId="47"/>
        <pc:sldMkLst>
          <pc:docMk/>
          <pc:sldMk cId="3155019474" sldId="446"/>
        </pc:sldMkLst>
        <pc:spChg chg="del">
          <ac:chgData name="Hans Gelissen (DHL SSC Maastricht)" userId="1afa8510-4eed-4b73-a29e-678838cd8acd" providerId="ADAL" clId="{D4795083-EE21-4870-A6A1-CBEBAABF3C14}" dt="2023-06-07T08:14:37.201" v="12251" actId="478"/>
          <ac:spMkLst>
            <pc:docMk/>
            <pc:sldMk cId="3155019474" sldId="446"/>
            <ac:spMk id="13" creationId="{6BE1FF18-B1E5-7C99-B5D7-CBECB874B565}"/>
          </ac:spMkLst>
        </pc:spChg>
        <pc:spChg chg="del">
          <ac:chgData name="Hans Gelissen (DHL SSC Maastricht)" userId="1afa8510-4eed-4b73-a29e-678838cd8acd" providerId="ADAL" clId="{D4795083-EE21-4870-A6A1-CBEBAABF3C14}" dt="2023-06-07T08:14:41.131" v="12253" actId="478"/>
          <ac:spMkLst>
            <pc:docMk/>
            <pc:sldMk cId="3155019474" sldId="446"/>
            <ac:spMk id="16" creationId="{2E0CCA95-C166-3EEF-5855-C5E016B6BF30}"/>
          </ac:spMkLst>
        </pc:spChg>
        <pc:spChg chg="add del">
          <ac:chgData name="Hans Gelissen (DHL SSC Maastricht)" userId="1afa8510-4eed-4b73-a29e-678838cd8acd" providerId="ADAL" clId="{D4795083-EE21-4870-A6A1-CBEBAABF3C14}" dt="2023-06-07T08:18:23.764" v="12258" actId="478"/>
          <ac:spMkLst>
            <pc:docMk/>
            <pc:sldMk cId="3155019474" sldId="446"/>
            <ac:spMk id="19" creationId="{3CD468E2-931F-D34E-A1B7-E2C646CB80A4}"/>
          </ac:spMkLst>
        </pc:spChg>
        <pc:spChg chg="del">
          <ac:chgData name="Hans Gelissen (DHL SSC Maastricht)" userId="1afa8510-4eed-4b73-a29e-678838cd8acd" providerId="ADAL" clId="{D4795083-EE21-4870-A6A1-CBEBAABF3C14}" dt="2023-06-07T08:14:39.168" v="12252" actId="478"/>
          <ac:spMkLst>
            <pc:docMk/>
            <pc:sldMk cId="3155019474" sldId="446"/>
            <ac:spMk id="41" creationId="{2C9B95E1-8539-C731-172D-40B6D88CEB31}"/>
          </ac:spMkLst>
        </pc:spChg>
        <pc:spChg chg="del">
          <ac:chgData name="Hans Gelissen (DHL SSC Maastricht)" userId="1afa8510-4eed-4b73-a29e-678838cd8acd" providerId="ADAL" clId="{D4795083-EE21-4870-A6A1-CBEBAABF3C14}" dt="2023-06-07T08:14:42.830" v="12254" actId="478"/>
          <ac:spMkLst>
            <pc:docMk/>
            <pc:sldMk cId="3155019474" sldId="446"/>
            <ac:spMk id="42" creationId="{A81F77AE-9F52-C6A7-C596-8C3D6F22C751}"/>
          </ac:spMkLst>
        </pc:spChg>
        <pc:spChg chg="del">
          <ac:chgData name="Hans Gelissen (DHL SSC Maastricht)" userId="1afa8510-4eed-4b73-a29e-678838cd8acd" providerId="ADAL" clId="{D4795083-EE21-4870-A6A1-CBEBAABF3C14}" dt="2023-06-07T08:14:32.719" v="12247" actId="478"/>
          <ac:spMkLst>
            <pc:docMk/>
            <pc:sldMk cId="3155019474" sldId="446"/>
            <ac:spMk id="44" creationId="{E9B50FE9-2F30-5CFB-3BBC-119C119D6B53}"/>
          </ac:spMkLst>
        </pc:spChg>
        <pc:grpChg chg="del">
          <ac:chgData name="Hans Gelissen (DHL SSC Maastricht)" userId="1afa8510-4eed-4b73-a29e-678838cd8acd" providerId="ADAL" clId="{D4795083-EE21-4870-A6A1-CBEBAABF3C14}" dt="2023-06-07T08:14:35.095" v="12249" actId="478"/>
          <ac:grpSpMkLst>
            <pc:docMk/>
            <pc:sldMk cId="3155019474" sldId="446"/>
            <ac:grpSpMk id="24" creationId="{CB786D31-61EE-AC83-2327-35CFC01ABD1F}"/>
          </ac:grpSpMkLst>
        </pc:grpChg>
        <pc:grpChg chg="del">
          <ac:chgData name="Hans Gelissen (DHL SSC Maastricht)" userId="1afa8510-4eed-4b73-a29e-678838cd8acd" providerId="ADAL" clId="{D4795083-EE21-4870-A6A1-CBEBAABF3C14}" dt="2023-06-07T08:14:35.829" v="12250" actId="478"/>
          <ac:grpSpMkLst>
            <pc:docMk/>
            <pc:sldMk cId="3155019474" sldId="446"/>
            <ac:grpSpMk id="27" creationId="{31E0EED0-8939-7D64-D05F-8CE55C47371B}"/>
          </ac:grpSpMkLst>
        </pc:grpChg>
        <pc:grpChg chg="del">
          <ac:chgData name="Hans Gelissen (DHL SSC Maastricht)" userId="1afa8510-4eed-4b73-a29e-678838cd8acd" providerId="ADAL" clId="{D4795083-EE21-4870-A6A1-CBEBAABF3C14}" dt="2023-06-07T08:14:34.446" v="12248" actId="478"/>
          <ac:grpSpMkLst>
            <pc:docMk/>
            <pc:sldMk cId="3155019474" sldId="446"/>
            <ac:grpSpMk id="30" creationId="{53B916E8-4937-4349-AA89-6E390B050138}"/>
          </ac:grpSpMkLst>
        </pc:grpChg>
      </pc:sldChg>
    </pc:docChg>
  </pc:docChgLst>
  <pc:docChgLst>
    <pc:chgData name="Hans Gelissen (DHL SSC Maastricht)" userId="1afa8510-4eed-4b73-a29e-678838cd8acd" providerId="ADAL" clId="{FFE3EA4A-5751-4756-84D3-D420262602A2}"/>
    <pc:docChg chg="custSel modMainMaster">
      <pc:chgData name="Hans Gelissen (DHL SSC Maastricht)" userId="1afa8510-4eed-4b73-a29e-678838cd8acd" providerId="ADAL" clId="{FFE3EA4A-5751-4756-84D3-D420262602A2}" dt="2023-06-27T09:41:56.105" v="66"/>
      <pc:docMkLst>
        <pc:docMk/>
      </pc:docMkLst>
      <pc:sldMasterChg chg="modSldLayout">
        <pc:chgData name="Hans Gelissen (DHL SSC Maastricht)" userId="1afa8510-4eed-4b73-a29e-678838cd8acd" providerId="ADAL" clId="{FFE3EA4A-5751-4756-84D3-D420262602A2}" dt="2023-06-27T09:41:13.563" v="34"/>
        <pc:sldMasterMkLst>
          <pc:docMk/>
          <pc:sldMasterMk cId="2253695231" sldId="2147483754"/>
        </pc:sldMasterMkLst>
        <pc:sldLayoutChg chg="addSp delSp modSp mod">
          <pc:chgData name="Hans Gelissen (DHL SSC Maastricht)" userId="1afa8510-4eed-4b73-a29e-678838cd8acd" providerId="ADAL" clId="{FFE3EA4A-5751-4756-84D3-D420262602A2}" dt="2023-06-27T09:40:57.247" v="20"/>
          <pc:sldLayoutMkLst>
            <pc:docMk/>
            <pc:sldMasterMk cId="2253695231" sldId="2147483754"/>
            <pc:sldLayoutMk cId="403307911" sldId="2147483730"/>
          </pc:sldLayoutMkLst>
          <pc:spChg chg="mod">
            <ac:chgData name="Hans Gelissen (DHL SSC Maastricht)" userId="1afa8510-4eed-4b73-a29e-678838cd8acd" providerId="ADAL" clId="{FFE3EA4A-5751-4756-84D3-D420262602A2}" dt="2023-06-27T09:40:57.247" v="20"/>
            <ac:spMkLst>
              <pc:docMk/>
              <pc:sldMasterMk cId="2253695231" sldId="2147483754"/>
              <pc:sldLayoutMk cId="403307911" sldId="2147483730"/>
              <ac:spMk id="3" creationId="{9AD8333E-E54B-B026-1706-3B38E501DF3E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0:57.247" v="20"/>
            <ac:grpSpMkLst>
              <pc:docMk/>
              <pc:sldMasterMk cId="2253695231" sldId="2147483754"/>
              <pc:sldLayoutMk cId="403307911" sldId="2147483730"/>
              <ac:grpSpMk id="2" creationId="{EB1EE1E1-7E20-6D62-820F-DC62BEF9FDCB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47.864" v="19" actId="478"/>
            <ac:grpSpMkLst>
              <pc:docMk/>
              <pc:sldMasterMk cId="2253695231" sldId="2147483754"/>
              <pc:sldLayoutMk cId="403307911" sldId="2147483730"/>
              <ac:grpSpMk id="19" creationId="{415A3D1A-37E6-49DF-9012-F8D327340F2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0:57.247" v="20"/>
            <ac:picMkLst>
              <pc:docMk/>
              <pc:sldMasterMk cId="2253695231" sldId="2147483754"/>
              <pc:sldLayoutMk cId="403307911" sldId="2147483730"/>
              <ac:picMk id="4" creationId="{38A88B2C-EC52-B152-1A98-6A179C746929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0:57.247" v="20"/>
            <ac:picMkLst>
              <pc:docMk/>
              <pc:sldMasterMk cId="2253695231" sldId="2147483754"/>
              <pc:sldLayoutMk cId="403307911" sldId="2147483730"/>
              <ac:picMk id="5" creationId="{03E79227-4909-6C19-9047-3A186B1286FD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0:57.247" v="20"/>
            <ac:picMkLst>
              <pc:docMk/>
              <pc:sldMasterMk cId="2253695231" sldId="2147483754"/>
              <pc:sldLayoutMk cId="403307911" sldId="2147483730"/>
              <ac:picMk id="6" creationId="{C4E5A6FC-48CA-B2BE-B291-7A961D2A49CA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0:57.993" v="21"/>
          <pc:sldLayoutMkLst>
            <pc:docMk/>
            <pc:sldMasterMk cId="2253695231" sldId="2147483754"/>
            <pc:sldLayoutMk cId="3371890454" sldId="2147483744"/>
          </pc:sldLayoutMkLst>
          <pc:spChg chg="mod">
            <ac:chgData name="Hans Gelissen (DHL SSC Maastricht)" userId="1afa8510-4eed-4b73-a29e-678838cd8acd" providerId="ADAL" clId="{FFE3EA4A-5751-4756-84D3-D420262602A2}" dt="2023-06-27T09:40:57.993" v="21"/>
            <ac:spMkLst>
              <pc:docMk/>
              <pc:sldMasterMk cId="2253695231" sldId="2147483754"/>
              <pc:sldLayoutMk cId="3371890454" sldId="2147483744"/>
              <ac:spMk id="6" creationId="{855BA157-5957-0592-C560-683333AE8164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0:57.993" v="21"/>
            <ac:grpSpMkLst>
              <pc:docMk/>
              <pc:sldMasterMk cId="2253695231" sldId="2147483754"/>
              <pc:sldLayoutMk cId="3371890454" sldId="2147483744"/>
              <ac:grpSpMk id="2" creationId="{C336FA3A-B7AB-099E-F8FD-797CC16368B5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46.481" v="18" actId="478"/>
            <ac:grpSpMkLst>
              <pc:docMk/>
              <pc:sldMasterMk cId="2253695231" sldId="2147483754"/>
              <pc:sldLayoutMk cId="3371890454" sldId="2147483744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0:57.993" v="21"/>
            <ac:picMkLst>
              <pc:docMk/>
              <pc:sldMasterMk cId="2253695231" sldId="2147483754"/>
              <pc:sldLayoutMk cId="3371890454" sldId="2147483744"/>
              <ac:picMk id="7" creationId="{FF9A8366-4FB2-C32B-B3A4-012151DA345F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0:57.993" v="21"/>
            <ac:picMkLst>
              <pc:docMk/>
              <pc:sldMasterMk cId="2253695231" sldId="2147483754"/>
              <pc:sldLayoutMk cId="3371890454" sldId="2147483744"/>
              <ac:picMk id="8" creationId="{F2D91402-54BD-3AE2-01D3-76B709F63B6E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0:57.993" v="21"/>
            <ac:picMkLst>
              <pc:docMk/>
              <pc:sldMasterMk cId="2253695231" sldId="2147483754"/>
              <pc:sldLayoutMk cId="3371890454" sldId="2147483744"/>
              <ac:picMk id="9" creationId="{84C5BE80-6E4C-0210-B91D-8EA1592169EC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0:58.533" v="22"/>
          <pc:sldLayoutMkLst>
            <pc:docMk/>
            <pc:sldMasterMk cId="2253695231" sldId="2147483754"/>
            <pc:sldLayoutMk cId="2430525271" sldId="2147483825"/>
          </pc:sldLayoutMkLst>
          <pc:spChg chg="mod">
            <ac:chgData name="Hans Gelissen (DHL SSC Maastricht)" userId="1afa8510-4eed-4b73-a29e-678838cd8acd" providerId="ADAL" clId="{FFE3EA4A-5751-4756-84D3-D420262602A2}" dt="2023-06-27T09:40:58.533" v="22"/>
            <ac:spMkLst>
              <pc:docMk/>
              <pc:sldMasterMk cId="2253695231" sldId="2147483754"/>
              <pc:sldLayoutMk cId="2430525271" sldId="2147483825"/>
              <ac:spMk id="6" creationId="{D4293A89-71EC-11A8-DC72-89EBA25A9F30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0:58.533" v="22"/>
            <ac:grpSpMkLst>
              <pc:docMk/>
              <pc:sldMasterMk cId="2253695231" sldId="2147483754"/>
              <pc:sldLayoutMk cId="2430525271" sldId="2147483825"/>
              <ac:grpSpMk id="2" creationId="{B9799027-6EA8-CB4C-1EFC-C58C27850773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45.500" v="17" actId="478"/>
            <ac:grpSpMkLst>
              <pc:docMk/>
              <pc:sldMasterMk cId="2253695231" sldId="2147483754"/>
              <pc:sldLayoutMk cId="2430525271" sldId="2147483825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0:58.533" v="22"/>
            <ac:picMkLst>
              <pc:docMk/>
              <pc:sldMasterMk cId="2253695231" sldId="2147483754"/>
              <pc:sldLayoutMk cId="2430525271" sldId="2147483825"/>
              <ac:picMk id="7" creationId="{A3FC4284-68E5-5774-C4A2-1E481795AC1B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0:58.533" v="22"/>
            <ac:picMkLst>
              <pc:docMk/>
              <pc:sldMasterMk cId="2253695231" sldId="2147483754"/>
              <pc:sldLayoutMk cId="2430525271" sldId="2147483825"/>
              <ac:picMk id="8" creationId="{E2465156-EEE5-35D6-D909-4402260305D0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0:58.533" v="22"/>
            <ac:picMkLst>
              <pc:docMk/>
              <pc:sldMasterMk cId="2253695231" sldId="2147483754"/>
              <pc:sldLayoutMk cId="2430525271" sldId="2147483825"/>
              <ac:picMk id="9" creationId="{6FC16B14-1EC2-1ECD-8AEB-E85A43593582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01.127" v="23"/>
          <pc:sldLayoutMkLst>
            <pc:docMk/>
            <pc:sldMasterMk cId="2253695231" sldId="2147483754"/>
            <pc:sldLayoutMk cId="1903724941" sldId="2147483826"/>
          </pc:sldLayoutMkLst>
          <pc:spChg chg="mod">
            <ac:chgData name="Hans Gelissen (DHL SSC Maastricht)" userId="1afa8510-4eed-4b73-a29e-678838cd8acd" providerId="ADAL" clId="{FFE3EA4A-5751-4756-84D3-D420262602A2}" dt="2023-06-27T09:41:01.127" v="23"/>
            <ac:spMkLst>
              <pc:docMk/>
              <pc:sldMasterMk cId="2253695231" sldId="2147483754"/>
              <pc:sldLayoutMk cId="1903724941" sldId="2147483826"/>
              <ac:spMk id="6" creationId="{FB5FB3D7-407F-FE5C-33E6-C64639680857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01.127" v="23"/>
            <ac:grpSpMkLst>
              <pc:docMk/>
              <pc:sldMasterMk cId="2253695231" sldId="2147483754"/>
              <pc:sldLayoutMk cId="1903724941" sldId="2147483826"/>
              <ac:grpSpMk id="2" creationId="{FBDA8CAD-F8DF-A5C9-844F-4119211BBAC6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44.337" v="16" actId="478"/>
            <ac:grpSpMkLst>
              <pc:docMk/>
              <pc:sldMasterMk cId="2253695231" sldId="2147483754"/>
              <pc:sldLayoutMk cId="1903724941" sldId="2147483826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01.127" v="23"/>
            <ac:picMkLst>
              <pc:docMk/>
              <pc:sldMasterMk cId="2253695231" sldId="2147483754"/>
              <pc:sldLayoutMk cId="1903724941" sldId="2147483826"/>
              <ac:picMk id="7" creationId="{4A2FAC38-C6E7-D9A1-FCEA-521886C41205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1.127" v="23"/>
            <ac:picMkLst>
              <pc:docMk/>
              <pc:sldMasterMk cId="2253695231" sldId="2147483754"/>
              <pc:sldLayoutMk cId="1903724941" sldId="2147483826"/>
              <ac:picMk id="8" creationId="{F96C571D-757E-6332-BC7D-23240F5143FA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1.127" v="23"/>
            <ac:picMkLst>
              <pc:docMk/>
              <pc:sldMasterMk cId="2253695231" sldId="2147483754"/>
              <pc:sldLayoutMk cId="1903724941" sldId="2147483826"/>
              <ac:picMk id="9" creationId="{51C014F6-D802-D01A-B253-7D966C6075FC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03.529" v="26"/>
          <pc:sldLayoutMkLst>
            <pc:docMk/>
            <pc:sldMasterMk cId="2253695231" sldId="2147483754"/>
            <pc:sldLayoutMk cId="1305642289" sldId="2147483873"/>
          </pc:sldLayoutMkLst>
          <pc:spChg chg="mod">
            <ac:chgData name="Hans Gelissen (DHL SSC Maastricht)" userId="1afa8510-4eed-4b73-a29e-678838cd8acd" providerId="ADAL" clId="{FFE3EA4A-5751-4756-84D3-D420262602A2}" dt="2023-06-27T09:41:03.529" v="26"/>
            <ac:spMkLst>
              <pc:docMk/>
              <pc:sldMasterMk cId="2253695231" sldId="2147483754"/>
              <pc:sldLayoutMk cId="1305642289" sldId="2147483873"/>
              <ac:spMk id="6" creationId="{C66ED331-EFDD-BF28-202A-7018837D5364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03.529" v="26"/>
            <ac:grpSpMkLst>
              <pc:docMk/>
              <pc:sldMasterMk cId="2253695231" sldId="2147483754"/>
              <pc:sldLayoutMk cId="1305642289" sldId="2147483873"/>
              <ac:grpSpMk id="2" creationId="{CCF756BE-7199-7BAF-49F4-21C4C0E2DB60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41.327" v="13" actId="478"/>
            <ac:grpSpMkLst>
              <pc:docMk/>
              <pc:sldMasterMk cId="2253695231" sldId="2147483754"/>
              <pc:sldLayoutMk cId="1305642289" sldId="2147483873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03.529" v="26"/>
            <ac:picMkLst>
              <pc:docMk/>
              <pc:sldMasterMk cId="2253695231" sldId="2147483754"/>
              <pc:sldLayoutMk cId="1305642289" sldId="2147483873"/>
              <ac:picMk id="7" creationId="{9EDBFFB8-79CE-B61E-5991-55BF6759B8AC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3.529" v="26"/>
            <ac:picMkLst>
              <pc:docMk/>
              <pc:sldMasterMk cId="2253695231" sldId="2147483754"/>
              <pc:sldLayoutMk cId="1305642289" sldId="2147483873"/>
              <ac:picMk id="8" creationId="{A3153C1B-795A-FDFD-A73A-08F0993E2CEB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3.529" v="26"/>
            <ac:picMkLst>
              <pc:docMk/>
              <pc:sldMasterMk cId="2253695231" sldId="2147483754"/>
              <pc:sldLayoutMk cId="1305642289" sldId="2147483873"/>
              <ac:picMk id="9" creationId="{231F64D5-1394-D46A-D433-ECC0DB9D74D2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01.853" v="24"/>
          <pc:sldLayoutMkLst>
            <pc:docMk/>
            <pc:sldMasterMk cId="2253695231" sldId="2147483754"/>
            <pc:sldLayoutMk cId="3769672236" sldId="2147483874"/>
          </pc:sldLayoutMkLst>
          <pc:spChg chg="mod">
            <ac:chgData name="Hans Gelissen (DHL SSC Maastricht)" userId="1afa8510-4eed-4b73-a29e-678838cd8acd" providerId="ADAL" clId="{FFE3EA4A-5751-4756-84D3-D420262602A2}" dt="2023-06-27T09:41:01.853" v="24"/>
            <ac:spMkLst>
              <pc:docMk/>
              <pc:sldMasterMk cId="2253695231" sldId="2147483754"/>
              <pc:sldLayoutMk cId="3769672236" sldId="2147483874"/>
              <ac:spMk id="6" creationId="{44374F82-90CE-79D0-6D60-DD6AA4E7D159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01.853" v="24"/>
            <ac:grpSpMkLst>
              <pc:docMk/>
              <pc:sldMasterMk cId="2253695231" sldId="2147483754"/>
              <pc:sldLayoutMk cId="3769672236" sldId="2147483874"/>
              <ac:grpSpMk id="2" creationId="{34A3DC74-168B-4A1A-BFED-B729AC6D5DC3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43.371" v="15" actId="478"/>
            <ac:grpSpMkLst>
              <pc:docMk/>
              <pc:sldMasterMk cId="2253695231" sldId="2147483754"/>
              <pc:sldLayoutMk cId="3769672236" sldId="2147483874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01.853" v="24"/>
            <ac:picMkLst>
              <pc:docMk/>
              <pc:sldMasterMk cId="2253695231" sldId="2147483754"/>
              <pc:sldLayoutMk cId="3769672236" sldId="2147483874"/>
              <ac:picMk id="7" creationId="{FFAC3D44-4F90-EBDF-E558-CC0E4D3D1333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1.853" v="24"/>
            <ac:picMkLst>
              <pc:docMk/>
              <pc:sldMasterMk cId="2253695231" sldId="2147483754"/>
              <pc:sldLayoutMk cId="3769672236" sldId="2147483874"/>
              <ac:picMk id="8" creationId="{DEAF24F3-BC55-0DF4-4DF6-A260E44D246F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1.853" v="24"/>
            <ac:picMkLst>
              <pc:docMk/>
              <pc:sldMasterMk cId="2253695231" sldId="2147483754"/>
              <pc:sldLayoutMk cId="3769672236" sldId="2147483874"/>
              <ac:picMk id="9" creationId="{F9DBD154-EA3B-CE41-C255-A8F5C6195D2F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05.751" v="27"/>
          <pc:sldLayoutMkLst>
            <pc:docMk/>
            <pc:sldMasterMk cId="2253695231" sldId="2147483754"/>
            <pc:sldLayoutMk cId="3655209364" sldId="2147483875"/>
          </pc:sldLayoutMkLst>
          <pc:spChg chg="mod">
            <ac:chgData name="Hans Gelissen (DHL SSC Maastricht)" userId="1afa8510-4eed-4b73-a29e-678838cd8acd" providerId="ADAL" clId="{FFE3EA4A-5751-4756-84D3-D420262602A2}" dt="2023-06-27T09:41:05.751" v="27"/>
            <ac:spMkLst>
              <pc:docMk/>
              <pc:sldMasterMk cId="2253695231" sldId="2147483754"/>
              <pc:sldLayoutMk cId="3655209364" sldId="2147483875"/>
              <ac:spMk id="6" creationId="{82312192-C21D-5A38-DF00-CC89E2C8C9E0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05.751" v="27"/>
            <ac:grpSpMkLst>
              <pc:docMk/>
              <pc:sldMasterMk cId="2253695231" sldId="2147483754"/>
              <pc:sldLayoutMk cId="3655209364" sldId="2147483875"/>
              <ac:grpSpMk id="2" creationId="{27FB218A-2F21-138D-8DD9-0902D284147C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40.348" v="12" actId="478"/>
            <ac:grpSpMkLst>
              <pc:docMk/>
              <pc:sldMasterMk cId="2253695231" sldId="2147483754"/>
              <pc:sldLayoutMk cId="3655209364" sldId="2147483875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05.751" v="27"/>
            <ac:picMkLst>
              <pc:docMk/>
              <pc:sldMasterMk cId="2253695231" sldId="2147483754"/>
              <pc:sldLayoutMk cId="3655209364" sldId="2147483875"/>
              <ac:picMk id="7" creationId="{8FC4F19C-28FF-856C-EE0C-2C82D9872322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5.751" v="27"/>
            <ac:picMkLst>
              <pc:docMk/>
              <pc:sldMasterMk cId="2253695231" sldId="2147483754"/>
              <pc:sldLayoutMk cId="3655209364" sldId="2147483875"/>
              <ac:picMk id="8" creationId="{9EB065D5-8989-F3E4-2A5A-F663B15C6B50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5.751" v="27"/>
            <ac:picMkLst>
              <pc:docMk/>
              <pc:sldMasterMk cId="2253695231" sldId="2147483754"/>
              <pc:sldLayoutMk cId="3655209364" sldId="2147483875"/>
              <ac:picMk id="9" creationId="{332F0898-1757-D61D-4FA3-B2164C5A0D80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02.704" v="25"/>
          <pc:sldLayoutMkLst>
            <pc:docMk/>
            <pc:sldMasterMk cId="2253695231" sldId="2147483754"/>
            <pc:sldLayoutMk cId="2728743336" sldId="2147483876"/>
          </pc:sldLayoutMkLst>
          <pc:spChg chg="mod">
            <ac:chgData name="Hans Gelissen (DHL SSC Maastricht)" userId="1afa8510-4eed-4b73-a29e-678838cd8acd" providerId="ADAL" clId="{FFE3EA4A-5751-4756-84D3-D420262602A2}" dt="2023-06-27T09:41:02.704" v="25"/>
            <ac:spMkLst>
              <pc:docMk/>
              <pc:sldMasterMk cId="2253695231" sldId="2147483754"/>
              <pc:sldLayoutMk cId="2728743336" sldId="2147483876"/>
              <ac:spMk id="6" creationId="{685E0731-6B29-DFB5-F662-4E0D385C283C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02.704" v="25"/>
            <ac:grpSpMkLst>
              <pc:docMk/>
              <pc:sldMasterMk cId="2253695231" sldId="2147483754"/>
              <pc:sldLayoutMk cId="2728743336" sldId="2147483876"/>
              <ac:grpSpMk id="2" creationId="{7917B1DB-CCDE-DE6B-ABF8-E9142ED4EF16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42.530" v="14" actId="478"/>
            <ac:grpSpMkLst>
              <pc:docMk/>
              <pc:sldMasterMk cId="2253695231" sldId="2147483754"/>
              <pc:sldLayoutMk cId="2728743336" sldId="2147483876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02.704" v="25"/>
            <ac:picMkLst>
              <pc:docMk/>
              <pc:sldMasterMk cId="2253695231" sldId="2147483754"/>
              <pc:sldLayoutMk cId="2728743336" sldId="2147483876"/>
              <ac:picMk id="7" creationId="{2A51A370-2F57-ACA3-154F-D301CEFF85A0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2.704" v="25"/>
            <ac:picMkLst>
              <pc:docMk/>
              <pc:sldMasterMk cId="2253695231" sldId="2147483754"/>
              <pc:sldLayoutMk cId="2728743336" sldId="2147483876"/>
              <ac:picMk id="8" creationId="{5901161B-ADC7-D676-59B1-5922FF83B3E2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2.704" v="25"/>
            <ac:picMkLst>
              <pc:docMk/>
              <pc:sldMasterMk cId="2253695231" sldId="2147483754"/>
              <pc:sldLayoutMk cId="2728743336" sldId="2147483876"/>
              <ac:picMk id="9" creationId="{133707B1-1802-C139-D6E6-4C65BDD62AC2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06.503" v="28"/>
          <pc:sldLayoutMkLst>
            <pc:docMk/>
            <pc:sldMasterMk cId="2253695231" sldId="2147483754"/>
            <pc:sldLayoutMk cId="2511530909" sldId="2147483924"/>
          </pc:sldLayoutMkLst>
          <pc:spChg chg="mod">
            <ac:chgData name="Hans Gelissen (DHL SSC Maastricht)" userId="1afa8510-4eed-4b73-a29e-678838cd8acd" providerId="ADAL" clId="{FFE3EA4A-5751-4756-84D3-D420262602A2}" dt="2023-06-27T09:41:06.503" v="28"/>
            <ac:spMkLst>
              <pc:docMk/>
              <pc:sldMasterMk cId="2253695231" sldId="2147483754"/>
              <pc:sldLayoutMk cId="2511530909" sldId="2147483924"/>
              <ac:spMk id="6" creationId="{A7FBC60D-D7BE-46CF-AD08-2CE383B04146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06.503" v="28"/>
            <ac:grpSpMkLst>
              <pc:docMk/>
              <pc:sldMasterMk cId="2253695231" sldId="2147483754"/>
              <pc:sldLayoutMk cId="2511530909" sldId="2147483924"/>
              <ac:grpSpMk id="2" creationId="{D7AA3B0F-9E4A-817B-0854-F579AB88E04C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39.183" v="11" actId="478"/>
            <ac:grpSpMkLst>
              <pc:docMk/>
              <pc:sldMasterMk cId="2253695231" sldId="2147483754"/>
              <pc:sldLayoutMk cId="2511530909" sldId="2147483924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06.503" v="28"/>
            <ac:picMkLst>
              <pc:docMk/>
              <pc:sldMasterMk cId="2253695231" sldId="2147483754"/>
              <pc:sldLayoutMk cId="2511530909" sldId="2147483924"/>
              <ac:picMk id="7" creationId="{2C5D944E-EC43-AE24-9CC9-D2C228BAFB06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6.503" v="28"/>
            <ac:picMkLst>
              <pc:docMk/>
              <pc:sldMasterMk cId="2253695231" sldId="2147483754"/>
              <pc:sldLayoutMk cId="2511530909" sldId="2147483924"/>
              <ac:picMk id="8" creationId="{081F39A0-5EB4-077C-0B9C-10AC02077980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6.503" v="28"/>
            <ac:picMkLst>
              <pc:docMk/>
              <pc:sldMasterMk cId="2253695231" sldId="2147483754"/>
              <pc:sldLayoutMk cId="2511530909" sldId="2147483924"/>
              <ac:picMk id="9" creationId="{4F06F830-EC7A-8869-5132-C01F19F751CA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07.349" v="29"/>
          <pc:sldLayoutMkLst>
            <pc:docMk/>
            <pc:sldMasterMk cId="2253695231" sldId="2147483754"/>
            <pc:sldLayoutMk cId="1611940501" sldId="2147483925"/>
          </pc:sldLayoutMkLst>
          <pc:spChg chg="mod">
            <ac:chgData name="Hans Gelissen (DHL SSC Maastricht)" userId="1afa8510-4eed-4b73-a29e-678838cd8acd" providerId="ADAL" clId="{FFE3EA4A-5751-4756-84D3-D420262602A2}" dt="2023-06-27T09:41:07.349" v="29"/>
            <ac:spMkLst>
              <pc:docMk/>
              <pc:sldMasterMk cId="2253695231" sldId="2147483754"/>
              <pc:sldLayoutMk cId="1611940501" sldId="2147483925"/>
              <ac:spMk id="6" creationId="{2619D999-1F7E-D5C5-92DF-116741FBBB41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07.349" v="29"/>
            <ac:grpSpMkLst>
              <pc:docMk/>
              <pc:sldMasterMk cId="2253695231" sldId="2147483754"/>
              <pc:sldLayoutMk cId="1611940501" sldId="2147483925"/>
              <ac:grpSpMk id="2" creationId="{ADCBC4F1-0CBB-EEF7-C441-FAEB0E27FC1C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38.075" v="10" actId="478"/>
            <ac:grpSpMkLst>
              <pc:docMk/>
              <pc:sldMasterMk cId="2253695231" sldId="2147483754"/>
              <pc:sldLayoutMk cId="1611940501" sldId="2147483925"/>
              <ac:grpSpMk id="7" creationId="{18928F4B-E0D4-E527-71AA-CEFD261C5339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07.349" v="29"/>
            <ac:picMkLst>
              <pc:docMk/>
              <pc:sldMasterMk cId="2253695231" sldId="2147483754"/>
              <pc:sldLayoutMk cId="1611940501" sldId="2147483925"/>
              <ac:picMk id="56" creationId="{6561DDBC-AD1B-9280-3570-9E126C0F1868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7.349" v="29"/>
            <ac:picMkLst>
              <pc:docMk/>
              <pc:sldMasterMk cId="2253695231" sldId="2147483754"/>
              <pc:sldLayoutMk cId="1611940501" sldId="2147483925"/>
              <ac:picMk id="57" creationId="{A308CA03-E425-B12F-B2A2-C3041EE3ACED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7.349" v="29"/>
            <ac:picMkLst>
              <pc:docMk/>
              <pc:sldMasterMk cId="2253695231" sldId="2147483754"/>
              <pc:sldLayoutMk cId="1611940501" sldId="2147483925"/>
              <ac:picMk id="58" creationId="{A7F9BC1E-679B-B477-E0A3-5EECEBE6B2D2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08.220" v="30"/>
          <pc:sldLayoutMkLst>
            <pc:docMk/>
            <pc:sldMasterMk cId="2253695231" sldId="2147483754"/>
            <pc:sldLayoutMk cId="1824327113" sldId="2147483926"/>
          </pc:sldLayoutMkLst>
          <pc:spChg chg="mod">
            <ac:chgData name="Hans Gelissen (DHL SSC Maastricht)" userId="1afa8510-4eed-4b73-a29e-678838cd8acd" providerId="ADAL" clId="{FFE3EA4A-5751-4756-84D3-D420262602A2}" dt="2023-06-27T09:41:08.220" v="30"/>
            <ac:spMkLst>
              <pc:docMk/>
              <pc:sldMasterMk cId="2253695231" sldId="2147483754"/>
              <pc:sldLayoutMk cId="1824327113" sldId="2147483926"/>
              <ac:spMk id="6" creationId="{AAF7976B-D642-BEFD-3680-1933AB9A5D06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08.220" v="30"/>
            <ac:grpSpMkLst>
              <pc:docMk/>
              <pc:sldMasterMk cId="2253695231" sldId="2147483754"/>
              <pc:sldLayoutMk cId="1824327113" sldId="2147483926"/>
              <ac:grpSpMk id="2" creationId="{C2A1260F-9632-2A62-8FAD-995CFC250AE3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36.586" v="9" actId="478"/>
            <ac:grpSpMkLst>
              <pc:docMk/>
              <pc:sldMasterMk cId="2253695231" sldId="2147483754"/>
              <pc:sldLayoutMk cId="1824327113" sldId="2147483926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08.220" v="30"/>
            <ac:picMkLst>
              <pc:docMk/>
              <pc:sldMasterMk cId="2253695231" sldId="2147483754"/>
              <pc:sldLayoutMk cId="1824327113" sldId="2147483926"/>
              <ac:picMk id="7" creationId="{6395B620-FDA5-30AA-F50D-56A631848B8D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8.220" v="30"/>
            <ac:picMkLst>
              <pc:docMk/>
              <pc:sldMasterMk cId="2253695231" sldId="2147483754"/>
              <pc:sldLayoutMk cId="1824327113" sldId="2147483926"/>
              <ac:picMk id="8" creationId="{FD95D600-7E66-0DD3-0324-0BE9DDF82260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08.220" v="30"/>
            <ac:picMkLst>
              <pc:docMk/>
              <pc:sldMasterMk cId="2253695231" sldId="2147483754"/>
              <pc:sldLayoutMk cId="1824327113" sldId="2147483926"/>
              <ac:picMk id="9" creationId="{71168528-A003-0AE1-C5E6-4FD236A48A28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10.287" v="31"/>
          <pc:sldLayoutMkLst>
            <pc:docMk/>
            <pc:sldMasterMk cId="2253695231" sldId="2147483754"/>
            <pc:sldLayoutMk cId="3938857042" sldId="2147483927"/>
          </pc:sldLayoutMkLst>
          <pc:spChg chg="mod">
            <ac:chgData name="Hans Gelissen (DHL SSC Maastricht)" userId="1afa8510-4eed-4b73-a29e-678838cd8acd" providerId="ADAL" clId="{FFE3EA4A-5751-4756-84D3-D420262602A2}" dt="2023-06-27T09:41:10.287" v="31"/>
            <ac:spMkLst>
              <pc:docMk/>
              <pc:sldMasterMk cId="2253695231" sldId="2147483754"/>
              <pc:sldLayoutMk cId="3938857042" sldId="2147483927"/>
              <ac:spMk id="6" creationId="{5AD8EB35-4A07-B7B0-504C-5D3883953B22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10.287" v="31"/>
            <ac:grpSpMkLst>
              <pc:docMk/>
              <pc:sldMasterMk cId="2253695231" sldId="2147483754"/>
              <pc:sldLayoutMk cId="3938857042" sldId="2147483927"/>
              <ac:grpSpMk id="2" creationId="{382AED34-FD87-16C6-00BB-DD7BE3E24E37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34.440" v="8" actId="478"/>
            <ac:grpSpMkLst>
              <pc:docMk/>
              <pc:sldMasterMk cId="2253695231" sldId="2147483754"/>
              <pc:sldLayoutMk cId="3938857042" sldId="2147483927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10.287" v="31"/>
            <ac:picMkLst>
              <pc:docMk/>
              <pc:sldMasterMk cId="2253695231" sldId="2147483754"/>
              <pc:sldLayoutMk cId="3938857042" sldId="2147483927"/>
              <ac:picMk id="7" creationId="{0B206F93-8BCF-5435-C4C0-854CB303EF0B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10.287" v="31"/>
            <ac:picMkLst>
              <pc:docMk/>
              <pc:sldMasterMk cId="2253695231" sldId="2147483754"/>
              <pc:sldLayoutMk cId="3938857042" sldId="2147483927"/>
              <ac:picMk id="8" creationId="{047EEAE2-AA2A-1F0D-2320-8A617A837806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10.287" v="31"/>
            <ac:picMkLst>
              <pc:docMk/>
              <pc:sldMasterMk cId="2253695231" sldId="2147483754"/>
              <pc:sldLayoutMk cId="3938857042" sldId="2147483927"/>
              <ac:picMk id="9" creationId="{A6DA816C-46D5-922C-B0BC-6752B7905944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0:18.479" v="4" actId="14429"/>
          <pc:sldLayoutMkLst>
            <pc:docMk/>
            <pc:sldMasterMk cId="2253695231" sldId="2147483754"/>
            <pc:sldLayoutMk cId="1977547776" sldId="2147483928"/>
          </pc:sldLayoutMkLst>
          <pc:spChg chg="add mod">
            <ac:chgData name="Hans Gelissen (DHL SSC Maastricht)" userId="1afa8510-4eed-4b73-a29e-678838cd8acd" providerId="ADAL" clId="{FFE3EA4A-5751-4756-84D3-D420262602A2}" dt="2023-06-27T09:39:54.167" v="0"/>
            <ac:spMkLst>
              <pc:docMk/>
              <pc:sldMasterMk cId="2253695231" sldId="2147483754"/>
              <pc:sldLayoutMk cId="1977547776" sldId="2147483928"/>
              <ac:spMk id="6" creationId="{7F0A5D73-5526-440B-2C11-AE1BC42C3E80}"/>
            </ac:spMkLst>
          </pc:spChg>
          <pc:grpChg chg="add mod modVis">
            <ac:chgData name="Hans Gelissen (DHL SSC Maastricht)" userId="1afa8510-4eed-4b73-a29e-678838cd8acd" providerId="ADAL" clId="{FFE3EA4A-5751-4756-84D3-D420262602A2}" dt="2023-06-27T09:40:18.479" v="4" actId="14429"/>
            <ac:grpSpMkLst>
              <pc:docMk/>
              <pc:sldMasterMk cId="2253695231" sldId="2147483754"/>
              <pc:sldLayoutMk cId="1977547776" sldId="2147483928"/>
              <ac:grpSpMk id="2" creationId="{0288C8FB-13C9-99FB-B01C-DC4395A3BA6A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16.728" v="3" actId="478"/>
            <ac:grpSpMkLst>
              <pc:docMk/>
              <pc:sldMasterMk cId="2253695231" sldId="2147483754"/>
              <pc:sldLayoutMk cId="1977547776" sldId="2147483928"/>
              <ac:grpSpMk id="65" creationId="{1BDED68A-58CE-477A-8081-6078BF2E6B86}"/>
            </ac:grpSpMkLst>
          </pc:grpChg>
          <pc:picChg chg="add mod">
            <ac:chgData name="Hans Gelissen (DHL SSC Maastricht)" userId="1afa8510-4eed-4b73-a29e-678838cd8acd" providerId="ADAL" clId="{FFE3EA4A-5751-4756-84D3-D420262602A2}" dt="2023-06-27T09:39:54.167" v="0"/>
            <ac:picMkLst>
              <pc:docMk/>
              <pc:sldMasterMk cId="2253695231" sldId="2147483754"/>
              <pc:sldLayoutMk cId="1977547776" sldId="2147483928"/>
              <ac:picMk id="7" creationId="{6E53A130-1D8C-D2D0-CF39-EC03D3479518}"/>
            </ac:picMkLst>
          </pc:picChg>
          <pc:picChg chg="add mod">
            <ac:chgData name="Hans Gelissen (DHL SSC Maastricht)" userId="1afa8510-4eed-4b73-a29e-678838cd8acd" providerId="ADAL" clId="{FFE3EA4A-5751-4756-84D3-D420262602A2}" dt="2023-06-27T09:39:54.167" v="0"/>
            <ac:picMkLst>
              <pc:docMk/>
              <pc:sldMasterMk cId="2253695231" sldId="2147483754"/>
              <pc:sldLayoutMk cId="1977547776" sldId="2147483928"/>
              <ac:picMk id="8" creationId="{E8F2A838-40E6-8577-AE70-F1CD20FC2A14}"/>
            </ac:picMkLst>
          </pc:picChg>
          <pc:picChg chg="add mod">
            <ac:chgData name="Hans Gelissen (DHL SSC Maastricht)" userId="1afa8510-4eed-4b73-a29e-678838cd8acd" providerId="ADAL" clId="{FFE3EA4A-5751-4756-84D3-D420262602A2}" dt="2023-06-27T09:39:54.167" v="0"/>
            <ac:picMkLst>
              <pc:docMk/>
              <pc:sldMasterMk cId="2253695231" sldId="2147483754"/>
              <pc:sldLayoutMk cId="1977547776" sldId="2147483928"/>
              <ac:picMk id="9" creationId="{37D80520-0709-236C-C671-6FD145FDD001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12.895" v="33"/>
          <pc:sldLayoutMkLst>
            <pc:docMk/>
            <pc:sldMasterMk cId="2253695231" sldId="2147483754"/>
            <pc:sldLayoutMk cId="2904998504" sldId="2147483974"/>
          </pc:sldLayoutMkLst>
          <pc:spChg chg="mod">
            <ac:chgData name="Hans Gelissen (DHL SSC Maastricht)" userId="1afa8510-4eed-4b73-a29e-678838cd8acd" providerId="ADAL" clId="{FFE3EA4A-5751-4756-84D3-D420262602A2}" dt="2023-06-27T09:41:12.895" v="33"/>
            <ac:spMkLst>
              <pc:docMk/>
              <pc:sldMasterMk cId="2253695231" sldId="2147483754"/>
              <pc:sldLayoutMk cId="2904998504" sldId="2147483974"/>
              <ac:spMk id="6" creationId="{81FF3117-18D9-2004-9076-4DD98FED781D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12.895" v="33"/>
            <ac:grpSpMkLst>
              <pc:docMk/>
              <pc:sldMasterMk cId="2253695231" sldId="2147483754"/>
              <pc:sldLayoutMk cId="2904998504" sldId="2147483974"/>
              <ac:grpSpMk id="2" creationId="{0244AA86-EEC2-ADC0-0A59-6F5C9F6530E0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24.818" v="6" actId="478"/>
            <ac:grpSpMkLst>
              <pc:docMk/>
              <pc:sldMasterMk cId="2253695231" sldId="2147483754"/>
              <pc:sldLayoutMk cId="2904998504" sldId="2147483974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12.895" v="33"/>
            <ac:picMkLst>
              <pc:docMk/>
              <pc:sldMasterMk cId="2253695231" sldId="2147483754"/>
              <pc:sldLayoutMk cId="2904998504" sldId="2147483974"/>
              <ac:picMk id="7" creationId="{13DA747D-119F-D7F4-44CA-DD4BBAE9083E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12.895" v="33"/>
            <ac:picMkLst>
              <pc:docMk/>
              <pc:sldMasterMk cId="2253695231" sldId="2147483754"/>
              <pc:sldLayoutMk cId="2904998504" sldId="2147483974"/>
              <ac:picMk id="8" creationId="{9D33C00D-6125-5FEB-B47F-CB11D713C228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12.895" v="33"/>
            <ac:picMkLst>
              <pc:docMk/>
              <pc:sldMasterMk cId="2253695231" sldId="2147483754"/>
              <pc:sldLayoutMk cId="2904998504" sldId="2147483974"/>
              <ac:picMk id="9" creationId="{3CBAD602-56FC-3C8E-19AD-1DFB61B703A3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13.563" v="34"/>
          <pc:sldLayoutMkLst>
            <pc:docMk/>
            <pc:sldMasterMk cId="2253695231" sldId="2147483754"/>
            <pc:sldLayoutMk cId="40428502" sldId="2147483975"/>
          </pc:sldLayoutMkLst>
          <pc:spChg chg="mod">
            <ac:chgData name="Hans Gelissen (DHL SSC Maastricht)" userId="1afa8510-4eed-4b73-a29e-678838cd8acd" providerId="ADAL" clId="{FFE3EA4A-5751-4756-84D3-D420262602A2}" dt="2023-06-27T09:41:13.563" v="34"/>
            <ac:spMkLst>
              <pc:docMk/>
              <pc:sldMasterMk cId="2253695231" sldId="2147483754"/>
              <pc:sldLayoutMk cId="40428502" sldId="2147483975"/>
              <ac:spMk id="6" creationId="{E1AD97BE-14EC-3548-0245-3559C18A80D8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13.563" v="34"/>
            <ac:grpSpMkLst>
              <pc:docMk/>
              <pc:sldMasterMk cId="2253695231" sldId="2147483754"/>
              <pc:sldLayoutMk cId="40428502" sldId="2147483975"/>
              <ac:grpSpMk id="2" creationId="{C9A85DBB-5DA0-13F1-4488-1F3C3CDB5AF9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26.274" v="7" actId="478"/>
            <ac:grpSpMkLst>
              <pc:docMk/>
              <pc:sldMasterMk cId="2253695231" sldId="2147483754"/>
              <pc:sldLayoutMk cId="40428502" sldId="2147483975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13.563" v="34"/>
            <ac:picMkLst>
              <pc:docMk/>
              <pc:sldMasterMk cId="2253695231" sldId="2147483754"/>
              <pc:sldLayoutMk cId="40428502" sldId="2147483975"/>
              <ac:picMk id="7" creationId="{FBCEE034-936D-AB3C-1F0B-531D49F4117E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13.563" v="34"/>
            <ac:picMkLst>
              <pc:docMk/>
              <pc:sldMasterMk cId="2253695231" sldId="2147483754"/>
              <pc:sldLayoutMk cId="40428502" sldId="2147483975"/>
              <ac:picMk id="8" creationId="{5EC26770-B942-3563-D19F-DC629E660D68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13.563" v="34"/>
            <ac:picMkLst>
              <pc:docMk/>
              <pc:sldMasterMk cId="2253695231" sldId="2147483754"/>
              <pc:sldLayoutMk cId="40428502" sldId="2147483975"/>
              <ac:picMk id="9" creationId="{2BDF2428-4E58-D4BD-0F6C-DDFA2C362A82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12.159" v="32"/>
          <pc:sldLayoutMkLst>
            <pc:docMk/>
            <pc:sldMasterMk cId="2253695231" sldId="2147483754"/>
            <pc:sldLayoutMk cId="2180802559" sldId="2147483976"/>
          </pc:sldLayoutMkLst>
          <pc:spChg chg="mod">
            <ac:chgData name="Hans Gelissen (DHL SSC Maastricht)" userId="1afa8510-4eed-4b73-a29e-678838cd8acd" providerId="ADAL" clId="{FFE3EA4A-5751-4756-84D3-D420262602A2}" dt="2023-06-27T09:41:12.159" v="32"/>
            <ac:spMkLst>
              <pc:docMk/>
              <pc:sldMasterMk cId="2253695231" sldId="2147483754"/>
              <pc:sldLayoutMk cId="2180802559" sldId="2147483976"/>
              <ac:spMk id="6" creationId="{B56913A3-BA7E-6BE4-6A0A-8C4B54EDBC27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12.159" v="32"/>
            <ac:grpSpMkLst>
              <pc:docMk/>
              <pc:sldMasterMk cId="2253695231" sldId="2147483754"/>
              <pc:sldLayoutMk cId="2180802559" sldId="2147483976"/>
              <ac:grpSpMk id="2" creationId="{412EBAA3-BA6D-F846-2D1A-906F6820B57F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0:23.602" v="5" actId="478"/>
            <ac:grpSpMkLst>
              <pc:docMk/>
              <pc:sldMasterMk cId="2253695231" sldId="2147483754"/>
              <pc:sldLayoutMk cId="2180802559" sldId="2147483976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12.159" v="32"/>
            <ac:picMkLst>
              <pc:docMk/>
              <pc:sldMasterMk cId="2253695231" sldId="2147483754"/>
              <pc:sldLayoutMk cId="2180802559" sldId="2147483976"/>
              <ac:picMk id="7" creationId="{F1BC377F-3DD7-2400-EED5-76A6FF75CDF2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12.159" v="32"/>
            <ac:picMkLst>
              <pc:docMk/>
              <pc:sldMasterMk cId="2253695231" sldId="2147483754"/>
              <pc:sldLayoutMk cId="2180802559" sldId="2147483976"/>
              <ac:picMk id="8" creationId="{BFF288A9-133F-E4F0-5961-058609877BEB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12.159" v="32"/>
            <ac:picMkLst>
              <pc:docMk/>
              <pc:sldMasterMk cId="2253695231" sldId="2147483754"/>
              <pc:sldLayoutMk cId="2180802559" sldId="2147483976"/>
              <ac:picMk id="9" creationId="{79939A08-D4BE-8251-2D04-79EA9A929AD7}"/>
            </ac:picMkLst>
          </pc:picChg>
        </pc:sldLayoutChg>
      </pc:sldMasterChg>
      <pc:sldMasterChg chg="modSldLayout">
        <pc:chgData name="Hans Gelissen (DHL SSC Maastricht)" userId="1afa8510-4eed-4b73-a29e-678838cd8acd" providerId="ADAL" clId="{FFE3EA4A-5751-4756-84D3-D420262602A2}" dt="2023-06-27T09:41:56.105" v="66"/>
        <pc:sldMasterMkLst>
          <pc:docMk/>
          <pc:sldMasterMk cId="2791372136" sldId="2147483777"/>
        </pc:sldMasterMkLst>
        <pc:sldLayoutChg chg="addSp delSp modSp mod">
          <pc:chgData name="Hans Gelissen (DHL SSC Maastricht)" userId="1afa8510-4eed-4b73-a29e-678838cd8acd" providerId="ADAL" clId="{FFE3EA4A-5751-4756-84D3-D420262602A2}" dt="2023-06-27T09:41:41.078" v="51"/>
          <pc:sldLayoutMkLst>
            <pc:docMk/>
            <pc:sldMasterMk cId="2791372136" sldId="2147483777"/>
            <pc:sldLayoutMk cId="1312088382" sldId="2147483778"/>
          </pc:sldLayoutMkLst>
          <pc:spChg chg="mod">
            <ac:chgData name="Hans Gelissen (DHL SSC Maastricht)" userId="1afa8510-4eed-4b73-a29e-678838cd8acd" providerId="ADAL" clId="{FFE3EA4A-5751-4756-84D3-D420262602A2}" dt="2023-06-27T09:41:41.078" v="51"/>
            <ac:spMkLst>
              <pc:docMk/>
              <pc:sldMasterMk cId="2791372136" sldId="2147483777"/>
              <pc:sldLayoutMk cId="1312088382" sldId="2147483778"/>
              <ac:spMk id="3" creationId="{553F0F95-5043-7E15-8F52-4AAA88A94178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41.078" v="51"/>
            <ac:grpSpMkLst>
              <pc:docMk/>
              <pc:sldMasterMk cId="2791372136" sldId="2147483777"/>
              <pc:sldLayoutMk cId="1312088382" sldId="2147483778"/>
              <ac:grpSpMk id="2" creationId="{EAC6EF58-E0B6-98C2-2DE2-7785A3A40306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37.846" v="50" actId="478"/>
            <ac:grpSpMkLst>
              <pc:docMk/>
              <pc:sldMasterMk cId="2791372136" sldId="2147483777"/>
              <pc:sldLayoutMk cId="1312088382" sldId="2147483778"/>
              <ac:grpSpMk id="19" creationId="{415A3D1A-37E6-49DF-9012-F8D327340F2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41.078" v="51"/>
            <ac:picMkLst>
              <pc:docMk/>
              <pc:sldMasterMk cId="2791372136" sldId="2147483777"/>
              <pc:sldLayoutMk cId="1312088382" sldId="2147483778"/>
              <ac:picMk id="4" creationId="{E86A0F56-76DD-3925-258E-677FFD583370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1.078" v="51"/>
            <ac:picMkLst>
              <pc:docMk/>
              <pc:sldMasterMk cId="2791372136" sldId="2147483777"/>
              <pc:sldLayoutMk cId="1312088382" sldId="2147483778"/>
              <ac:picMk id="5" creationId="{4C8E1002-BB54-770E-1276-F988CBEBE766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1.078" v="51"/>
            <ac:picMkLst>
              <pc:docMk/>
              <pc:sldMasterMk cId="2791372136" sldId="2147483777"/>
              <pc:sldLayoutMk cId="1312088382" sldId="2147483778"/>
              <ac:picMk id="6" creationId="{1E0AFE34-A6F5-4A57-5835-FB18CC677224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41.837" v="52"/>
          <pc:sldLayoutMkLst>
            <pc:docMk/>
            <pc:sldMasterMk cId="2791372136" sldId="2147483777"/>
            <pc:sldLayoutMk cId="1377313598" sldId="2147483779"/>
          </pc:sldLayoutMkLst>
          <pc:spChg chg="mod">
            <ac:chgData name="Hans Gelissen (DHL SSC Maastricht)" userId="1afa8510-4eed-4b73-a29e-678838cd8acd" providerId="ADAL" clId="{FFE3EA4A-5751-4756-84D3-D420262602A2}" dt="2023-06-27T09:41:41.837" v="52"/>
            <ac:spMkLst>
              <pc:docMk/>
              <pc:sldMasterMk cId="2791372136" sldId="2147483777"/>
              <pc:sldLayoutMk cId="1377313598" sldId="2147483779"/>
              <ac:spMk id="3" creationId="{4035C2A9-E0F4-3FAA-01E6-CB8DB7126CE4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41.837" v="52"/>
            <ac:grpSpMkLst>
              <pc:docMk/>
              <pc:sldMasterMk cId="2791372136" sldId="2147483777"/>
              <pc:sldLayoutMk cId="1377313598" sldId="2147483779"/>
              <ac:grpSpMk id="2" creationId="{ADFD624A-9C50-239E-C273-9C5585DE0231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36.735" v="49" actId="478"/>
            <ac:grpSpMkLst>
              <pc:docMk/>
              <pc:sldMasterMk cId="2791372136" sldId="2147483777"/>
              <pc:sldLayoutMk cId="1377313598" sldId="2147483779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41.837" v="52"/>
            <ac:picMkLst>
              <pc:docMk/>
              <pc:sldMasterMk cId="2791372136" sldId="2147483777"/>
              <pc:sldLayoutMk cId="1377313598" sldId="2147483779"/>
              <ac:picMk id="4" creationId="{287080A8-F1FD-BF82-2AEC-79D6D48719CC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1.837" v="52"/>
            <ac:picMkLst>
              <pc:docMk/>
              <pc:sldMasterMk cId="2791372136" sldId="2147483777"/>
              <pc:sldLayoutMk cId="1377313598" sldId="2147483779"/>
              <ac:picMk id="5" creationId="{4B43514C-C56E-2BAC-1F73-915EFFDC1197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1.837" v="52"/>
            <ac:picMkLst>
              <pc:docMk/>
              <pc:sldMasterMk cId="2791372136" sldId="2147483777"/>
              <pc:sldLayoutMk cId="1377313598" sldId="2147483779"/>
              <ac:picMk id="6" creationId="{D2B74FA2-3C93-FCBB-B1EE-FA70FE16AF76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44.529" v="54"/>
          <pc:sldLayoutMkLst>
            <pc:docMk/>
            <pc:sldMasterMk cId="2791372136" sldId="2147483777"/>
            <pc:sldLayoutMk cId="3116599637" sldId="2147483834"/>
          </pc:sldLayoutMkLst>
          <pc:spChg chg="mod">
            <ac:chgData name="Hans Gelissen (DHL SSC Maastricht)" userId="1afa8510-4eed-4b73-a29e-678838cd8acd" providerId="ADAL" clId="{FFE3EA4A-5751-4756-84D3-D420262602A2}" dt="2023-06-27T09:41:44.529" v="54"/>
            <ac:spMkLst>
              <pc:docMk/>
              <pc:sldMasterMk cId="2791372136" sldId="2147483777"/>
              <pc:sldLayoutMk cId="3116599637" sldId="2147483834"/>
              <ac:spMk id="4" creationId="{580CA6D0-E556-7C01-2336-3742DEDD1639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44.529" v="54"/>
            <ac:grpSpMkLst>
              <pc:docMk/>
              <pc:sldMasterMk cId="2791372136" sldId="2147483777"/>
              <pc:sldLayoutMk cId="3116599637" sldId="2147483834"/>
              <ac:grpSpMk id="2" creationId="{FD09818E-4E55-BE6E-ABC2-88BEE9862CFD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34.518" v="47" actId="478"/>
            <ac:grpSpMkLst>
              <pc:docMk/>
              <pc:sldMasterMk cId="2791372136" sldId="2147483777"/>
              <pc:sldLayoutMk cId="3116599637" sldId="2147483834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44.529" v="54"/>
            <ac:picMkLst>
              <pc:docMk/>
              <pc:sldMasterMk cId="2791372136" sldId="2147483777"/>
              <pc:sldLayoutMk cId="3116599637" sldId="2147483834"/>
              <ac:picMk id="5" creationId="{8B239D16-B987-0317-A7FD-7A90048084A3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4.529" v="54"/>
            <ac:picMkLst>
              <pc:docMk/>
              <pc:sldMasterMk cId="2791372136" sldId="2147483777"/>
              <pc:sldLayoutMk cId="3116599637" sldId="2147483834"/>
              <ac:picMk id="6" creationId="{E55D3627-3279-AF71-9AEA-4BFDE45AA0F8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4.529" v="54"/>
            <ac:picMkLst>
              <pc:docMk/>
              <pc:sldMasterMk cId="2791372136" sldId="2147483777"/>
              <pc:sldLayoutMk cId="3116599637" sldId="2147483834"/>
              <ac:picMk id="7" creationId="{2DB005BD-37D0-EE84-03BB-F4DE2D0F4308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42.568" v="53"/>
          <pc:sldLayoutMkLst>
            <pc:docMk/>
            <pc:sldMasterMk cId="2791372136" sldId="2147483777"/>
            <pc:sldLayoutMk cId="132838335" sldId="2147483835"/>
          </pc:sldLayoutMkLst>
          <pc:spChg chg="mod">
            <ac:chgData name="Hans Gelissen (DHL SSC Maastricht)" userId="1afa8510-4eed-4b73-a29e-678838cd8acd" providerId="ADAL" clId="{FFE3EA4A-5751-4756-84D3-D420262602A2}" dt="2023-06-27T09:41:42.568" v="53"/>
            <ac:spMkLst>
              <pc:docMk/>
              <pc:sldMasterMk cId="2791372136" sldId="2147483777"/>
              <pc:sldLayoutMk cId="132838335" sldId="2147483835"/>
              <ac:spMk id="3" creationId="{0C936D7F-0772-828F-7EFE-669607E47DC0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42.568" v="53"/>
            <ac:grpSpMkLst>
              <pc:docMk/>
              <pc:sldMasterMk cId="2791372136" sldId="2147483777"/>
              <pc:sldLayoutMk cId="132838335" sldId="2147483835"/>
              <ac:grpSpMk id="2" creationId="{C9AF3AFB-319D-A348-F72E-3CACFEA189B4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35.625" v="48" actId="478"/>
            <ac:grpSpMkLst>
              <pc:docMk/>
              <pc:sldMasterMk cId="2791372136" sldId="2147483777"/>
              <pc:sldLayoutMk cId="132838335" sldId="2147483835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42.568" v="53"/>
            <ac:picMkLst>
              <pc:docMk/>
              <pc:sldMasterMk cId="2791372136" sldId="2147483777"/>
              <pc:sldLayoutMk cId="132838335" sldId="2147483835"/>
              <ac:picMk id="4" creationId="{0708304D-64CE-280E-E954-88B98DFA0BC1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2.568" v="53"/>
            <ac:picMkLst>
              <pc:docMk/>
              <pc:sldMasterMk cId="2791372136" sldId="2147483777"/>
              <pc:sldLayoutMk cId="132838335" sldId="2147483835"/>
              <ac:picMk id="5" creationId="{01D985C8-FCB3-5C0C-6FCE-43B6CAB42BC5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2.568" v="53"/>
            <ac:picMkLst>
              <pc:docMk/>
              <pc:sldMasterMk cId="2791372136" sldId="2147483777"/>
              <pc:sldLayoutMk cId="132838335" sldId="2147483835"/>
              <ac:picMk id="6" creationId="{B39FAD4B-5D72-8A50-B311-2EF1859D2B44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45.046" v="55"/>
          <pc:sldLayoutMkLst>
            <pc:docMk/>
            <pc:sldMasterMk cId="2791372136" sldId="2147483777"/>
            <pc:sldLayoutMk cId="2840415572" sldId="2147483877"/>
          </pc:sldLayoutMkLst>
          <pc:spChg chg="mod">
            <ac:chgData name="Hans Gelissen (DHL SSC Maastricht)" userId="1afa8510-4eed-4b73-a29e-678838cd8acd" providerId="ADAL" clId="{FFE3EA4A-5751-4756-84D3-D420262602A2}" dt="2023-06-27T09:41:45.046" v="55"/>
            <ac:spMkLst>
              <pc:docMk/>
              <pc:sldMasterMk cId="2791372136" sldId="2147483777"/>
              <pc:sldLayoutMk cId="2840415572" sldId="2147483877"/>
              <ac:spMk id="4" creationId="{B1956E47-9D64-3FDA-3B99-69F646A2173C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45.046" v="55"/>
            <ac:grpSpMkLst>
              <pc:docMk/>
              <pc:sldMasterMk cId="2791372136" sldId="2147483777"/>
              <pc:sldLayoutMk cId="2840415572" sldId="2147483877"/>
              <ac:grpSpMk id="2" creationId="{28653C90-4474-7E65-7F34-8E34454B500C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33.394" v="46" actId="478"/>
            <ac:grpSpMkLst>
              <pc:docMk/>
              <pc:sldMasterMk cId="2791372136" sldId="2147483777"/>
              <pc:sldLayoutMk cId="2840415572" sldId="2147483877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45.046" v="55"/>
            <ac:picMkLst>
              <pc:docMk/>
              <pc:sldMasterMk cId="2791372136" sldId="2147483777"/>
              <pc:sldLayoutMk cId="2840415572" sldId="2147483877"/>
              <ac:picMk id="5" creationId="{4DB30BF6-5DE6-83E5-8B06-3511D26D222B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5.046" v="55"/>
            <ac:picMkLst>
              <pc:docMk/>
              <pc:sldMasterMk cId="2791372136" sldId="2147483777"/>
              <pc:sldLayoutMk cId="2840415572" sldId="2147483877"/>
              <ac:picMk id="6" creationId="{27AC5B09-52C1-523D-2CAC-009A60CA76D6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5.046" v="55"/>
            <ac:picMkLst>
              <pc:docMk/>
              <pc:sldMasterMk cId="2791372136" sldId="2147483777"/>
              <pc:sldLayoutMk cId="2840415572" sldId="2147483877"/>
              <ac:picMk id="7" creationId="{D7FF60D1-28FA-8A9D-CA15-EBC1EA02091D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45.506" v="56"/>
          <pc:sldLayoutMkLst>
            <pc:docMk/>
            <pc:sldMasterMk cId="2791372136" sldId="2147483777"/>
            <pc:sldLayoutMk cId="2714381034" sldId="2147483878"/>
          </pc:sldLayoutMkLst>
          <pc:spChg chg="mod">
            <ac:chgData name="Hans Gelissen (DHL SSC Maastricht)" userId="1afa8510-4eed-4b73-a29e-678838cd8acd" providerId="ADAL" clId="{FFE3EA4A-5751-4756-84D3-D420262602A2}" dt="2023-06-27T09:41:45.506" v="56"/>
            <ac:spMkLst>
              <pc:docMk/>
              <pc:sldMasterMk cId="2791372136" sldId="2147483777"/>
              <pc:sldLayoutMk cId="2714381034" sldId="2147483878"/>
              <ac:spMk id="4" creationId="{4DD68F2B-7439-A783-26CA-50207FB0F2A7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45.506" v="56"/>
            <ac:grpSpMkLst>
              <pc:docMk/>
              <pc:sldMasterMk cId="2791372136" sldId="2147483777"/>
              <pc:sldLayoutMk cId="2714381034" sldId="2147483878"/>
              <ac:grpSpMk id="2" creationId="{55E231F0-FA4A-88AD-36CB-49AE6301B0B2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32.196" v="45" actId="478"/>
            <ac:grpSpMkLst>
              <pc:docMk/>
              <pc:sldMasterMk cId="2791372136" sldId="2147483777"/>
              <pc:sldLayoutMk cId="2714381034" sldId="2147483878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45.506" v="56"/>
            <ac:picMkLst>
              <pc:docMk/>
              <pc:sldMasterMk cId="2791372136" sldId="2147483777"/>
              <pc:sldLayoutMk cId="2714381034" sldId="2147483878"/>
              <ac:picMk id="5" creationId="{A31A7C8D-9546-382C-76A4-C2E01C840DF3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5.506" v="56"/>
            <ac:picMkLst>
              <pc:docMk/>
              <pc:sldMasterMk cId="2791372136" sldId="2147483777"/>
              <pc:sldLayoutMk cId="2714381034" sldId="2147483878"/>
              <ac:picMk id="6" creationId="{BA95DA1D-A6A6-CFED-6C38-DD560518677C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5.506" v="56"/>
            <ac:picMkLst>
              <pc:docMk/>
              <pc:sldMasterMk cId="2791372136" sldId="2147483777"/>
              <pc:sldLayoutMk cId="2714381034" sldId="2147483878"/>
              <ac:picMk id="7" creationId="{5A10E84D-D6CA-1037-5F3A-8EC5C7CD5ED5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47.623" v="57"/>
          <pc:sldLayoutMkLst>
            <pc:docMk/>
            <pc:sldMasterMk cId="2791372136" sldId="2147483777"/>
            <pc:sldLayoutMk cId="3714924026" sldId="2147483879"/>
          </pc:sldLayoutMkLst>
          <pc:spChg chg="mod">
            <ac:chgData name="Hans Gelissen (DHL SSC Maastricht)" userId="1afa8510-4eed-4b73-a29e-678838cd8acd" providerId="ADAL" clId="{FFE3EA4A-5751-4756-84D3-D420262602A2}" dt="2023-06-27T09:41:47.623" v="57"/>
            <ac:spMkLst>
              <pc:docMk/>
              <pc:sldMasterMk cId="2791372136" sldId="2147483777"/>
              <pc:sldLayoutMk cId="3714924026" sldId="2147483879"/>
              <ac:spMk id="4" creationId="{AF58EEE3-A070-4E2A-0295-CD0D9836D893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47.623" v="57"/>
            <ac:grpSpMkLst>
              <pc:docMk/>
              <pc:sldMasterMk cId="2791372136" sldId="2147483777"/>
              <pc:sldLayoutMk cId="3714924026" sldId="2147483879"/>
              <ac:grpSpMk id="2" creationId="{81BCEA24-573B-84F3-C6CD-D5B936DFE685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30.765" v="44" actId="478"/>
            <ac:grpSpMkLst>
              <pc:docMk/>
              <pc:sldMasterMk cId="2791372136" sldId="2147483777"/>
              <pc:sldLayoutMk cId="3714924026" sldId="2147483879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47.623" v="57"/>
            <ac:picMkLst>
              <pc:docMk/>
              <pc:sldMasterMk cId="2791372136" sldId="2147483777"/>
              <pc:sldLayoutMk cId="3714924026" sldId="2147483879"/>
              <ac:picMk id="5" creationId="{AE165A2C-EA09-1D2A-E5F8-53618376C096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7.623" v="57"/>
            <ac:picMkLst>
              <pc:docMk/>
              <pc:sldMasterMk cId="2791372136" sldId="2147483777"/>
              <pc:sldLayoutMk cId="3714924026" sldId="2147483879"/>
              <ac:picMk id="6" creationId="{B214BED0-318D-3190-E29D-5E0B08C50053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7.623" v="57"/>
            <ac:picMkLst>
              <pc:docMk/>
              <pc:sldMasterMk cId="2791372136" sldId="2147483777"/>
              <pc:sldLayoutMk cId="3714924026" sldId="2147483879"/>
              <ac:picMk id="7" creationId="{3FDC3925-720A-9C25-F959-9DD26104CE56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48.182" v="58"/>
          <pc:sldLayoutMkLst>
            <pc:docMk/>
            <pc:sldMasterMk cId="2791372136" sldId="2147483777"/>
            <pc:sldLayoutMk cId="3802747284" sldId="2147483880"/>
          </pc:sldLayoutMkLst>
          <pc:spChg chg="mod">
            <ac:chgData name="Hans Gelissen (DHL SSC Maastricht)" userId="1afa8510-4eed-4b73-a29e-678838cd8acd" providerId="ADAL" clId="{FFE3EA4A-5751-4756-84D3-D420262602A2}" dt="2023-06-27T09:41:48.182" v="58"/>
            <ac:spMkLst>
              <pc:docMk/>
              <pc:sldMasterMk cId="2791372136" sldId="2147483777"/>
              <pc:sldLayoutMk cId="3802747284" sldId="2147483880"/>
              <ac:spMk id="4" creationId="{CCA51A62-0D3B-56AB-081E-FEF3501B4BBE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48.182" v="58"/>
            <ac:grpSpMkLst>
              <pc:docMk/>
              <pc:sldMasterMk cId="2791372136" sldId="2147483777"/>
              <pc:sldLayoutMk cId="3802747284" sldId="2147483880"/>
              <ac:grpSpMk id="2" creationId="{5241875E-C0A6-FDB6-7E7A-BCCDCF64BE28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29.544" v="43" actId="478"/>
            <ac:grpSpMkLst>
              <pc:docMk/>
              <pc:sldMasterMk cId="2791372136" sldId="2147483777"/>
              <pc:sldLayoutMk cId="3802747284" sldId="2147483880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48.182" v="58"/>
            <ac:picMkLst>
              <pc:docMk/>
              <pc:sldMasterMk cId="2791372136" sldId="2147483777"/>
              <pc:sldLayoutMk cId="3802747284" sldId="2147483880"/>
              <ac:picMk id="5" creationId="{8700B065-122F-8466-3FA4-FD4C72865A5D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8.182" v="58"/>
            <ac:picMkLst>
              <pc:docMk/>
              <pc:sldMasterMk cId="2791372136" sldId="2147483777"/>
              <pc:sldLayoutMk cId="3802747284" sldId="2147483880"/>
              <ac:picMk id="6" creationId="{D9595AFC-9EBE-4324-4C7B-29A4D63EAC4C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8.182" v="58"/>
            <ac:picMkLst>
              <pc:docMk/>
              <pc:sldMasterMk cId="2791372136" sldId="2147483777"/>
              <pc:sldLayoutMk cId="3802747284" sldId="2147483880"/>
              <ac:picMk id="7" creationId="{7694A2BA-65FD-BC0F-7DE3-54DA32D8A5B0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48.679" v="59"/>
          <pc:sldLayoutMkLst>
            <pc:docMk/>
            <pc:sldMasterMk cId="2791372136" sldId="2147483777"/>
            <pc:sldLayoutMk cId="3314331250" sldId="2147483937"/>
          </pc:sldLayoutMkLst>
          <pc:spChg chg="mod">
            <ac:chgData name="Hans Gelissen (DHL SSC Maastricht)" userId="1afa8510-4eed-4b73-a29e-678838cd8acd" providerId="ADAL" clId="{FFE3EA4A-5751-4756-84D3-D420262602A2}" dt="2023-06-27T09:41:48.679" v="59"/>
            <ac:spMkLst>
              <pc:docMk/>
              <pc:sldMasterMk cId="2791372136" sldId="2147483777"/>
              <pc:sldLayoutMk cId="3314331250" sldId="2147483937"/>
              <ac:spMk id="4" creationId="{5BA8A18C-DBDF-8415-407D-3EBE64933836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48.679" v="59"/>
            <ac:grpSpMkLst>
              <pc:docMk/>
              <pc:sldMasterMk cId="2791372136" sldId="2147483777"/>
              <pc:sldLayoutMk cId="3314331250" sldId="2147483937"/>
              <ac:grpSpMk id="2" creationId="{3260B85A-B068-55C3-0F9F-804E3B0E66E7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28.430" v="42" actId="478"/>
            <ac:grpSpMkLst>
              <pc:docMk/>
              <pc:sldMasterMk cId="2791372136" sldId="2147483777"/>
              <pc:sldLayoutMk cId="3314331250" sldId="2147483937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48.679" v="59"/>
            <ac:picMkLst>
              <pc:docMk/>
              <pc:sldMasterMk cId="2791372136" sldId="2147483777"/>
              <pc:sldLayoutMk cId="3314331250" sldId="2147483937"/>
              <ac:picMk id="5" creationId="{D96A78FB-306F-5EF8-4C45-D799D36A2C9A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8.679" v="59"/>
            <ac:picMkLst>
              <pc:docMk/>
              <pc:sldMasterMk cId="2791372136" sldId="2147483777"/>
              <pc:sldLayoutMk cId="3314331250" sldId="2147483937"/>
              <ac:picMk id="6" creationId="{20911514-5F0B-5AC2-D7EE-AD97526F68D5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48.679" v="59"/>
            <ac:picMkLst>
              <pc:docMk/>
              <pc:sldMasterMk cId="2791372136" sldId="2147483777"/>
              <pc:sldLayoutMk cId="3314331250" sldId="2147483937"/>
              <ac:picMk id="7" creationId="{6410779D-F218-8FD2-B405-6D1BF44936C6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51.164" v="60"/>
          <pc:sldLayoutMkLst>
            <pc:docMk/>
            <pc:sldMasterMk cId="2791372136" sldId="2147483777"/>
            <pc:sldLayoutMk cId="2580627656" sldId="2147483938"/>
          </pc:sldLayoutMkLst>
          <pc:spChg chg="mod">
            <ac:chgData name="Hans Gelissen (DHL SSC Maastricht)" userId="1afa8510-4eed-4b73-a29e-678838cd8acd" providerId="ADAL" clId="{FFE3EA4A-5751-4756-84D3-D420262602A2}" dt="2023-06-27T09:41:51.164" v="60"/>
            <ac:spMkLst>
              <pc:docMk/>
              <pc:sldMasterMk cId="2791372136" sldId="2147483777"/>
              <pc:sldLayoutMk cId="2580627656" sldId="2147483938"/>
              <ac:spMk id="4" creationId="{47F315C5-7D4C-45E6-C73A-C3509514155D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51.164" v="60"/>
            <ac:grpSpMkLst>
              <pc:docMk/>
              <pc:sldMasterMk cId="2791372136" sldId="2147483777"/>
              <pc:sldLayoutMk cId="2580627656" sldId="2147483938"/>
              <ac:grpSpMk id="2" creationId="{D4FD89B2-DD69-CD80-92E1-F3C97A09B244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27.259" v="41" actId="478"/>
            <ac:grpSpMkLst>
              <pc:docMk/>
              <pc:sldMasterMk cId="2791372136" sldId="2147483777"/>
              <pc:sldLayoutMk cId="2580627656" sldId="2147483938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51.164" v="60"/>
            <ac:picMkLst>
              <pc:docMk/>
              <pc:sldMasterMk cId="2791372136" sldId="2147483777"/>
              <pc:sldLayoutMk cId="2580627656" sldId="2147483938"/>
              <ac:picMk id="5" creationId="{9F27C863-A57B-0F5D-2AB0-65D1AB3A3010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1.164" v="60"/>
            <ac:picMkLst>
              <pc:docMk/>
              <pc:sldMasterMk cId="2791372136" sldId="2147483777"/>
              <pc:sldLayoutMk cId="2580627656" sldId="2147483938"/>
              <ac:picMk id="6" creationId="{C441CDEF-1A62-FD69-F584-2669C4B271BB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1.164" v="60"/>
            <ac:picMkLst>
              <pc:docMk/>
              <pc:sldMasterMk cId="2791372136" sldId="2147483777"/>
              <pc:sldLayoutMk cId="2580627656" sldId="2147483938"/>
              <ac:picMk id="7" creationId="{EA18EE09-4A67-0A3F-07CC-F38B32B30414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51.718" v="61"/>
          <pc:sldLayoutMkLst>
            <pc:docMk/>
            <pc:sldMasterMk cId="2791372136" sldId="2147483777"/>
            <pc:sldLayoutMk cId="3319069032" sldId="2147483939"/>
          </pc:sldLayoutMkLst>
          <pc:spChg chg="mod">
            <ac:chgData name="Hans Gelissen (DHL SSC Maastricht)" userId="1afa8510-4eed-4b73-a29e-678838cd8acd" providerId="ADAL" clId="{FFE3EA4A-5751-4756-84D3-D420262602A2}" dt="2023-06-27T09:41:51.718" v="61"/>
            <ac:spMkLst>
              <pc:docMk/>
              <pc:sldMasterMk cId="2791372136" sldId="2147483777"/>
              <pc:sldLayoutMk cId="3319069032" sldId="2147483939"/>
              <ac:spMk id="4" creationId="{8A641166-C2DD-C946-70A1-DC0072F3DA81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51.718" v="61"/>
            <ac:grpSpMkLst>
              <pc:docMk/>
              <pc:sldMasterMk cId="2791372136" sldId="2147483777"/>
              <pc:sldLayoutMk cId="3319069032" sldId="2147483939"/>
              <ac:grpSpMk id="2" creationId="{D7314F35-CA4E-A459-61CC-CE48442B23DE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26.010" v="40" actId="478"/>
            <ac:grpSpMkLst>
              <pc:docMk/>
              <pc:sldMasterMk cId="2791372136" sldId="2147483777"/>
              <pc:sldLayoutMk cId="3319069032" sldId="2147483939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51.718" v="61"/>
            <ac:picMkLst>
              <pc:docMk/>
              <pc:sldMasterMk cId="2791372136" sldId="2147483777"/>
              <pc:sldLayoutMk cId="3319069032" sldId="2147483939"/>
              <ac:picMk id="5" creationId="{10C4DFCE-E590-CF15-22F6-D0086C0C2620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1.718" v="61"/>
            <ac:picMkLst>
              <pc:docMk/>
              <pc:sldMasterMk cId="2791372136" sldId="2147483777"/>
              <pc:sldLayoutMk cId="3319069032" sldId="2147483939"/>
              <ac:picMk id="6" creationId="{894636C2-3757-1915-8601-45C75A4540AC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1.718" v="61"/>
            <ac:picMkLst>
              <pc:docMk/>
              <pc:sldMasterMk cId="2791372136" sldId="2147483777"/>
              <pc:sldLayoutMk cId="3319069032" sldId="2147483939"/>
              <ac:picMk id="7" creationId="{33B84EC9-8BFE-A864-6517-1277436C7B9B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52.233" v="62"/>
          <pc:sldLayoutMkLst>
            <pc:docMk/>
            <pc:sldMasterMk cId="2791372136" sldId="2147483777"/>
            <pc:sldLayoutMk cId="3530943272" sldId="2147483940"/>
          </pc:sldLayoutMkLst>
          <pc:spChg chg="mod">
            <ac:chgData name="Hans Gelissen (DHL SSC Maastricht)" userId="1afa8510-4eed-4b73-a29e-678838cd8acd" providerId="ADAL" clId="{FFE3EA4A-5751-4756-84D3-D420262602A2}" dt="2023-06-27T09:41:52.233" v="62"/>
            <ac:spMkLst>
              <pc:docMk/>
              <pc:sldMasterMk cId="2791372136" sldId="2147483777"/>
              <pc:sldLayoutMk cId="3530943272" sldId="2147483940"/>
              <ac:spMk id="4" creationId="{00F374ED-767B-34B0-FCB8-8AA59E3C602A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52.233" v="62"/>
            <ac:grpSpMkLst>
              <pc:docMk/>
              <pc:sldMasterMk cId="2791372136" sldId="2147483777"/>
              <pc:sldLayoutMk cId="3530943272" sldId="2147483940"/>
              <ac:grpSpMk id="2" creationId="{93E162FC-FC98-0225-7057-79012385DA89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24.606" v="39" actId="478"/>
            <ac:grpSpMkLst>
              <pc:docMk/>
              <pc:sldMasterMk cId="2791372136" sldId="2147483777"/>
              <pc:sldLayoutMk cId="3530943272" sldId="2147483940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52.233" v="62"/>
            <ac:picMkLst>
              <pc:docMk/>
              <pc:sldMasterMk cId="2791372136" sldId="2147483777"/>
              <pc:sldLayoutMk cId="3530943272" sldId="2147483940"/>
              <ac:picMk id="5" creationId="{A5AA6FC1-6DA0-189B-7E73-A42EE0E8651E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2.233" v="62"/>
            <ac:picMkLst>
              <pc:docMk/>
              <pc:sldMasterMk cId="2791372136" sldId="2147483777"/>
              <pc:sldLayoutMk cId="3530943272" sldId="2147483940"/>
              <ac:picMk id="6" creationId="{EDFCFC2E-6A14-E574-40FB-059943D96D32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2.233" v="62"/>
            <ac:picMkLst>
              <pc:docMk/>
              <pc:sldMasterMk cId="2791372136" sldId="2147483777"/>
              <pc:sldLayoutMk cId="3530943272" sldId="2147483940"/>
              <ac:picMk id="7" creationId="{E6D0B4DD-2364-3540-2EE1-F4B9635F399C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52.720" v="63"/>
          <pc:sldLayoutMkLst>
            <pc:docMk/>
            <pc:sldMasterMk cId="2791372136" sldId="2147483777"/>
            <pc:sldLayoutMk cId="1109663919" sldId="2147483941"/>
          </pc:sldLayoutMkLst>
          <pc:spChg chg="mod">
            <ac:chgData name="Hans Gelissen (DHL SSC Maastricht)" userId="1afa8510-4eed-4b73-a29e-678838cd8acd" providerId="ADAL" clId="{FFE3EA4A-5751-4756-84D3-D420262602A2}" dt="2023-06-27T09:41:52.720" v="63"/>
            <ac:spMkLst>
              <pc:docMk/>
              <pc:sldMasterMk cId="2791372136" sldId="2147483777"/>
              <pc:sldLayoutMk cId="1109663919" sldId="2147483941"/>
              <ac:spMk id="4" creationId="{44A5C905-ACF6-6FB8-7B1A-90D45595D950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52.720" v="63"/>
            <ac:grpSpMkLst>
              <pc:docMk/>
              <pc:sldMasterMk cId="2791372136" sldId="2147483777"/>
              <pc:sldLayoutMk cId="1109663919" sldId="2147483941"/>
              <ac:grpSpMk id="2" creationId="{1DF90080-DB4A-FE56-8692-4AF3071BD9A1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23.611" v="38" actId="478"/>
            <ac:grpSpMkLst>
              <pc:docMk/>
              <pc:sldMasterMk cId="2791372136" sldId="2147483777"/>
              <pc:sldLayoutMk cId="1109663919" sldId="2147483941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52.720" v="63"/>
            <ac:picMkLst>
              <pc:docMk/>
              <pc:sldMasterMk cId="2791372136" sldId="2147483777"/>
              <pc:sldLayoutMk cId="1109663919" sldId="2147483941"/>
              <ac:picMk id="5" creationId="{0AE5D801-9A6E-6C53-5957-A04F7598CF71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2.720" v="63"/>
            <ac:picMkLst>
              <pc:docMk/>
              <pc:sldMasterMk cId="2791372136" sldId="2147483777"/>
              <pc:sldLayoutMk cId="1109663919" sldId="2147483941"/>
              <ac:picMk id="6" creationId="{481402B6-FC38-6B7D-94B6-E8F1E9AF3A59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2.720" v="63"/>
            <ac:picMkLst>
              <pc:docMk/>
              <pc:sldMasterMk cId="2791372136" sldId="2147483777"/>
              <pc:sldLayoutMk cId="1109663919" sldId="2147483941"/>
              <ac:picMk id="7" creationId="{430BD92D-8A0B-AE01-DB71-1714438AA7CE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54.212" v="64"/>
          <pc:sldLayoutMkLst>
            <pc:docMk/>
            <pc:sldMasterMk cId="2791372136" sldId="2147483777"/>
            <pc:sldLayoutMk cId="2984325781" sldId="2147483977"/>
          </pc:sldLayoutMkLst>
          <pc:spChg chg="mod">
            <ac:chgData name="Hans Gelissen (DHL SSC Maastricht)" userId="1afa8510-4eed-4b73-a29e-678838cd8acd" providerId="ADAL" clId="{FFE3EA4A-5751-4756-84D3-D420262602A2}" dt="2023-06-27T09:41:54.212" v="64"/>
            <ac:spMkLst>
              <pc:docMk/>
              <pc:sldMasterMk cId="2791372136" sldId="2147483777"/>
              <pc:sldLayoutMk cId="2984325781" sldId="2147483977"/>
              <ac:spMk id="4" creationId="{1842D401-8CD7-717F-C666-0298B81451D6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54.212" v="64"/>
            <ac:grpSpMkLst>
              <pc:docMk/>
              <pc:sldMasterMk cId="2791372136" sldId="2147483777"/>
              <pc:sldLayoutMk cId="2984325781" sldId="2147483977"/>
              <ac:grpSpMk id="2" creationId="{2592CC03-F46D-D2E0-6304-A0F42105D797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22.635" v="37" actId="478"/>
            <ac:grpSpMkLst>
              <pc:docMk/>
              <pc:sldMasterMk cId="2791372136" sldId="2147483777"/>
              <pc:sldLayoutMk cId="2984325781" sldId="2147483977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54.212" v="64"/>
            <ac:picMkLst>
              <pc:docMk/>
              <pc:sldMasterMk cId="2791372136" sldId="2147483777"/>
              <pc:sldLayoutMk cId="2984325781" sldId="2147483977"/>
              <ac:picMk id="5" creationId="{6FDE997D-3EC0-EBE9-8638-1F95A399DA17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4.212" v="64"/>
            <ac:picMkLst>
              <pc:docMk/>
              <pc:sldMasterMk cId="2791372136" sldId="2147483777"/>
              <pc:sldLayoutMk cId="2984325781" sldId="2147483977"/>
              <ac:picMk id="6" creationId="{68610B1E-8A4D-A92B-626A-EB50E9B56B54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4.212" v="64"/>
            <ac:picMkLst>
              <pc:docMk/>
              <pc:sldMasterMk cId="2791372136" sldId="2147483777"/>
              <pc:sldLayoutMk cId="2984325781" sldId="2147483977"/>
              <ac:picMk id="7" creationId="{AB7CCFE4-1E97-A8F9-2704-0097445291F8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54.770" v="65"/>
          <pc:sldLayoutMkLst>
            <pc:docMk/>
            <pc:sldMasterMk cId="2791372136" sldId="2147483777"/>
            <pc:sldLayoutMk cId="1810193577" sldId="2147483978"/>
          </pc:sldLayoutMkLst>
          <pc:spChg chg="mod">
            <ac:chgData name="Hans Gelissen (DHL SSC Maastricht)" userId="1afa8510-4eed-4b73-a29e-678838cd8acd" providerId="ADAL" clId="{FFE3EA4A-5751-4756-84D3-D420262602A2}" dt="2023-06-27T09:41:54.770" v="65"/>
            <ac:spMkLst>
              <pc:docMk/>
              <pc:sldMasterMk cId="2791372136" sldId="2147483777"/>
              <pc:sldLayoutMk cId="1810193577" sldId="2147483978"/>
              <ac:spMk id="4" creationId="{A18F7E67-1EF1-0707-0D52-E2A81F6AC4CE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54.770" v="65"/>
            <ac:grpSpMkLst>
              <pc:docMk/>
              <pc:sldMasterMk cId="2791372136" sldId="2147483777"/>
              <pc:sldLayoutMk cId="1810193577" sldId="2147483978"/>
              <ac:grpSpMk id="2" creationId="{5DF824A6-FBEA-290C-A96E-FD40202A68B4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21.651" v="36" actId="478"/>
            <ac:grpSpMkLst>
              <pc:docMk/>
              <pc:sldMasterMk cId="2791372136" sldId="2147483777"/>
              <pc:sldLayoutMk cId="1810193577" sldId="2147483978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54.770" v="65"/>
            <ac:picMkLst>
              <pc:docMk/>
              <pc:sldMasterMk cId="2791372136" sldId="2147483777"/>
              <pc:sldLayoutMk cId="1810193577" sldId="2147483978"/>
              <ac:picMk id="5" creationId="{74FB020C-49F0-06EF-75BB-452D6539940A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4.770" v="65"/>
            <ac:picMkLst>
              <pc:docMk/>
              <pc:sldMasterMk cId="2791372136" sldId="2147483777"/>
              <pc:sldLayoutMk cId="1810193577" sldId="2147483978"/>
              <ac:picMk id="6" creationId="{453B586C-BC90-C2C8-EC83-B28CC39F48C9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4.770" v="65"/>
            <ac:picMkLst>
              <pc:docMk/>
              <pc:sldMasterMk cId="2791372136" sldId="2147483777"/>
              <pc:sldLayoutMk cId="1810193577" sldId="2147483978"/>
              <ac:picMk id="7" creationId="{6BC22EA8-1665-B18B-578C-EB8EEAF89854}"/>
            </ac:picMkLst>
          </pc:picChg>
        </pc:sldLayoutChg>
        <pc:sldLayoutChg chg="addSp delSp modSp mod">
          <pc:chgData name="Hans Gelissen (DHL SSC Maastricht)" userId="1afa8510-4eed-4b73-a29e-678838cd8acd" providerId="ADAL" clId="{FFE3EA4A-5751-4756-84D3-D420262602A2}" dt="2023-06-27T09:41:56.105" v="66"/>
          <pc:sldLayoutMkLst>
            <pc:docMk/>
            <pc:sldMasterMk cId="2791372136" sldId="2147483777"/>
            <pc:sldLayoutMk cId="3829185410" sldId="2147483979"/>
          </pc:sldLayoutMkLst>
          <pc:spChg chg="mod">
            <ac:chgData name="Hans Gelissen (DHL SSC Maastricht)" userId="1afa8510-4eed-4b73-a29e-678838cd8acd" providerId="ADAL" clId="{FFE3EA4A-5751-4756-84D3-D420262602A2}" dt="2023-06-27T09:41:56.105" v="66"/>
            <ac:spMkLst>
              <pc:docMk/>
              <pc:sldMasterMk cId="2791372136" sldId="2147483777"/>
              <pc:sldLayoutMk cId="3829185410" sldId="2147483979"/>
              <ac:spMk id="4" creationId="{8339AAE4-66A6-E340-EC0F-923ABFCF2B47}"/>
            </ac:spMkLst>
          </pc:spChg>
          <pc:grpChg chg="add mod">
            <ac:chgData name="Hans Gelissen (DHL SSC Maastricht)" userId="1afa8510-4eed-4b73-a29e-678838cd8acd" providerId="ADAL" clId="{FFE3EA4A-5751-4756-84D3-D420262602A2}" dt="2023-06-27T09:41:56.105" v="66"/>
            <ac:grpSpMkLst>
              <pc:docMk/>
              <pc:sldMasterMk cId="2791372136" sldId="2147483777"/>
              <pc:sldLayoutMk cId="3829185410" sldId="2147483979"/>
              <ac:grpSpMk id="2" creationId="{D3E7CB7B-0F5B-E77D-B244-2B45F8A773EA}"/>
            </ac:grpSpMkLst>
          </pc:grpChg>
          <pc:grpChg chg="del">
            <ac:chgData name="Hans Gelissen (DHL SSC Maastricht)" userId="1afa8510-4eed-4b73-a29e-678838cd8acd" providerId="ADAL" clId="{FFE3EA4A-5751-4756-84D3-D420262602A2}" dt="2023-06-27T09:41:20.586" v="35" actId="478"/>
            <ac:grpSpMkLst>
              <pc:docMk/>
              <pc:sldMasterMk cId="2791372136" sldId="2147483777"/>
              <pc:sldLayoutMk cId="3829185410" sldId="2147483979"/>
              <ac:grpSpMk id="65" creationId="{1BDED68A-58CE-477A-8081-6078BF2E6B86}"/>
            </ac:grpSpMkLst>
          </pc:grpChg>
          <pc:picChg chg="mod">
            <ac:chgData name="Hans Gelissen (DHL SSC Maastricht)" userId="1afa8510-4eed-4b73-a29e-678838cd8acd" providerId="ADAL" clId="{FFE3EA4A-5751-4756-84D3-D420262602A2}" dt="2023-06-27T09:41:56.105" v="66"/>
            <ac:picMkLst>
              <pc:docMk/>
              <pc:sldMasterMk cId="2791372136" sldId="2147483777"/>
              <pc:sldLayoutMk cId="3829185410" sldId="2147483979"/>
              <ac:picMk id="5" creationId="{9ACE6598-033F-A226-5518-FFC2E42E96CA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6.105" v="66"/>
            <ac:picMkLst>
              <pc:docMk/>
              <pc:sldMasterMk cId="2791372136" sldId="2147483777"/>
              <pc:sldLayoutMk cId="3829185410" sldId="2147483979"/>
              <ac:picMk id="6" creationId="{ABC65522-C242-81E5-F1B6-1D74944FD4CE}"/>
            </ac:picMkLst>
          </pc:picChg>
          <pc:picChg chg="mod">
            <ac:chgData name="Hans Gelissen (DHL SSC Maastricht)" userId="1afa8510-4eed-4b73-a29e-678838cd8acd" providerId="ADAL" clId="{FFE3EA4A-5751-4756-84D3-D420262602A2}" dt="2023-06-27T09:41:56.105" v="66"/>
            <ac:picMkLst>
              <pc:docMk/>
              <pc:sldMasterMk cId="2791372136" sldId="2147483777"/>
              <pc:sldLayoutMk cId="3829185410" sldId="2147483979"/>
              <ac:picMk id="7" creationId="{93A3EB70-925F-CE8C-8E77-216FA76981CE}"/>
            </ac:picMkLst>
          </pc:picChg>
        </pc:sldLayoutChg>
      </pc:sldMasterChg>
    </pc:docChg>
  </pc:docChgLst>
  <pc:docChgLst>
    <pc:chgData name="Hans Gelissen (DHL SSC Maastricht)" userId="1afa8510-4eed-4b73-a29e-678838cd8acd" providerId="ADAL" clId="{F7B5F52B-B732-46BA-B3AF-70E66EA62DC6}"/>
    <pc:docChg chg="undo redo custSel addSld modSld sldOrd">
      <pc:chgData name="Hans Gelissen (DHL SSC Maastricht)" userId="1afa8510-4eed-4b73-a29e-678838cd8acd" providerId="ADAL" clId="{F7B5F52B-B732-46BA-B3AF-70E66EA62DC6}" dt="2023-06-01T12:55:17.046" v="560" actId="21"/>
      <pc:docMkLst>
        <pc:docMk/>
      </pc:docMkLst>
      <pc:sldChg chg="modSp mod modClrScheme chgLayout">
        <pc:chgData name="Hans Gelissen (DHL SSC Maastricht)" userId="1afa8510-4eed-4b73-a29e-678838cd8acd" providerId="ADAL" clId="{F7B5F52B-B732-46BA-B3AF-70E66EA62DC6}" dt="2023-06-01T11:31:50.207" v="431" actId="27636"/>
        <pc:sldMkLst>
          <pc:docMk/>
          <pc:sldMk cId="2338473233" sldId="258"/>
        </pc:sldMkLst>
        <pc:spChg chg="mod ord">
          <ac:chgData name="Hans Gelissen (DHL SSC Maastricht)" userId="1afa8510-4eed-4b73-a29e-678838cd8acd" providerId="ADAL" clId="{F7B5F52B-B732-46BA-B3AF-70E66EA62DC6}" dt="2023-06-01T11:31:50.207" v="431" actId="27636"/>
          <ac:spMkLst>
            <pc:docMk/>
            <pc:sldMk cId="2338473233" sldId="258"/>
            <ac:spMk id="3" creationId="{6D6E7CE4-2A7C-47FD-AE9E-86763B9D3163}"/>
          </ac:spMkLst>
        </pc:spChg>
        <pc:spChg chg="mod ord">
          <ac:chgData name="Hans Gelissen (DHL SSC Maastricht)" userId="1afa8510-4eed-4b73-a29e-678838cd8acd" providerId="ADAL" clId="{F7B5F52B-B732-46BA-B3AF-70E66EA62DC6}" dt="2023-06-01T11:31:50.097" v="430" actId="700"/>
          <ac:spMkLst>
            <pc:docMk/>
            <pc:sldMk cId="2338473233" sldId="258"/>
            <ac:spMk id="13" creationId="{08A47195-4824-4907-8AE9-D7AD4BE08E28}"/>
          </ac:spMkLst>
        </pc:spChg>
      </pc:sldChg>
      <pc:sldChg chg="modSp mod">
        <pc:chgData name="Hans Gelissen (DHL SSC Maastricht)" userId="1afa8510-4eed-4b73-a29e-678838cd8acd" providerId="ADAL" clId="{F7B5F52B-B732-46BA-B3AF-70E66EA62DC6}" dt="2023-06-01T10:52:03.045" v="315" actId="1076"/>
        <pc:sldMkLst>
          <pc:docMk/>
          <pc:sldMk cId="2219543139" sldId="284"/>
        </pc:sldMkLst>
        <pc:spChg chg="mod">
          <ac:chgData name="Hans Gelissen (DHL SSC Maastricht)" userId="1afa8510-4eed-4b73-a29e-678838cd8acd" providerId="ADAL" clId="{F7B5F52B-B732-46BA-B3AF-70E66EA62DC6}" dt="2023-06-01T10:52:03.045" v="315" actId="1076"/>
          <ac:spMkLst>
            <pc:docMk/>
            <pc:sldMk cId="2219543139" sldId="284"/>
            <ac:spMk id="2" creationId="{1B340C43-F6E6-7669-B73F-C779004236A9}"/>
          </ac:spMkLst>
        </pc:spChg>
        <pc:spChg chg="mod">
          <ac:chgData name="Hans Gelissen (DHL SSC Maastricht)" userId="1afa8510-4eed-4b73-a29e-678838cd8acd" providerId="ADAL" clId="{F7B5F52B-B732-46BA-B3AF-70E66EA62DC6}" dt="2023-06-01T08:54:53.186" v="49" actId="20577"/>
          <ac:spMkLst>
            <pc:docMk/>
            <pc:sldMk cId="2219543139" sldId="284"/>
            <ac:spMk id="4" creationId="{CF6CC01A-D8F6-4AE1-A79C-B9423066DA29}"/>
          </ac:spMkLst>
        </pc:spChg>
        <pc:spChg chg="mod">
          <ac:chgData name="Hans Gelissen (DHL SSC Maastricht)" userId="1afa8510-4eed-4b73-a29e-678838cd8acd" providerId="ADAL" clId="{F7B5F52B-B732-46BA-B3AF-70E66EA62DC6}" dt="2023-06-01T10:51:58.682" v="314" actId="20577"/>
          <ac:spMkLst>
            <pc:docMk/>
            <pc:sldMk cId="2219543139" sldId="284"/>
            <ac:spMk id="5" creationId="{530A048D-D80F-4F76-9FB5-FE1C09E5CE0D}"/>
          </ac:spMkLst>
        </pc:spChg>
      </pc:sldChg>
      <pc:sldChg chg="modSp mod">
        <pc:chgData name="Hans Gelissen (DHL SSC Maastricht)" userId="1afa8510-4eed-4b73-a29e-678838cd8acd" providerId="ADAL" clId="{F7B5F52B-B732-46BA-B3AF-70E66EA62DC6}" dt="2023-06-01T10:33:56.569" v="227" actId="14100"/>
        <pc:sldMkLst>
          <pc:docMk/>
          <pc:sldMk cId="55898822" sldId="307"/>
        </pc:sldMkLst>
        <pc:spChg chg="mod">
          <ac:chgData name="Hans Gelissen (DHL SSC Maastricht)" userId="1afa8510-4eed-4b73-a29e-678838cd8acd" providerId="ADAL" clId="{F7B5F52B-B732-46BA-B3AF-70E66EA62DC6}" dt="2023-06-01T10:33:56.569" v="227" actId="14100"/>
          <ac:spMkLst>
            <pc:docMk/>
            <pc:sldMk cId="55898822" sldId="307"/>
            <ac:spMk id="4" creationId="{325C3E43-3DC9-4087-82A3-D481F7CF53DE}"/>
          </ac:spMkLst>
        </pc:spChg>
        <pc:spChg chg="mod">
          <ac:chgData name="Hans Gelissen (DHL SSC Maastricht)" userId="1afa8510-4eed-4b73-a29e-678838cd8acd" providerId="ADAL" clId="{F7B5F52B-B732-46BA-B3AF-70E66EA62DC6}" dt="2023-06-01T10:33:53.913" v="226" actId="1076"/>
          <ac:spMkLst>
            <pc:docMk/>
            <pc:sldMk cId="55898822" sldId="307"/>
            <ac:spMk id="5" creationId="{761776F0-0CD4-4BA5-9A28-7CE982AD8B4D}"/>
          </ac:spMkLst>
        </pc:spChg>
      </pc:sldChg>
      <pc:sldChg chg="modSp mod">
        <pc:chgData name="Hans Gelissen (DHL SSC Maastricht)" userId="1afa8510-4eed-4b73-a29e-678838cd8acd" providerId="ADAL" clId="{F7B5F52B-B732-46BA-B3AF-70E66EA62DC6}" dt="2023-06-01T10:44:21.036" v="254" actId="113"/>
        <pc:sldMkLst>
          <pc:docMk/>
          <pc:sldMk cId="1317063265" sldId="320"/>
        </pc:sldMkLst>
        <pc:spChg chg="mod">
          <ac:chgData name="Hans Gelissen (DHL SSC Maastricht)" userId="1afa8510-4eed-4b73-a29e-678838cd8acd" providerId="ADAL" clId="{F7B5F52B-B732-46BA-B3AF-70E66EA62DC6}" dt="2023-06-01T10:44:03.624" v="248" actId="14100"/>
          <ac:spMkLst>
            <pc:docMk/>
            <pc:sldMk cId="1317063265" sldId="320"/>
            <ac:spMk id="6" creationId="{9928B62C-2EAE-462E-BD7B-B60E65108561}"/>
          </ac:spMkLst>
        </pc:spChg>
        <pc:spChg chg="mod">
          <ac:chgData name="Hans Gelissen (DHL SSC Maastricht)" userId="1afa8510-4eed-4b73-a29e-678838cd8acd" providerId="ADAL" clId="{F7B5F52B-B732-46BA-B3AF-70E66EA62DC6}" dt="2023-06-01T10:44:21.036" v="254" actId="113"/>
          <ac:spMkLst>
            <pc:docMk/>
            <pc:sldMk cId="1317063265" sldId="320"/>
            <ac:spMk id="7" creationId="{8443DC25-4CC4-48DC-9CBE-01CD0D2A046D}"/>
          </ac:spMkLst>
        </pc:spChg>
      </pc:sldChg>
      <pc:sldChg chg="modSp mod">
        <pc:chgData name="Hans Gelissen (DHL SSC Maastricht)" userId="1afa8510-4eed-4b73-a29e-678838cd8acd" providerId="ADAL" clId="{F7B5F52B-B732-46BA-B3AF-70E66EA62DC6}" dt="2023-06-01T11:05:13.022" v="316" actId="20577"/>
        <pc:sldMkLst>
          <pc:docMk/>
          <pc:sldMk cId="774294746" sldId="332"/>
        </pc:sldMkLst>
        <pc:spChg chg="mod">
          <ac:chgData name="Hans Gelissen (DHL SSC Maastricht)" userId="1afa8510-4eed-4b73-a29e-678838cd8acd" providerId="ADAL" clId="{F7B5F52B-B732-46BA-B3AF-70E66EA62DC6}" dt="2023-06-01T11:05:13.022" v="316" actId="20577"/>
          <ac:spMkLst>
            <pc:docMk/>
            <pc:sldMk cId="774294746" sldId="332"/>
            <ac:spMk id="5" creationId="{53DE6C37-BA55-7E8B-DF64-68D13CE3FBC6}"/>
          </ac:spMkLst>
        </pc:spChg>
      </pc:sldChg>
      <pc:sldChg chg="modSp mod ord">
        <pc:chgData name="Hans Gelissen (DHL SSC Maastricht)" userId="1afa8510-4eed-4b73-a29e-678838cd8acd" providerId="ADAL" clId="{F7B5F52B-B732-46BA-B3AF-70E66EA62DC6}" dt="2023-06-01T11:16:40.509" v="356"/>
        <pc:sldMkLst>
          <pc:docMk/>
          <pc:sldMk cId="3597960873" sldId="336"/>
        </pc:sldMkLst>
        <pc:spChg chg="mod">
          <ac:chgData name="Hans Gelissen (DHL SSC Maastricht)" userId="1afa8510-4eed-4b73-a29e-678838cd8acd" providerId="ADAL" clId="{F7B5F52B-B732-46BA-B3AF-70E66EA62DC6}" dt="2023-06-01T11:10:15.910" v="351" actId="20577"/>
          <ac:spMkLst>
            <pc:docMk/>
            <pc:sldMk cId="3597960873" sldId="336"/>
            <ac:spMk id="7" creationId="{D8686DF0-AF92-8FD1-8461-54182E29CD22}"/>
          </ac:spMkLst>
        </pc:spChg>
      </pc:sldChg>
      <pc:sldChg chg="modSp mod">
        <pc:chgData name="Hans Gelissen (DHL SSC Maastricht)" userId="1afa8510-4eed-4b73-a29e-678838cd8acd" providerId="ADAL" clId="{F7B5F52B-B732-46BA-B3AF-70E66EA62DC6}" dt="2023-06-01T11:06:51.925" v="321" actId="20577"/>
        <pc:sldMkLst>
          <pc:docMk/>
          <pc:sldMk cId="3430787294" sldId="352"/>
        </pc:sldMkLst>
        <pc:spChg chg="mod">
          <ac:chgData name="Hans Gelissen (DHL SSC Maastricht)" userId="1afa8510-4eed-4b73-a29e-678838cd8acd" providerId="ADAL" clId="{F7B5F52B-B732-46BA-B3AF-70E66EA62DC6}" dt="2023-06-01T11:06:51.925" v="321" actId="20577"/>
          <ac:spMkLst>
            <pc:docMk/>
            <pc:sldMk cId="3430787294" sldId="352"/>
            <ac:spMk id="2" creationId="{CED8FA4E-9F3D-3515-A91C-152714E7945B}"/>
          </ac:spMkLst>
        </pc:spChg>
      </pc:sldChg>
      <pc:sldChg chg="modSp mod">
        <pc:chgData name="Hans Gelissen (DHL SSC Maastricht)" userId="1afa8510-4eed-4b73-a29e-678838cd8acd" providerId="ADAL" clId="{F7B5F52B-B732-46BA-B3AF-70E66EA62DC6}" dt="2023-06-01T08:18:04.672" v="40" actId="20577"/>
        <pc:sldMkLst>
          <pc:docMk/>
          <pc:sldMk cId="2852413498" sldId="361"/>
        </pc:sldMkLst>
        <pc:spChg chg="mod">
          <ac:chgData name="Hans Gelissen (DHL SSC Maastricht)" userId="1afa8510-4eed-4b73-a29e-678838cd8acd" providerId="ADAL" clId="{F7B5F52B-B732-46BA-B3AF-70E66EA62DC6}" dt="2023-06-01T08:18:04.672" v="40" actId="20577"/>
          <ac:spMkLst>
            <pc:docMk/>
            <pc:sldMk cId="2852413498" sldId="361"/>
            <ac:spMk id="6" creationId="{11B95A27-FADB-BC17-A655-413DCEEB7F0D}"/>
          </ac:spMkLst>
        </pc:spChg>
      </pc:sldChg>
      <pc:sldChg chg="modSp mod">
        <pc:chgData name="Hans Gelissen (DHL SSC Maastricht)" userId="1afa8510-4eed-4b73-a29e-678838cd8acd" providerId="ADAL" clId="{F7B5F52B-B732-46BA-B3AF-70E66EA62DC6}" dt="2023-06-01T11:07:20.290" v="339" actId="20577"/>
        <pc:sldMkLst>
          <pc:docMk/>
          <pc:sldMk cId="2524406840" sldId="367"/>
        </pc:sldMkLst>
        <pc:spChg chg="mod">
          <ac:chgData name="Hans Gelissen (DHL SSC Maastricht)" userId="1afa8510-4eed-4b73-a29e-678838cd8acd" providerId="ADAL" clId="{F7B5F52B-B732-46BA-B3AF-70E66EA62DC6}" dt="2023-06-01T11:07:20.290" v="339" actId="20577"/>
          <ac:spMkLst>
            <pc:docMk/>
            <pc:sldMk cId="2524406840" sldId="367"/>
            <ac:spMk id="33" creationId="{ADEE67E1-2C69-B5EF-F5DE-185D38361EA9}"/>
          </ac:spMkLst>
        </pc:spChg>
      </pc:sldChg>
      <pc:sldChg chg="modSp mod">
        <pc:chgData name="Hans Gelissen (DHL SSC Maastricht)" userId="1afa8510-4eed-4b73-a29e-678838cd8acd" providerId="ADAL" clId="{F7B5F52B-B732-46BA-B3AF-70E66EA62DC6}" dt="2023-06-01T07:57:49.550" v="0" actId="20577"/>
        <pc:sldMkLst>
          <pc:docMk/>
          <pc:sldMk cId="9948422" sldId="374"/>
        </pc:sldMkLst>
        <pc:spChg chg="mod">
          <ac:chgData name="Hans Gelissen (DHL SSC Maastricht)" userId="1afa8510-4eed-4b73-a29e-678838cd8acd" providerId="ADAL" clId="{F7B5F52B-B732-46BA-B3AF-70E66EA62DC6}" dt="2023-06-01T07:57:49.550" v="0" actId="20577"/>
          <ac:spMkLst>
            <pc:docMk/>
            <pc:sldMk cId="9948422" sldId="374"/>
            <ac:spMk id="14" creationId="{5079EBBD-95D5-1050-FC6A-0B696EF03225}"/>
          </ac:spMkLst>
        </pc:spChg>
      </pc:sldChg>
      <pc:sldChg chg="addSp delSp modSp mod">
        <pc:chgData name="Hans Gelissen (DHL SSC Maastricht)" userId="1afa8510-4eed-4b73-a29e-678838cd8acd" providerId="ADAL" clId="{F7B5F52B-B732-46BA-B3AF-70E66EA62DC6}" dt="2023-06-01T12:55:17.046" v="560" actId="21"/>
        <pc:sldMkLst>
          <pc:docMk/>
          <pc:sldMk cId="3553935927" sldId="375"/>
        </pc:sldMkLst>
        <pc:spChg chg="mod">
          <ac:chgData name="Hans Gelissen (DHL SSC Maastricht)" userId="1afa8510-4eed-4b73-a29e-678838cd8acd" providerId="ADAL" clId="{F7B5F52B-B732-46BA-B3AF-70E66EA62DC6}" dt="2023-06-01T08:29:24.594" v="42" actId="20577"/>
          <ac:spMkLst>
            <pc:docMk/>
            <pc:sldMk cId="3553935927" sldId="375"/>
            <ac:spMk id="11" creationId="{9693B1AA-CC74-CBA1-C18B-30F8EC2DA279}"/>
          </ac:spMkLst>
        </pc:spChg>
        <pc:spChg chg="mod">
          <ac:chgData name="Hans Gelissen (DHL SSC Maastricht)" userId="1afa8510-4eed-4b73-a29e-678838cd8acd" providerId="ADAL" clId="{F7B5F52B-B732-46BA-B3AF-70E66EA62DC6}" dt="2023-06-01T10:48:11.238" v="255" actId="20577"/>
          <ac:spMkLst>
            <pc:docMk/>
            <pc:sldMk cId="3553935927" sldId="375"/>
            <ac:spMk id="12" creationId="{AC954805-3A82-9216-02BD-D2E96F282901}"/>
          </ac:spMkLst>
        </pc:spChg>
        <pc:picChg chg="add del mod">
          <ac:chgData name="Hans Gelissen (DHL SSC Maastricht)" userId="1afa8510-4eed-4b73-a29e-678838cd8acd" providerId="ADAL" clId="{F7B5F52B-B732-46BA-B3AF-70E66EA62DC6}" dt="2023-06-01T12:54:00.630" v="556" actId="21"/>
          <ac:picMkLst>
            <pc:docMk/>
            <pc:sldMk cId="3553935927" sldId="375"/>
            <ac:picMk id="3" creationId="{04B635F4-F3DA-6B09-D7D4-934A7AD5C129}"/>
          </ac:picMkLst>
        </pc:picChg>
        <pc:picChg chg="add del mod">
          <ac:chgData name="Hans Gelissen (DHL SSC Maastricht)" userId="1afa8510-4eed-4b73-a29e-678838cd8acd" providerId="ADAL" clId="{F7B5F52B-B732-46BA-B3AF-70E66EA62DC6}" dt="2023-06-01T12:55:17.046" v="560" actId="21"/>
          <ac:picMkLst>
            <pc:docMk/>
            <pc:sldMk cId="3553935927" sldId="375"/>
            <ac:picMk id="5" creationId="{A1D9EBA1-8A2B-55D1-20C3-C5B8C3CFA034}"/>
          </ac:picMkLst>
        </pc:picChg>
      </pc:sldChg>
      <pc:sldChg chg="modSp mod">
        <pc:chgData name="Hans Gelissen (DHL SSC Maastricht)" userId="1afa8510-4eed-4b73-a29e-678838cd8acd" providerId="ADAL" clId="{F7B5F52B-B732-46BA-B3AF-70E66EA62DC6}" dt="2023-06-01T11:22:30.814" v="419" actId="1076"/>
        <pc:sldMkLst>
          <pc:docMk/>
          <pc:sldMk cId="4245346187" sldId="376"/>
        </pc:sldMkLst>
        <pc:spChg chg="mod">
          <ac:chgData name="Hans Gelissen (DHL SSC Maastricht)" userId="1afa8510-4eed-4b73-a29e-678838cd8acd" providerId="ADAL" clId="{F7B5F52B-B732-46BA-B3AF-70E66EA62DC6}" dt="2023-06-01T11:22:30.814" v="419" actId="1076"/>
          <ac:spMkLst>
            <pc:docMk/>
            <pc:sldMk cId="4245346187" sldId="376"/>
            <ac:spMk id="7" creationId="{860C1B0A-FA83-980D-0A5D-B59BB973421A}"/>
          </ac:spMkLst>
        </pc:spChg>
      </pc:sldChg>
      <pc:sldChg chg="modSp mod">
        <pc:chgData name="Hans Gelissen (DHL SSC Maastricht)" userId="1afa8510-4eed-4b73-a29e-678838cd8acd" providerId="ADAL" clId="{F7B5F52B-B732-46BA-B3AF-70E66EA62DC6}" dt="2023-06-01T10:49:19.490" v="264" actId="20577"/>
        <pc:sldMkLst>
          <pc:docMk/>
          <pc:sldMk cId="3350513513" sldId="378"/>
        </pc:sldMkLst>
        <pc:spChg chg="mod">
          <ac:chgData name="Hans Gelissen (DHL SSC Maastricht)" userId="1afa8510-4eed-4b73-a29e-678838cd8acd" providerId="ADAL" clId="{F7B5F52B-B732-46BA-B3AF-70E66EA62DC6}" dt="2023-06-01T10:49:19.490" v="264" actId="20577"/>
          <ac:spMkLst>
            <pc:docMk/>
            <pc:sldMk cId="3350513513" sldId="378"/>
            <ac:spMk id="5" creationId="{C0D840C6-9117-BE7D-78F3-1D4800B0EE12}"/>
          </ac:spMkLst>
        </pc:spChg>
      </pc:sldChg>
      <pc:sldChg chg="modSp mod">
        <pc:chgData name="Hans Gelissen (DHL SSC Maastricht)" userId="1afa8510-4eed-4b73-a29e-678838cd8acd" providerId="ADAL" clId="{F7B5F52B-B732-46BA-B3AF-70E66EA62DC6}" dt="2023-06-01T10:51:46.993" v="284" actId="20577"/>
        <pc:sldMkLst>
          <pc:docMk/>
          <pc:sldMk cId="344286644" sldId="382"/>
        </pc:sldMkLst>
        <pc:spChg chg="mod">
          <ac:chgData name="Hans Gelissen (DHL SSC Maastricht)" userId="1afa8510-4eed-4b73-a29e-678838cd8acd" providerId="ADAL" clId="{F7B5F52B-B732-46BA-B3AF-70E66EA62DC6}" dt="2023-06-01T10:17:45.158" v="50"/>
          <ac:spMkLst>
            <pc:docMk/>
            <pc:sldMk cId="344286644" sldId="382"/>
            <ac:spMk id="4" creationId="{CF6CC01A-D8F6-4AE1-A79C-B9423066DA29}"/>
          </ac:spMkLst>
        </pc:spChg>
        <pc:spChg chg="mod">
          <ac:chgData name="Hans Gelissen (DHL SSC Maastricht)" userId="1afa8510-4eed-4b73-a29e-678838cd8acd" providerId="ADAL" clId="{F7B5F52B-B732-46BA-B3AF-70E66EA62DC6}" dt="2023-06-01T10:51:46.993" v="284" actId="20577"/>
          <ac:spMkLst>
            <pc:docMk/>
            <pc:sldMk cId="344286644" sldId="382"/>
            <ac:spMk id="5" creationId="{530A048D-D80F-4F76-9FB5-FE1C09E5CE0D}"/>
          </ac:spMkLst>
        </pc:spChg>
        <pc:spChg chg="mod">
          <ac:chgData name="Hans Gelissen (DHL SSC Maastricht)" userId="1afa8510-4eed-4b73-a29e-678838cd8acd" providerId="ADAL" clId="{F7B5F52B-B732-46BA-B3AF-70E66EA62DC6}" dt="2023-06-01T10:17:50.725" v="52" actId="1076"/>
          <ac:spMkLst>
            <pc:docMk/>
            <pc:sldMk cId="344286644" sldId="382"/>
            <ac:spMk id="6" creationId="{D228ECC7-CC4D-E5F5-5E5F-324772F9070B}"/>
          </ac:spMkLst>
        </pc:spChg>
      </pc:sldChg>
      <pc:sldChg chg="modSp mod">
        <pc:chgData name="Hans Gelissen (DHL SSC Maastricht)" userId="1afa8510-4eed-4b73-a29e-678838cd8acd" providerId="ADAL" clId="{F7B5F52B-B732-46BA-B3AF-70E66EA62DC6}" dt="2023-06-01T11:27:12.156" v="429" actId="20577"/>
        <pc:sldMkLst>
          <pc:docMk/>
          <pc:sldMk cId="3099723956" sldId="384"/>
        </pc:sldMkLst>
        <pc:spChg chg="mod">
          <ac:chgData name="Hans Gelissen (DHL SSC Maastricht)" userId="1afa8510-4eed-4b73-a29e-678838cd8acd" providerId="ADAL" clId="{F7B5F52B-B732-46BA-B3AF-70E66EA62DC6}" dt="2023-06-01T11:27:12.156" v="429" actId="20577"/>
          <ac:spMkLst>
            <pc:docMk/>
            <pc:sldMk cId="3099723956" sldId="384"/>
            <ac:spMk id="2" creationId="{55FB9CFA-4F6D-1D27-FB28-A8C35572A720}"/>
          </ac:spMkLst>
        </pc:spChg>
      </pc:sldChg>
      <pc:sldChg chg="addSp delSp modSp new mod">
        <pc:chgData name="Hans Gelissen (DHL SSC Maastricht)" userId="1afa8510-4eed-4b73-a29e-678838cd8acd" providerId="ADAL" clId="{F7B5F52B-B732-46BA-B3AF-70E66EA62DC6}" dt="2023-06-01T08:12:29.582" v="32" actId="5793"/>
        <pc:sldMkLst>
          <pc:docMk/>
          <pc:sldMk cId="3057783495" sldId="389"/>
        </pc:sldMkLst>
        <pc:spChg chg="mod">
          <ac:chgData name="Hans Gelissen (DHL SSC Maastricht)" userId="1afa8510-4eed-4b73-a29e-678838cd8acd" providerId="ADAL" clId="{F7B5F52B-B732-46BA-B3AF-70E66EA62DC6}" dt="2023-06-01T08:11:54.798" v="27" actId="20577"/>
          <ac:spMkLst>
            <pc:docMk/>
            <pc:sldMk cId="3057783495" sldId="389"/>
            <ac:spMk id="2" creationId="{687DE86F-BDDC-713C-75AA-DBE731B9D98D}"/>
          </ac:spMkLst>
        </pc:spChg>
        <pc:spChg chg="del">
          <ac:chgData name="Hans Gelissen (DHL SSC Maastricht)" userId="1afa8510-4eed-4b73-a29e-678838cd8acd" providerId="ADAL" clId="{F7B5F52B-B732-46BA-B3AF-70E66EA62DC6}" dt="2023-06-01T08:11:48.919" v="4" actId="478"/>
          <ac:spMkLst>
            <pc:docMk/>
            <pc:sldMk cId="3057783495" sldId="389"/>
            <ac:spMk id="3" creationId="{7EF127F9-A77D-2C15-5739-73F0B7D48E10}"/>
          </ac:spMkLst>
        </pc:spChg>
        <pc:graphicFrameChg chg="add mod modGraphic">
          <ac:chgData name="Hans Gelissen (DHL SSC Maastricht)" userId="1afa8510-4eed-4b73-a29e-678838cd8acd" providerId="ADAL" clId="{F7B5F52B-B732-46BA-B3AF-70E66EA62DC6}" dt="2023-06-01T08:12:29.582" v="32" actId="5793"/>
          <ac:graphicFrameMkLst>
            <pc:docMk/>
            <pc:sldMk cId="3057783495" sldId="389"/>
            <ac:graphicFrameMk id="4" creationId="{CF153F78-573C-48D1-F18C-8DA63DD566B7}"/>
          </ac:graphicFrameMkLst>
        </pc:graphicFrameChg>
        <pc:picChg chg="add mod">
          <ac:chgData name="Hans Gelissen (DHL SSC Maastricht)" userId="1afa8510-4eed-4b73-a29e-678838cd8acd" providerId="ADAL" clId="{F7B5F52B-B732-46BA-B3AF-70E66EA62DC6}" dt="2023-06-01T08:12:18.652" v="28"/>
          <ac:picMkLst>
            <pc:docMk/>
            <pc:sldMk cId="3057783495" sldId="389"/>
            <ac:picMk id="5" creationId="{9557BA62-D1AD-6754-B04A-D3B639852767}"/>
          </ac:picMkLst>
        </pc:picChg>
        <pc:picChg chg="add mod">
          <ac:chgData name="Hans Gelissen (DHL SSC Maastricht)" userId="1afa8510-4eed-4b73-a29e-678838cd8acd" providerId="ADAL" clId="{F7B5F52B-B732-46BA-B3AF-70E66EA62DC6}" dt="2023-06-01T08:12:18.652" v="28"/>
          <ac:picMkLst>
            <pc:docMk/>
            <pc:sldMk cId="3057783495" sldId="389"/>
            <ac:picMk id="6" creationId="{A3F05545-6F91-7336-0316-CA2AF7984C66}"/>
          </ac:picMkLst>
        </pc:picChg>
        <pc:picChg chg="add mod">
          <ac:chgData name="Hans Gelissen (DHL SSC Maastricht)" userId="1afa8510-4eed-4b73-a29e-678838cd8acd" providerId="ADAL" clId="{F7B5F52B-B732-46BA-B3AF-70E66EA62DC6}" dt="2023-06-01T08:12:18.652" v="28"/>
          <ac:picMkLst>
            <pc:docMk/>
            <pc:sldMk cId="3057783495" sldId="389"/>
            <ac:picMk id="7" creationId="{578486F2-7632-9262-7030-9BD8B6F1CE65}"/>
          </ac:picMkLst>
        </pc:picChg>
      </pc:sldChg>
      <pc:sldChg chg="modSp add mod modClrScheme chgLayout">
        <pc:chgData name="Hans Gelissen (DHL SSC Maastricht)" userId="1afa8510-4eed-4b73-a29e-678838cd8acd" providerId="ADAL" clId="{F7B5F52B-B732-46BA-B3AF-70E66EA62DC6}" dt="2023-06-01T11:15:34.935" v="353" actId="700"/>
        <pc:sldMkLst>
          <pc:docMk/>
          <pc:sldMk cId="2900983221" sldId="390"/>
        </pc:sldMkLst>
        <pc:spChg chg="mod ord">
          <ac:chgData name="Hans Gelissen (DHL SSC Maastricht)" userId="1afa8510-4eed-4b73-a29e-678838cd8acd" providerId="ADAL" clId="{F7B5F52B-B732-46BA-B3AF-70E66EA62DC6}" dt="2023-06-01T11:15:34.935" v="353" actId="700"/>
          <ac:spMkLst>
            <pc:docMk/>
            <pc:sldMk cId="2900983221" sldId="390"/>
            <ac:spMk id="5" creationId="{83627CEC-EB08-0178-90BB-5F4C1A2A72BB}"/>
          </ac:spMkLst>
        </pc:spChg>
      </pc:sldChg>
      <pc:sldChg chg="addSp delSp modSp new mod">
        <pc:chgData name="Hans Gelissen (DHL SSC Maastricht)" userId="1afa8510-4eed-4b73-a29e-678838cd8acd" providerId="ADAL" clId="{F7B5F52B-B732-46BA-B3AF-70E66EA62DC6}" dt="2023-06-01T11:53:39.267" v="473" actId="478"/>
        <pc:sldMkLst>
          <pc:docMk/>
          <pc:sldMk cId="2771895043" sldId="391"/>
        </pc:sldMkLst>
        <pc:spChg chg="mod">
          <ac:chgData name="Hans Gelissen (DHL SSC Maastricht)" userId="1afa8510-4eed-4b73-a29e-678838cd8acd" providerId="ADAL" clId="{F7B5F52B-B732-46BA-B3AF-70E66EA62DC6}" dt="2023-06-01T11:49:14.489" v="458" actId="20577"/>
          <ac:spMkLst>
            <pc:docMk/>
            <pc:sldMk cId="2771895043" sldId="391"/>
            <ac:spMk id="2" creationId="{CAF0F473-E65E-7EBA-771C-550C043F6625}"/>
          </ac:spMkLst>
        </pc:spChg>
        <pc:spChg chg="del">
          <ac:chgData name="Hans Gelissen (DHL SSC Maastricht)" userId="1afa8510-4eed-4b73-a29e-678838cd8acd" providerId="ADAL" clId="{F7B5F52B-B732-46BA-B3AF-70E66EA62DC6}" dt="2023-06-01T11:49:18.255" v="459" actId="478"/>
          <ac:spMkLst>
            <pc:docMk/>
            <pc:sldMk cId="2771895043" sldId="391"/>
            <ac:spMk id="3" creationId="{9E5B3B93-98F0-8FD7-4F3C-5236747A36C2}"/>
          </ac:spMkLst>
        </pc:spChg>
        <pc:spChg chg="add del mod">
          <ac:chgData name="Hans Gelissen (DHL SSC Maastricht)" userId="1afa8510-4eed-4b73-a29e-678838cd8acd" providerId="ADAL" clId="{F7B5F52B-B732-46BA-B3AF-70E66EA62DC6}" dt="2023-06-01T11:53:39.267" v="473" actId="478"/>
          <ac:spMkLst>
            <pc:docMk/>
            <pc:sldMk cId="2771895043" sldId="391"/>
            <ac:spMk id="5" creationId="{AA9ED5AE-5463-476D-17BC-37A497E3DE53}"/>
          </ac:spMkLst>
        </pc:spChg>
        <pc:picChg chg="add mod">
          <ac:chgData name="Hans Gelissen (DHL SSC Maastricht)" userId="1afa8510-4eed-4b73-a29e-678838cd8acd" providerId="ADAL" clId="{F7B5F52B-B732-46BA-B3AF-70E66EA62DC6}" dt="2023-06-01T11:53:35.663" v="472"/>
          <ac:picMkLst>
            <pc:docMk/>
            <pc:sldMk cId="2771895043" sldId="391"/>
            <ac:picMk id="7" creationId="{1E86CCA2-2645-8FCB-A65B-BFA067058973}"/>
          </ac:picMkLst>
        </pc:picChg>
      </pc:sldChg>
      <pc:sldChg chg="addSp delSp modSp new mod modClrScheme chgLayout">
        <pc:chgData name="Hans Gelissen (DHL SSC Maastricht)" userId="1afa8510-4eed-4b73-a29e-678838cd8acd" providerId="ADAL" clId="{F7B5F52B-B732-46BA-B3AF-70E66EA62DC6}" dt="2023-06-01T12:19:19.104" v="552" actId="113"/>
        <pc:sldMkLst>
          <pc:docMk/>
          <pc:sldMk cId="4233334860" sldId="392"/>
        </pc:sldMkLst>
        <pc:spChg chg="del mod ord">
          <ac:chgData name="Hans Gelissen (DHL SSC Maastricht)" userId="1afa8510-4eed-4b73-a29e-678838cd8acd" providerId="ADAL" clId="{F7B5F52B-B732-46BA-B3AF-70E66EA62DC6}" dt="2023-06-01T12:03:23.503" v="475" actId="700"/>
          <ac:spMkLst>
            <pc:docMk/>
            <pc:sldMk cId="4233334860" sldId="392"/>
            <ac:spMk id="2" creationId="{00015BBA-3116-462A-C8A9-86A5CC194794}"/>
          </ac:spMkLst>
        </pc:spChg>
        <pc:spChg chg="del mod ord">
          <ac:chgData name="Hans Gelissen (DHL SSC Maastricht)" userId="1afa8510-4eed-4b73-a29e-678838cd8acd" providerId="ADAL" clId="{F7B5F52B-B732-46BA-B3AF-70E66EA62DC6}" dt="2023-06-01T12:03:23.503" v="475" actId="700"/>
          <ac:spMkLst>
            <pc:docMk/>
            <pc:sldMk cId="4233334860" sldId="392"/>
            <ac:spMk id="3" creationId="{8AA656C3-6DE8-F994-6AFA-D7459657D284}"/>
          </ac:spMkLst>
        </pc:spChg>
        <pc:spChg chg="add del mod ord">
          <ac:chgData name="Hans Gelissen (DHL SSC Maastricht)" userId="1afa8510-4eed-4b73-a29e-678838cd8acd" providerId="ADAL" clId="{F7B5F52B-B732-46BA-B3AF-70E66EA62DC6}" dt="2023-06-01T12:07:01.486" v="476" actId="700"/>
          <ac:spMkLst>
            <pc:docMk/>
            <pc:sldMk cId="4233334860" sldId="392"/>
            <ac:spMk id="4" creationId="{9F51D7EE-6A24-D970-10E6-0599787C9419}"/>
          </ac:spMkLst>
        </pc:spChg>
        <pc:spChg chg="add del mod ord">
          <ac:chgData name="Hans Gelissen (DHL SSC Maastricht)" userId="1afa8510-4eed-4b73-a29e-678838cd8acd" providerId="ADAL" clId="{F7B5F52B-B732-46BA-B3AF-70E66EA62DC6}" dt="2023-06-01T12:07:01.486" v="476" actId="700"/>
          <ac:spMkLst>
            <pc:docMk/>
            <pc:sldMk cId="4233334860" sldId="392"/>
            <ac:spMk id="5" creationId="{EDD9466E-5A36-2FF6-6738-5C23F37134DC}"/>
          </ac:spMkLst>
        </pc:spChg>
        <pc:spChg chg="add del mod ord">
          <ac:chgData name="Hans Gelissen (DHL SSC Maastricht)" userId="1afa8510-4eed-4b73-a29e-678838cd8acd" providerId="ADAL" clId="{F7B5F52B-B732-46BA-B3AF-70E66EA62DC6}" dt="2023-06-01T12:07:11.774" v="477" actId="700"/>
          <ac:spMkLst>
            <pc:docMk/>
            <pc:sldMk cId="4233334860" sldId="392"/>
            <ac:spMk id="6" creationId="{0A24F8A2-A293-4BE7-85B4-1794547072F9}"/>
          </ac:spMkLst>
        </pc:spChg>
        <pc:spChg chg="add del mod ord">
          <ac:chgData name="Hans Gelissen (DHL SSC Maastricht)" userId="1afa8510-4eed-4b73-a29e-678838cd8acd" providerId="ADAL" clId="{F7B5F52B-B732-46BA-B3AF-70E66EA62DC6}" dt="2023-06-01T12:07:11.774" v="477" actId="700"/>
          <ac:spMkLst>
            <pc:docMk/>
            <pc:sldMk cId="4233334860" sldId="392"/>
            <ac:spMk id="7" creationId="{BA10094F-926A-1D07-9FFD-15438D2D5094}"/>
          </ac:spMkLst>
        </pc:spChg>
        <pc:spChg chg="add del mod ord">
          <ac:chgData name="Hans Gelissen (DHL SSC Maastricht)" userId="1afa8510-4eed-4b73-a29e-678838cd8acd" providerId="ADAL" clId="{F7B5F52B-B732-46BA-B3AF-70E66EA62DC6}" dt="2023-06-01T12:07:23.685" v="478" actId="700"/>
          <ac:spMkLst>
            <pc:docMk/>
            <pc:sldMk cId="4233334860" sldId="392"/>
            <ac:spMk id="8" creationId="{3B81AB80-5D7B-61FF-77D6-31A8D4D4676B}"/>
          </ac:spMkLst>
        </pc:spChg>
        <pc:spChg chg="add del mod ord">
          <ac:chgData name="Hans Gelissen (DHL SSC Maastricht)" userId="1afa8510-4eed-4b73-a29e-678838cd8acd" providerId="ADAL" clId="{F7B5F52B-B732-46BA-B3AF-70E66EA62DC6}" dt="2023-06-01T12:07:23.685" v="478" actId="700"/>
          <ac:spMkLst>
            <pc:docMk/>
            <pc:sldMk cId="4233334860" sldId="392"/>
            <ac:spMk id="9" creationId="{A358D0CD-4084-10C9-8D61-2621EA6D28B5}"/>
          </ac:spMkLst>
        </pc:spChg>
        <pc:spChg chg="add del mod ord">
          <ac:chgData name="Hans Gelissen (DHL SSC Maastricht)" userId="1afa8510-4eed-4b73-a29e-678838cd8acd" providerId="ADAL" clId="{F7B5F52B-B732-46BA-B3AF-70E66EA62DC6}" dt="2023-06-01T12:07:31.354" v="479" actId="700"/>
          <ac:spMkLst>
            <pc:docMk/>
            <pc:sldMk cId="4233334860" sldId="392"/>
            <ac:spMk id="10" creationId="{A659D963-EA5D-31B6-26F9-EAF8C9504012}"/>
          </ac:spMkLst>
        </pc:spChg>
        <pc:spChg chg="add del mod ord">
          <ac:chgData name="Hans Gelissen (DHL SSC Maastricht)" userId="1afa8510-4eed-4b73-a29e-678838cd8acd" providerId="ADAL" clId="{F7B5F52B-B732-46BA-B3AF-70E66EA62DC6}" dt="2023-06-01T12:07:31.354" v="479" actId="700"/>
          <ac:spMkLst>
            <pc:docMk/>
            <pc:sldMk cId="4233334860" sldId="392"/>
            <ac:spMk id="11" creationId="{9180DD08-0AFB-0B6D-68B8-FE93A8772C80}"/>
          </ac:spMkLst>
        </pc:spChg>
        <pc:spChg chg="add del mod ord">
          <ac:chgData name="Hans Gelissen (DHL SSC Maastricht)" userId="1afa8510-4eed-4b73-a29e-678838cd8acd" providerId="ADAL" clId="{F7B5F52B-B732-46BA-B3AF-70E66EA62DC6}" dt="2023-06-01T12:07:40.916" v="480" actId="700"/>
          <ac:spMkLst>
            <pc:docMk/>
            <pc:sldMk cId="4233334860" sldId="392"/>
            <ac:spMk id="12" creationId="{9EB796A8-ABFF-BBD6-6566-010BB8A6D851}"/>
          </ac:spMkLst>
        </pc:spChg>
        <pc:spChg chg="add del mod ord">
          <ac:chgData name="Hans Gelissen (DHL SSC Maastricht)" userId="1afa8510-4eed-4b73-a29e-678838cd8acd" providerId="ADAL" clId="{F7B5F52B-B732-46BA-B3AF-70E66EA62DC6}" dt="2023-06-01T12:07:40.916" v="480" actId="700"/>
          <ac:spMkLst>
            <pc:docMk/>
            <pc:sldMk cId="4233334860" sldId="392"/>
            <ac:spMk id="13" creationId="{48F9025A-C0DC-6956-BF7F-7DE3FD689906}"/>
          </ac:spMkLst>
        </pc:spChg>
        <pc:spChg chg="add mod ord">
          <ac:chgData name="Hans Gelissen (DHL SSC Maastricht)" userId="1afa8510-4eed-4b73-a29e-678838cd8acd" providerId="ADAL" clId="{F7B5F52B-B732-46BA-B3AF-70E66EA62DC6}" dt="2023-06-01T12:14:39.933" v="509" actId="700"/>
          <ac:spMkLst>
            <pc:docMk/>
            <pc:sldMk cId="4233334860" sldId="392"/>
            <ac:spMk id="14" creationId="{B797DC9E-D79F-8AFB-8F8A-E11B832868A5}"/>
          </ac:spMkLst>
        </pc:spChg>
        <pc:spChg chg="add del mod ord">
          <ac:chgData name="Hans Gelissen (DHL SSC Maastricht)" userId="1afa8510-4eed-4b73-a29e-678838cd8acd" providerId="ADAL" clId="{F7B5F52B-B732-46BA-B3AF-70E66EA62DC6}" dt="2023-06-01T12:14:39.933" v="509" actId="700"/>
          <ac:spMkLst>
            <pc:docMk/>
            <pc:sldMk cId="4233334860" sldId="392"/>
            <ac:spMk id="15" creationId="{E5D94486-25C2-E6C1-7104-DD55C03EFCA3}"/>
          </ac:spMkLst>
        </pc:spChg>
        <pc:spChg chg="add mod ord">
          <ac:chgData name="Hans Gelissen (DHL SSC Maastricht)" userId="1afa8510-4eed-4b73-a29e-678838cd8acd" providerId="ADAL" clId="{F7B5F52B-B732-46BA-B3AF-70E66EA62DC6}" dt="2023-06-01T12:19:19.104" v="552" actId="113"/>
          <ac:spMkLst>
            <pc:docMk/>
            <pc:sldMk cId="4233334860" sldId="392"/>
            <ac:spMk id="16" creationId="{701FEB82-F1CB-3768-BDAF-742CE5C659A3}"/>
          </ac:spMkLst>
        </pc:spChg>
      </pc:sldChg>
      <pc:sldMasterChg chg="delSldLayout">
        <pc:chgData name="Hans Gelissen (DHL SSC Maastricht)" userId="1afa8510-4eed-4b73-a29e-678838cd8acd" providerId="ADAL" clId="{F7B5F52B-B732-46BA-B3AF-70E66EA62DC6}" dt="2023-06-01T11:15:47.943" v="354" actId="2696"/>
        <pc:sldMasterMkLst>
          <pc:docMk/>
          <pc:sldMasterMk cId="31158695" sldId="2147483765"/>
        </pc:sldMasterMkLst>
        <pc:sldLayoutChg chg="del">
          <pc:chgData name="Hans Gelissen (DHL SSC Maastricht)" userId="1afa8510-4eed-4b73-a29e-678838cd8acd" providerId="ADAL" clId="{F7B5F52B-B732-46BA-B3AF-70E66EA62DC6}" dt="2023-06-01T11:15:47.943" v="354" actId="2696"/>
          <pc:sldLayoutMkLst>
            <pc:docMk/>
            <pc:sldMasterMk cId="31158695" sldId="2147483765"/>
            <pc:sldLayoutMk cId="495662546" sldId="214748404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79376C-CCB9-470D-957B-31D17B9A9F13}" type="datetimeFigureOut">
              <a:rPr lang="nl-NL" smtClean="0"/>
              <a:t>30-8-2023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A189C3-052D-4975-A211-2A13C262802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163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A189C3-052D-4975-A211-2A13C2628026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06081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9.wdp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0.wdp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1.wdp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2.wdp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3" Type="http://schemas.microsoft.com/office/2007/relationships/hdphoto" Target="../media/hdphoto15.wdp"/><Relationship Id="rId2" Type="http://schemas.openxmlformats.org/officeDocument/2006/relationships/image" Target="../media/image155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56.xml.rels><?xml version="1.0" encoding="UTF-8" standalone="yes"?>
<Relationships xmlns="http://schemas.openxmlformats.org/package/2006/relationships"><Relationship Id="rId3" Type="http://schemas.microsoft.com/office/2007/relationships/hdphoto" Target="../media/hdphoto16.wdp"/><Relationship Id="rId2" Type="http://schemas.openxmlformats.org/officeDocument/2006/relationships/image" Target="../media/image157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57.xml.rels><?xml version="1.0" encoding="UTF-8" standalone="yes"?>
<Relationships xmlns="http://schemas.openxmlformats.org/package/2006/relationships"><Relationship Id="rId3" Type="http://schemas.microsoft.com/office/2007/relationships/hdphoto" Target="../media/hdphoto17.wdp"/><Relationship Id="rId2" Type="http://schemas.openxmlformats.org/officeDocument/2006/relationships/image" Target="../media/image15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58.xml.rels><?xml version="1.0" encoding="UTF-8" standalone="yes"?>
<Relationships xmlns="http://schemas.openxmlformats.org/package/2006/relationships"><Relationship Id="rId3" Type="http://schemas.microsoft.com/office/2007/relationships/hdphoto" Target="../media/hdphoto18.wdp"/><Relationship Id="rId2" Type="http://schemas.openxmlformats.org/officeDocument/2006/relationships/image" Target="../media/image159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59.xml.rels><?xml version="1.0" encoding="UTF-8" standalone="yes"?>
<Relationships xmlns="http://schemas.openxmlformats.org/package/2006/relationships"><Relationship Id="rId3" Type="http://schemas.microsoft.com/office/2007/relationships/hdphoto" Target="../media/hdphoto19.wdp"/><Relationship Id="rId2" Type="http://schemas.openxmlformats.org/officeDocument/2006/relationships/image" Target="../media/image16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3.wdp"/></Relationships>
</file>

<file path=ppt/slideLayouts/_rels/slideLayout160.xml.rels><?xml version="1.0" encoding="UTF-8" standalone="yes"?>
<Relationships xmlns="http://schemas.openxmlformats.org/package/2006/relationships"><Relationship Id="rId3" Type="http://schemas.microsoft.com/office/2007/relationships/hdphoto" Target="../media/hdphoto20.wdp"/><Relationship Id="rId2" Type="http://schemas.openxmlformats.org/officeDocument/2006/relationships/image" Target="../media/image161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1.xml.rels><?xml version="1.0" encoding="UTF-8" standalone="yes"?>
<Relationships xmlns="http://schemas.openxmlformats.org/package/2006/relationships"><Relationship Id="rId3" Type="http://schemas.microsoft.com/office/2007/relationships/hdphoto" Target="../media/hdphoto21.wdp"/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2.xml.rels><?xml version="1.0" encoding="UTF-8" standalone="yes"?>
<Relationships xmlns="http://schemas.openxmlformats.org/package/2006/relationships"><Relationship Id="rId3" Type="http://schemas.microsoft.com/office/2007/relationships/hdphoto" Target="../media/hdphoto22.wdp"/><Relationship Id="rId2" Type="http://schemas.openxmlformats.org/officeDocument/2006/relationships/image" Target="../media/image16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3.xml.rels><?xml version="1.0" encoding="UTF-8" standalone="yes"?>
<Relationships xmlns="http://schemas.openxmlformats.org/package/2006/relationships"><Relationship Id="rId3" Type="http://schemas.microsoft.com/office/2007/relationships/hdphoto" Target="../media/hdphoto23.wdp"/><Relationship Id="rId2" Type="http://schemas.openxmlformats.org/officeDocument/2006/relationships/image" Target="../media/image164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4.xml.rels><?xml version="1.0" encoding="UTF-8" standalone="yes"?>
<Relationships xmlns="http://schemas.openxmlformats.org/package/2006/relationships"><Relationship Id="rId3" Type="http://schemas.microsoft.com/office/2007/relationships/hdphoto" Target="../media/hdphoto24.wdp"/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5.xml.rels><?xml version="1.0" encoding="UTF-8" standalone="yes"?>
<Relationships xmlns="http://schemas.openxmlformats.org/package/2006/relationships"><Relationship Id="rId3" Type="http://schemas.microsoft.com/office/2007/relationships/hdphoto" Target="../media/hdphoto25.wdp"/><Relationship Id="rId2" Type="http://schemas.openxmlformats.org/officeDocument/2006/relationships/image" Target="../media/image166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6.xml.rels><?xml version="1.0" encoding="UTF-8" standalone="yes"?>
<Relationships xmlns="http://schemas.openxmlformats.org/package/2006/relationships"><Relationship Id="rId3" Type="http://schemas.microsoft.com/office/2007/relationships/hdphoto" Target="../media/hdphoto26.wdp"/><Relationship Id="rId2" Type="http://schemas.openxmlformats.org/officeDocument/2006/relationships/image" Target="../media/image167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7.xml.rels><?xml version="1.0" encoding="UTF-8" standalone="yes"?>
<Relationships xmlns="http://schemas.openxmlformats.org/package/2006/relationships"><Relationship Id="rId3" Type="http://schemas.microsoft.com/office/2007/relationships/hdphoto" Target="../media/hdphoto27.wdp"/><Relationship Id="rId2" Type="http://schemas.openxmlformats.org/officeDocument/2006/relationships/image" Target="../media/image16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8.xml.rels><?xml version="1.0" encoding="UTF-8" standalone="yes"?>
<Relationships xmlns="http://schemas.openxmlformats.org/package/2006/relationships"><Relationship Id="rId3" Type="http://schemas.microsoft.com/office/2007/relationships/hdphoto" Target="../media/hdphoto28.wdp"/><Relationship Id="rId2" Type="http://schemas.openxmlformats.org/officeDocument/2006/relationships/image" Target="../media/image169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9.xml.rels><?xml version="1.0" encoding="UTF-8" standalone="yes"?>
<Relationships xmlns="http://schemas.openxmlformats.org/package/2006/relationships"><Relationship Id="rId3" Type="http://schemas.microsoft.com/office/2007/relationships/hdphoto" Target="../media/hdphoto29.wdp"/><Relationship Id="rId2" Type="http://schemas.openxmlformats.org/officeDocument/2006/relationships/image" Target="../media/image17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microsoft.com/office/2007/relationships/hdphoto" Target="../media/hdphoto30.wdp"/><Relationship Id="rId2" Type="http://schemas.openxmlformats.org/officeDocument/2006/relationships/image" Target="../media/image171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71.xml.rels><?xml version="1.0" encoding="UTF-8" standalone="yes"?>
<Relationships xmlns="http://schemas.openxmlformats.org/package/2006/relationships"><Relationship Id="rId3" Type="http://schemas.microsoft.com/office/2007/relationships/hdphoto" Target="../media/hdphoto31.wdp"/><Relationship Id="rId2" Type="http://schemas.openxmlformats.org/officeDocument/2006/relationships/image" Target="../media/image172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png"/><Relationship Id="rId2" Type="http://schemas.openxmlformats.org/officeDocument/2006/relationships/image" Target="../media/image17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76.jpeg"/><Relationship Id="rId5" Type="http://schemas.openxmlformats.org/officeDocument/2006/relationships/image" Target="../media/image175.png"/><Relationship Id="rId4" Type="http://schemas.microsoft.com/office/2007/relationships/hdphoto" Target="../media/hdphoto32.wdp"/></Relationships>
</file>

<file path=ppt/slideLayouts/_rels/slideLayout173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77.jpeg"/><Relationship Id="rId4" Type="http://schemas.openxmlformats.org/officeDocument/2006/relationships/image" Target="../media/image173.png"/></Relationships>
</file>

<file path=ppt/slideLayouts/_rels/slideLayout174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78.jpeg"/><Relationship Id="rId4" Type="http://schemas.openxmlformats.org/officeDocument/2006/relationships/image" Target="../media/image173.png"/></Relationships>
</file>

<file path=ppt/slideLayouts/_rels/slideLayout175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79.jpeg"/><Relationship Id="rId4" Type="http://schemas.openxmlformats.org/officeDocument/2006/relationships/image" Target="../media/image173.png"/></Relationships>
</file>

<file path=ppt/slideLayouts/_rels/slideLayout176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0.jpeg"/><Relationship Id="rId4" Type="http://schemas.openxmlformats.org/officeDocument/2006/relationships/image" Target="../media/image173.png"/></Relationships>
</file>

<file path=ppt/slideLayouts/_rels/slideLayout177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1.jpeg"/><Relationship Id="rId4" Type="http://schemas.openxmlformats.org/officeDocument/2006/relationships/image" Target="../media/image173.png"/></Relationships>
</file>

<file path=ppt/slideLayouts/_rels/slideLayout178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2.jpeg"/><Relationship Id="rId4" Type="http://schemas.openxmlformats.org/officeDocument/2006/relationships/image" Target="../media/image173.png"/></Relationships>
</file>

<file path=ppt/slideLayouts/_rels/slideLayout179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3.jpeg"/><Relationship Id="rId4" Type="http://schemas.openxmlformats.org/officeDocument/2006/relationships/image" Target="../media/image17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4.jpeg"/><Relationship Id="rId4" Type="http://schemas.openxmlformats.org/officeDocument/2006/relationships/image" Target="../media/image173.png"/></Relationships>
</file>

<file path=ppt/slideLayouts/_rels/slideLayout181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5.jpeg"/><Relationship Id="rId4" Type="http://schemas.openxmlformats.org/officeDocument/2006/relationships/image" Target="../media/image173.png"/></Relationships>
</file>

<file path=ppt/slideLayouts/_rels/slideLayout182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6.jpeg"/><Relationship Id="rId4" Type="http://schemas.openxmlformats.org/officeDocument/2006/relationships/image" Target="../media/image173.png"/></Relationships>
</file>

<file path=ppt/slideLayouts/_rels/slideLayout183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7.jpeg"/><Relationship Id="rId4" Type="http://schemas.openxmlformats.org/officeDocument/2006/relationships/image" Target="../media/image173.png"/></Relationships>
</file>

<file path=ppt/slideLayouts/_rels/slideLayout184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8.jpeg"/><Relationship Id="rId4" Type="http://schemas.openxmlformats.org/officeDocument/2006/relationships/image" Target="../media/image173.png"/></Relationships>
</file>

<file path=ppt/slideLayouts/_rels/slideLayout185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9.jpeg"/><Relationship Id="rId4" Type="http://schemas.openxmlformats.org/officeDocument/2006/relationships/image" Target="../media/image173.png"/></Relationships>
</file>

<file path=ppt/slideLayouts/_rels/slideLayout186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90.jpeg"/><Relationship Id="rId4" Type="http://schemas.openxmlformats.org/officeDocument/2006/relationships/image" Target="../media/image173.png"/></Relationships>
</file>

<file path=ppt/slideLayouts/_rels/slideLayout187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91.jpeg"/><Relationship Id="rId4" Type="http://schemas.openxmlformats.org/officeDocument/2006/relationships/image" Target="../media/image173.png"/></Relationships>
</file>

<file path=ppt/slideLayouts/_rels/slideLayout188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92.jpeg"/><Relationship Id="rId4" Type="http://schemas.openxmlformats.org/officeDocument/2006/relationships/image" Target="../media/image173.png"/></Relationships>
</file>

<file path=ppt/slideLayouts/_rels/slideLayout189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93.jpeg"/><Relationship Id="rId4" Type="http://schemas.openxmlformats.org/officeDocument/2006/relationships/image" Target="../media/image173.pn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94.jpeg"/><Relationship Id="rId4" Type="http://schemas.openxmlformats.org/officeDocument/2006/relationships/image" Target="../media/image173.png"/></Relationships>
</file>

<file path=ppt/slideLayouts/_rels/slideLayout191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73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7" Type="http://schemas.microsoft.com/office/2007/relationships/hdphoto" Target="../media/hdphoto33.wdp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98.png"/><Relationship Id="rId5" Type="http://schemas.openxmlformats.org/officeDocument/2006/relationships/image" Target="../media/image197.png"/><Relationship Id="rId4" Type="http://schemas.openxmlformats.org/officeDocument/2006/relationships/image" Target="../media/image196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97.png"/><Relationship Id="rId4" Type="http://schemas.openxmlformats.org/officeDocument/2006/relationships/image" Target="../media/image196.png"/></Relationships>
</file>

<file path=ppt/slideLayouts/_rels/slideLayout194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99.jpeg"/><Relationship Id="rId4" Type="http://schemas.openxmlformats.org/officeDocument/2006/relationships/image" Target="../media/image173.png"/></Relationships>
</file>

<file path=ppt/slideLayouts/_rels/slideLayout195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0.jpeg"/><Relationship Id="rId4" Type="http://schemas.openxmlformats.org/officeDocument/2006/relationships/image" Target="../media/image173.png"/></Relationships>
</file>

<file path=ppt/slideLayouts/_rels/slideLayout196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1.png"/><Relationship Id="rId4" Type="http://schemas.openxmlformats.org/officeDocument/2006/relationships/image" Target="../media/image173.png"/></Relationships>
</file>

<file path=ppt/slideLayouts/_rels/slideLayout197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2.jpeg"/><Relationship Id="rId4" Type="http://schemas.openxmlformats.org/officeDocument/2006/relationships/image" Target="../media/image173.png"/></Relationships>
</file>

<file path=ppt/slideLayouts/_rels/slideLayout198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3.jpeg"/><Relationship Id="rId4" Type="http://schemas.openxmlformats.org/officeDocument/2006/relationships/image" Target="../media/image173.png"/></Relationships>
</file>

<file path=ppt/slideLayouts/_rels/slideLayout199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4.jpeg"/><Relationship Id="rId4" Type="http://schemas.openxmlformats.org/officeDocument/2006/relationships/image" Target="../media/image17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5.jpeg"/><Relationship Id="rId4" Type="http://schemas.openxmlformats.org/officeDocument/2006/relationships/image" Target="../media/image173.png"/></Relationships>
</file>

<file path=ppt/slideLayouts/_rels/slideLayout201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6.jpeg"/><Relationship Id="rId4" Type="http://schemas.openxmlformats.org/officeDocument/2006/relationships/image" Target="../media/image173.png"/></Relationships>
</file>

<file path=ppt/slideLayouts/_rels/slideLayout202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7.jpeg"/><Relationship Id="rId4" Type="http://schemas.openxmlformats.org/officeDocument/2006/relationships/image" Target="../media/image173.png"/></Relationships>
</file>

<file path=ppt/slideLayouts/_rels/slideLayout203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8.jpeg"/><Relationship Id="rId4" Type="http://schemas.openxmlformats.org/officeDocument/2006/relationships/image" Target="../media/image173.png"/></Relationships>
</file>

<file path=ppt/slideLayouts/_rels/slideLayout204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9.jpeg"/><Relationship Id="rId4" Type="http://schemas.openxmlformats.org/officeDocument/2006/relationships/image" Target="../media/image173.png"/></Relationships>
</file>

<file path=ppt/slideLayouts/_rels/slideLayout205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0.jpeg"/><Relationship Id="rId4" Type="http://schemas.openxmlformats.org/officeDocument/2006/relationships/image" Target="../media/image173.png"/></Relationships>
</file>

<file path=ppt/slideLayouts/_rels/slideLayout206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1.jpeg"/><Relationship Id="rId4" Type="http://schemas.openxmlformats.org/officeDocument/2006/relationships/image" Target="../media/image173.png"/></Relationships>
</file>

<file path=ppt/slideLayouts/_rels/slideLayout207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2.jpeg"/><Relationship Id="rId4" Type="http://schemas.openxmlformats.org/officeDocument/2006/relationships/image" Target="../media/image173.png"/></Relationships>
</file>

<file path=ppt/slideLayouts/_rels/slideLayout208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3.jpeg"/><Relationship Id="rId4" Type="http://schemas.openxmlformats.org/officeDocument/2006/relationships/image" Target="../media/image173.png"/></Relationships>
</file>

<file path=ppt/slideLayouts/_rels/slideLayout209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4.jpeg"/><Relationship Id="rId4" Type="http://schemas.openxmlformats.org/officeDocument/2006/relationships/image" Target="../media/image17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5.jpeg"/><Relationship Id="rId4" Type="http://schemas.openxmlformats.org/officeDocument/2006/relationships/image" Target="../media/image173.png"/></Relationships>
</file>

<file path=ppt/slideLayouts/_rels/slideLayout211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6.jpeg"/><Relationship Id="rId4" Type="http://schemas.openxmlformats.org/officeDocument/2006/relationships/image" Target="../media/image173.png"/></Relationships>
</file>

<file path=ppt/slideLayouts/_rels/slideLayout212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73.png"/></Relationships>
</file>

<file path=ppt/slideLayouts/_rels/slideLayout213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217.png"/><Relationship Id="rId1" Type="http://schemas.openxmlformats.org/officeDocument/2006/relationships/slideMaster" Target="../slideMasters/slideMaster13.xml"/><Relationship Id="rId5" Type="http://schemas.microsoft.com/office/2007/relationships/hdphoto" Target="../media/hdphoto34.wdp"/><Relationship Id="rId4" Type="http://schemas.openxmlformats.org/officeDocument/2006/relationships/image" Target="../media/image218.png"/></Relationships>
</file>

<file path=ppt/slideLayouts/_rels/slideLayout214.xml.rels><?xml version="1.0" encoding="UTF-8" standalone="yes"?>
<Relationships xmlns="http://schemas.openxmlformats.org/package/2006/relationships"><Relationship Id="rId3" Type="http://schemas.microsoft.com/office/2007/relationships/hdphoto" Target="../media/hdphoto34.wdp"/><Relationship Id="rId2" Type="http://schemas.openxmlformats.org/officeDocument/2006/relationships/image" Target="../media/image218.png"/><Relationship Id="rId1" Type="http://schemas.openxmlformats.org/officeDocument/2006/relationships/slideMaster" Target="../slideMasters/slideMaster13.xml"/></Relationships>
</file>

<file path=ppt/slideLayouts/_rels/slideLayout215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217.png"/><Relationship Id="rId1" Type="http://schemas.openxmlformats.org/officeDocument/2006/relationships/slideMaster" Target="../slideMasters/slideMaster13.xml"/><Relationship Id="rId5" Type="http://schemas.microsoft.com/office/2007/relationships/hdphoto" Target="../media/hdphoto34.wdp"/><Relationship Id="rId4" Type="http://schemas.openxmlformats.org/officeDocument/2006/relationships/image" Target="../media/image218.png"/></Relationships>
</file>

<file path=ppt/slideLayouts/_rels/slideLayout216.xml.rels><?xml version="1.0" encoding="UTF-8" standalone="yes"?>
<Relationships xmlns="http://schemas.openxmlformats.org/package/2006/relationships"><Relationship Id="rId3" Type="http://schemas.microsoft.com/office/2007/relationships/hdphoto" Target="../media/hdphoto34.wdp"/><Relationship Id="rId2" Type="http://schemas.openxmlformats.org/officeDocument/2006/relationships/image" Target="../media/image218.png"/><Relationship Id="rId1" Type="http://schemas.openxmlformats.org/officeDocument/2006/relationships/slideMaster" Target="../slideMasters/slideMaster13.xml"/></Relationships>
</file>

<file path=ppt/slideLayouts/_rels/slideLayout217.xml.rels><?xml version="1.0" encoding="UTF-8" standalone="yes"?>
<Relationships xmlns="http://schemas.openxmlformats.org/package/2006/relationships"><Relationship Id="rId3" Type="http://schemas.microsoft.com/office/2007/relationships/hdphoto" Target="../media/hdphoto34.wdp"/><Relationship Id="rId2" Type="http://schemas.openxmlformats.org/officeDocument/2006/relationships/image" Target="../media/image218.png"/><Relationship Id="rId1" Type="http://schemas.openxmlformats.org/officeDocument/2006/relationships/slideMaster" Target="../slideMasters/slideMaster13.xml"/></Relationships>
</file>

<file path=ppt/slideLayouts/_rels/slideLayout2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3.wdp"/></Relationships>
</file>

<file path=ppt/slideLayouts/_rels/slideLayout22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22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6.wdp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7.wdp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8.wdp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9.wdp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0.wdp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1.wdp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2.wdp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3.wdp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8.jpeg"/><Relationship Id="rId4" Type="http://schemas.microsoft.com/office/2007/relationships/hdphoto" Target="../media/hdphoto14.wdp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9.jpeg"/><Relationship Id="rId4" Type="http://schemas.microsoft.com/office/2007/relationships/hdphoto" Target="../media/hdphoto14.wdp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0.jpeg"/><Relationship Id="rId4" Type="http://schemas.microsoft.com/office/2007/relationships/hdphoto" Target="../media/hdphoto14.wdp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1.jpeg"/><Relationship Id="rId4" Type="http://schemas.microsoft.com/office/2007/relationships/hdphoto" Target="../media/hdphoto14.wdp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2.jpeg"/><Relationship Id="rId4" Type="http://schemas.microsoft.com/office/2007/relationships/hdphoto" Target="../media/hdphoto14.wdp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3.jpeg"/><Relationship Id="rId4" Type="http://schemas.microsoft.com/office/2007/relationships/hdphoto" Target="../media/hdphoto14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3.wdp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4.jpeg"/><Relationship Id="rId4" Type="http://schemas.microsoft.com/office/2007/relationships/hdphoto" Target="../media/hdphoto14.wdp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5.jpeg"/><Relationship Id="rId4" Type="http://schemas.microsoft.com/office/2007/relationships/hdphoto" Target="../media/hdphoto14.wdp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6.jpeg"/><Relationship Id="rId4" Type="http://schemas.microsoft.com/office/2007/relationships/hdphoto" Target="../media/hdphoto14.wdp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7.jpeg"/><Relationship Id="rId4" Type="http://schemas.microsoft.com/office/2007/relationships/hdphoto" Target="../media/hdphoto14.wdp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8.jpeg"/><Relationship Id="rId4" Type="http://schemas.microsoft.com/office/2007/relationships/hdphoto" Target="../media/hdphoto14.wdp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9.jpeg"/><Relationship Id="rId4" Type="http://schemas.microsoft.com/office/2007/relationships/hdphoto" Target="../media/hdphoto14.wdp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0.jpeg"/><Relationship Id="rId4" Type="http://schemas.microsoft.com/office/2007/relationships/hdphoto" Target="../media/hdphoto14.wdp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1.jpeg"/><Relationship Id="rId4" Type="http://schemas.microsoft.com/office/2007/relationships/hdphoto" Target="../media/hdphoto14.wdp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2.jpeg"/><Relationship Id="rId4" Type="http://schemas.microsoft.com/office/2007/relationships/hdphoto" Target="../media/hdphoto14.wdp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3.jpeg"/><Relationship Id="rId4" Type="http://schemas.microsoft.com/office/2007/relationships/hdphoto" Target="../media/hdphoto14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4.jpeg"/><Relationship Id="rId4" Type="http://schemas.microsoft.com/office/2007/relationships/hdphoto" Target="../media/hdphoto14.wdp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5.jpeg"/><Relationship Id="rId4" Type="http://schemas.microsoft.com/office/2007/relationships/hdphoto" Target="../media/hdphoto14.wdp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6.jpeg"/><Relationship Id="rId4" Type="http://schemas.microsoft.com/office/2007/relationships/hdphoto" Target="../media/hdphoto14.wdp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4" Type="http://schemas.microsoft.com/office/2007/relationships/hdphoto" Target="../media/hdphoto14.wdp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6.wdp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7.wdp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8.wdp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F 1">
    <p:bg>
      <p:bgPr>
        <a:gradFill>
          <a:gsLst>
            <a:gs pos="24000">
              <a:schemeClr val="bg1">
                <a:alpha val="0"/>
              </a:schemeClr>
            </a:gs>
            <a:gs pos="100000">
              <a:srgbClr val="D2EEF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>
            <a:extLst>
              <a:ext uri="{FF2B5EF4-FFF2-40B4-BE49-F238E27FC236}">
                <a16:creationId xmlns:a16="http://schemas.microsoft.com/office/drawing/2014/main" id="{B43C5739-9C50-4600-9D8C-4447946A6F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0024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191AB789-4696-4D28-8BA1-80BA27DDF8D9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DAF46B8-C243-4C9F-AF45-36B2280FB4D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6A9F479D-D471-49DF-AC54-46C87E517D50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1968E00-6E91-4173-A9A3-5DEA2D53D979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33708CC-3E47-41A1-AE08-A9241C1B242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60AA8C5-CD0E-40BE-B9AC-CE4A89001B8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Circle: Hollow 13">
              <a:extLst>
                <a:ext uri="{FF2B5EF4-FFF2-40B4-BE49-F238E27FC236}">
                  <a16:creationId xmlns:a16="http://schemas.microsoft.com/office/drawing/2014/main" id="{A6C49861-D4FC-4572-B2CD-9B4F661E6E6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3DF7485-32A6-4E17-868B-C7991C3FEC4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Circle: Hollow 15">
              <a:extLst>
                <a:ext uri="{FF2B5EF4-FFF2-40B4-BE49-F238E27FC236}">
                  <a16:creationId xmlns:a16="http://schemas.microsoft.com/office/drawing/2014/main" id="{14BE175D-CC04-4FA0-B052-01427B361F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751D0CE-6385-47F8-BE2A-E5B0319DA8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3C4FCADC-3A29-472B-A041-AF95888282E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0A4CC093-256C-452E-ADF2-8AC8AD0B07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1055BC9F-76B2-4DC9-B646-C3DBF08FE73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Circle: Hollow 25">
              <a:extLst>
                <a:ext uri="{FF2B5EF4-FFF2-40B4-BE49-F238E27FC236}">
                  <a16:creationId xmlns:a16="http://schemas.microsoft.com/office/drawing/2014/main" id="{C1D61945-1D36-4C46-94EA-09639294D24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003A1C6A-1D6A-4180-A0D9-DC2133AB5E0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5B64840F-D5C1-4379-AA9D-E34F57D819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6E876024-2B36-40F8-BD2F-E22EC8FBA6C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B8E76BA-92E6-4A24-B419-903994AFA07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1" name="Circle: Hollow 30">
              <a:extLst>
                <a:ext uri="{FF2B5EF4-FFF2-40B4-BE49-F238E27FC236}">
                  <a16:creationId xmlns:a16="http://schemas.microsoft.com/office/drawing/2014/main" id="{E4DAC61B-A6EA-40DF-A6CA-406E78A3482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0B4BF62-C933-40EF-9FFD-36F7DFD2FA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AD7FE86-F458-477D-8987-7EB5E430B2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B4C900C-B786-4C7D-B946-C89ADC1F868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025D3909-379A-47F0-BE09-6E6F278F48F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E22B5079-F74D-4727-89F7-6199AF62657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2B01D1C-650D-42BB-BF15-ACD8121D92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1AE4ACF3-006A-4F3C-9CB1-D0CE27F8A83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D46D9B4-E9AB-433F-AEC7-A32416D14F4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E1F2AF9C-48E6-45FD-9799-5AFB06701B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B0B57178-91CE-43F2-8F84-93DFBDC06A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6CAF3AF-BE7C-4BE0-9F3E-414DDDE9546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44D45B54-E16A-41AE-906E-60C66656DB3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384992A8-B534-4C80-B5D2-165C2096B56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345CB2C0-559C-483A-B467-18495FC6FE9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2704BC36-310C-499E-88DA-D5B9B0C46F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C4769ECB-893B-469D-AFF4-A26CF0D7724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32318BD6-0127-461A-AE31-450236FAC8F9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7CEC3FF5-C7A7-44D8-964F-7EEAAC4B3D5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63E4DF0-3BDF-44EF-B4CF-4695F482286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2FB73E6A-162D-4597-9949-E2DCBDCA7A1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43743B5-5C57-4A17-BD16-FAFEAF8437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FA380C2E-433A-4855-AE90-561C1DD5BC11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9A8EFCA7-D62A-40AF-A0EE-8CD32139C68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ACDDF769-3287-42DE-8726-81CD485DD1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74DFBA7-E237-4694-A16D-8C66E667047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Circle: Hollow 56">
              <a:extLst>
                <a:ext uri="{FF2B5EF4-FFF2-40B4-BE49-F238E27FC236}">
                  <a16:creationId xmlns:a16="http://schemas.microsoft.com/office/drawing/2014/main" id="{2899A1AA-7CE5-469A-8DDE-69F0E7B41CB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8" name="Circle: Hollow 57">
              <a:extLst>
                <a:ext uri="{FF2B5EF4-FFF2-40B4-BE49-F238E27FC236}">
                  <a16:creationId xmlns:a16="http://schemas.microsoft.com/office/drawing/2014/main" id="{773D1B30-05A4-495B-931B-968ECE0C14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B1EE1E1-7E20-6D62-820F-DC62BEF9FDCB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AD8333E-E54B-B026-1706-3B38E501DF3E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8A88B2C-EC52-B152-1A98-6A179C7469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3E79227-4909-6C19-9047-3A186B1286FD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4E5A6FC-48CA-B2BE-B291-7A961D2A49CA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33079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S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45F9B6AB-F9A0-4EC1-A281-A500C0BBC4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31968" y="0"/>
            <a:ext cx="728432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CB1764CA-5D9E-486C-B161-FDBA6DEA1EB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36" b="99466" l="65302" r="96520">
                        <a14:foregroundMark x1="96622" y1="59188" x2="96520" y2="61111"/>
                        <a14:foregroundMark x1="96622" y1="54701" x2="95906" y2="56944"/>
                        <a14:foregroundMark x1="82600" y1="24573" x2="80348" y2="27457"/>
                        <a14:foregroundMark x1="84749" y1="22436" x2="90276" y2="24038"/>
                        <a14:foregroundMark x1="67451" y1="63034" x2="65404" y2="64103"/>
                        <a14:foregroundMark x1="94063" y1="77350" x2="95906" y2="99466"/>
                        <a14:foregroundMark x1="78506" y1="83120" x2="73900" y2="98504"/>
                        <a14:foregroundMark x1="87206" y1="22650" x2="87206" y2="22650"/>
                        <a14:foregroundMark x1="87206" y1="22329" x2="85466" y2="22222"/>
                        <a14:backgroundMark x1="72979" y1="91239" x2="71341" y2="99573"/>
                        <a14:backgroundMark x1="85670" y1="21902" x2="85670" y2="219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474"/>
          <a:stretch/>
        </p:blipFill>
        <p:spPr bwMode="auto">
          <a:xfrm flipH="1">
            <a:off x="-35859" y="-46506"/>
            <a:ext cx="2680288" cy="690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DCBC4F1-0CBB-EEF7-C441-FAEB0E27FC1C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619D999-1F7E-D5C5-92DF-116741FBBB41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6561DDBC-AD1B-9280-3570-9E126C0F186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A308CA03-E425-B12F-B2A2-C3041EE3ACED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A7F9BC1E-679B-B477-E0A3-5EECEBE6B2D2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194050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E66E0CA9-813C-4A38-A442-D54CF42E456D}"/>
              </a:ext>
            </a:extLst>
          </p:cNvPr>
          <p:cNvSpPr>
            <a:spLocks noChangeAspect="1"/>
          </p:cNvSpPr>
          <p:nvPr userDrawn="1"/>
        </p:nvSpPr>
        <p:spPr>
          <a:xfrm>
            <a:off x="9156043" y="-430893"/>
            <a:ext cx="3439395" cy="3406231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EE4F08F6-241A-48C3-95FB-BCE74183AF22}"/>
              </a:ext>
            </a:extLst>
          </p:cNvPr>
          <p:cNvSpPr>
            <a:spLocks noChangeAspect="1"/>
          </p:cNvSpPr>
          <p:nvPr userDrawn="1"/>
        </p:nvSpPr>
        <p:spPr>
          <a:xfrm>
            <a:off x="9256323" y="-342876"/>
            <a:ext cx="3236996" cy="320578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61">
            <a:extLst>
              <a:ext uri="{FF2B5EF4-FFF2-40B4-BE49-F238E27FC236}">
                <a16:creationId xmlns:a16="http://schemas.microsoft.com/office/drawing/2014/main" id="{08E6D46D-DA71-472B-A63A-5E527CCE27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17338" y="-196343"/>
            <a:ext cx="2941233" cy="2941233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9D4293BE-EADE-0E22-4133-8765D7F6E0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356990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18989EB-1D25-438A-979E-CDBA9AE68EB3}"/>
              </a:ext>
            </a:extLst>
          </p:cNvPr>
          <p:cNvSpPr>
            <a:spLocks noChangeAspect="1"/>
          </p:cNvSpPr>
          <p:nvPr userDrawn="1"/>
        </p:nvSpPr>
        <p:spPr>
          <a:xfrm>
            <a:off x="9166646" y="-431513"/>
            <a:ext cx="3439395" cy="3406231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0CD1C5A-B87E-486B-984D-342A4A3D391A}"/>
              </a:ext>
            </a:extLst>
          </p:cNvPr>
          <p:cNvSpPr>
            <a:spLocks noChangeAspect="1"/>
          </p:cNvSpPr>
          <p:nvPr userDrawn="1"/>
        </p:nvSpPr>
        <p:spPr>
          <a:xfrm>
            <a:off x="9250981" y="-332745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66">
            <a:extLst>
              <a:ext uri="{FF2B5EF4-FFF2-40B4-BE49-F238E27FC236}">
                <a16:creationId xmlns:a16="http://schemas.microsoft.com/office/drawing/2014/main" id="{74F869F0-BACE-41C7-A322-B09511CD34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31485" y="-145618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6F01F77-6A39-DDEC-7FC5-C3AFD8CE8F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359310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E66E0CA9-813C-4A38-A442-D54CF42E456D}"/>
              </a:ext>
            </a:extLst>
          </p:cNvPr>
          <p:cNvSpPr>
            <a:spLocks noChangeAspect="1"/>
          </p:cNvSpPr>
          <p:nvPr userDrawn="1"/>
        </p:nvSpPr>
        <p:spPr>
          <a:xfrm>
            <a:off x="9156043" y="-430893"/>
            <a:ext cx="3439395" cy="3406231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EE4F08F6-241A-48C3-95FB-BCE74183AF22}"/>
              </a:ext>
            </a:extLst>
          </p:cNvPr>
          <p:cNvSpPr>
            <a:spLocks noChangeAspect="1"/>
          </p:cNvSpPr>
          <p:nvPr userDrawn="1"/>
        </p:nvSpPr>
        <p:spPr>
          <a:xfrm>
            <a:off x="9256323" y="-342876"/>
            <a:ext cx="3236996" cy="320578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71" descr="A picture containing person, ground, outdoor&#10;&#10;Description automatically generated">
            <a:extLst>
              <a:ext uri="{FF2B5EF4-FFF2-40B4-BE49-F238E27FC236}">
                <a16:creationId xmlns:a16="http://schemas.microsoft.com/office/drawing/2014/main" id="{223E0373-AB26-4C70-8293-B94DD4302C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3648" y="-174605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B0030ED-8861-C16B-2E85-6240DADEA4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41434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144">
            <a:extLst>
              <a:ext uri="{FF2B5EF4-FFF2-40B4-BE49-F238E27FC236}">
                <a16:creationId xmlns:a16="http://schemas.microsoft.com/office/drawing/2014/main" id="{1FFD8D38-55F1-455B-8F57-103CA35CDC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61652" y="-181354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435B61A-BA63-9089-6553-A906206224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235916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E66E0CA9-813C-4A38-A442-D54CF42E456D}"/>
              </a:ext>
            </a:extLst>
          </p:cNvPr>
          <p:cNvSpPr>
            <a:spLocks noChangeAspect="1"/>
          </p:cNvSpPr>
          <p:nvPr userDrawn="1"/>
        </p:nvSpPr>
        <p:spPr>
          <a:xfrm>
            <a:off x="9156043" y="-430893"/>
            <a:ext cx="3439395" cy="3406231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EE4F08F6-241A-48C3-95FB-BCE74183AF22}"/>
              </a:ext>
            </a:extLst>
          </p:cNvPr>
          <p:cNvSpPr>
            <a:spLocks noChangeAspect="1"/>
          </p:cNvSpPr>
          <p:nvPr userDrawn="1"/>
        </p:nvSpPr>
        <p:spPr>
          <a:xfrm>
            <a:off x="9256323" y="-342876"/>
            <a:ext cx="3236996" cy="320578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28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CAE5C3F0-7A57-4509-A39B-B712FEE8DD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41703" y="-184115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CA0FB04-1D69-A902-E489-D59662D9E3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654702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18989EB-1D25-438A-979E-CDBA9AE68EB3}"/>
              </a:ext>
            </a:extLst>
          </p:cNvPr>
          <p:cNvSpPr>
            <a:spLocks noChangeAspect="1"/>
          </p:cNvSpPr>
          <p:nvPr userDrawn="1"/>
        </p:nvSpPr>
        <p:spPr>
          <a:xfrm>
            <a:off x="9166646" y="-431513"/>
            <a:ext cx="3439395" cy="3406231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0CD1C5A-B87E-486B-984D-342A4A3D391A}"/>
              </a:ext>
            </a:extLst>
          </p:cNvPr>
          <p:cNvSpPr>
            <a:spLocks noChangeAspect="1"/>
          </p:cNvSpPr>
          <p:nvPr userDrawn="1"/>
        </p:nvSpPr>
        <p:spPr>
          <a:xfrm>
            <a:off x="9250981" y="-332745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9" name="Picture Placeholder 137">
            <a:extLst>
              <a:ext uri="{FF2B5EF4-FFF2-40B4-BE49-F238E27FC236}">
                <a16:creationId xmlns:a16="http://schemas.microsoft.com/office/drawing/2014/main" id="{A88CDFA4-3048-4B5A-B351-99A4F57263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1933" y="-161905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A0DEC3F-08F9-2545-6974-CF00473620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48782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18989EB-1D25-438A-979E-CDBA9AE68EB3}"/>
              </a:ext>
            </a:extLst>
          </p:cNvPr>
          <p:cNvSpPr>
            <a:spLocks noChangeAspect="1"/>
          </p:cNvSpPr>
          <p:nvPr userDrawn="1"/>
        </p:nvSpPr>
        <p:spPr>
          <a:xfrm>
            <a:off x="9166646" y="-431513"/>
            <a:ext cx="3439395" cy="3406231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0CD1C5A-B87E-486B-984D-342A4A3D391A}"/>
              </a:ext>
            </a:extLst>
          </p:cNvPr>
          <p:cNvSpPr>
            <a:spLocks noChangeAspect="1"/>
          </p:cNvSpPr>
          <p:nvPr userDrawn="1"/>
        </p:nvSpPr>
        <p:spPr>
          <a:xfrm>
            <a:off x="9250981" y="-332745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32">
            <a:extLst>
              <a:ext uri="{FF2B5EF4-FFF2-40B4-BE49-F238E27FC236}">
                <a16:creationId xmlns:a16="http://schemas.microsoft.com/office/drawing/2014/main" id="{D4F8B68D-F1AB-4BBB-93B4-ADA9BAD1EE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43950" y="-163609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6018269-6127-6A7A-F638-6FF35AB347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83259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268">
            <a:extLst>
              <a:ext uri="{FF2B5EF4-FFF2-40B4-BE49-F238E27FC236}">
                <a16:creationId xmlns:a16="http://schemas.microsoft.com/office/drawing/2014/main" id="{9667BFF7-1B13-4CC9-BF2C-11388F0C33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61439" y="-188152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CEBF8D7-05CE-77B6-1FBD-8D70198259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7395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E66E0CA9-813C-4A38-A442-D54CF42E456D}"/>
              </a:ext>
            </a:extLst>
          </p:cNvPr>
          <p:cNvSpPr>
            <a:spLocks noChangeAspect="1"/>
          </p:cNvSpPr>
          <p:nvPr userDrawn="1"/>
        </p:nvSpPr>
        <p:spPr>
          <a:xfrm>
            <a:off x="9156043" y="-430893"/>
            <a:ext cx="3439395" cy="3406231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EE4F08F6-241A-48C3-95FB-BCE74183AF22}"/>
              </a:ext>
            </a:extLst>
          </p:cNvPr>
          <p:cNvSpPr>
            <a:spLocks noChangeAspect="1"/>
          </p:cNvSpPr>
          <p:nvPr userDrawn="1"/>
        </p:nvSpPr>
        <p:spPr>
          <a:xfrm>
            <a:off x="9256323" y="-342876"/>
            <a:ext cx="3236996" cy="320578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5" name="Picture Placeholder 273" descr="A picture containing person, yellow, blue&#10;&#10;Description automatically generated">
            <a:extLst>
              <a:ext uri="{FF2B5EF4-FFF2-40B4-BE49-F238E27FC236}">
                <a16:creationId xmlns:a16="http://schemas.microsoft.com/office/drawing/2014/main" id="{7C958FA5-9EB2-4506-9A88-C836A32299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35864" y="-193876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169DF41-3B6F-8635-719F-1409A46592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20497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18989EB-1D25-438A-979E-CDBA9AE68EB3}"/>
              </a:ext>
            </a:extLst>
          </p:cNvPr>
          <p:cNvSpPr>
            <a:spLocks noChangeAspect="1"/>
          </p:cNvSpPr>
          <p:nvPr userDrawn="1"/>
        </p:nvSpPr>
        <p:spPr>
          <a:xfrm>
            <a:off x="9166646" y="-431513"/>
            <a:ext cx="3439395" cy="3406231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0CD1C5A-B87E-486B-984D-342A4A3D391A}"/>
              </a:ext>
            </a:extLst>
          </p:cNvPr>
          <p:cNvSpPr>
            <a:spLocks noChangeAspect="1"/>
          </p:cNvSpPr>
          <p:nvPr userDrawn="1"/>
        </p:nvSpPr>
        <p:spPr>
          <a:xfrm>
            <a:off x="9250981" y="-332745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283">
            <a:extLst>
              <a:ext uri="{FF2B5EF4-FFF2-40B4-BE49-F238E27FC236}">
                <a16:creationId xmlns:a16="http://schemas.microsoft.com/office/drawing/2014/main" id="{14DC6DCD-0887-4C8A-AD51-C66A4BF969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1764" y="-156396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76867EF-CD25-BEFB-0B60-407190F824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4605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W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">
            <a:extLst>
              <a:ext uri="{FF2B5EF4-FFF2-40B4-BE49-F238E27FC236}">
                <a16:creationId xmlns:a16="http://schemas.microsoft.com/office/drawing/2014/main" id="{323FBCDE-CAB9-449A-85C0-B8C741E8236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-1"/>
            <a:ext cx="7130921" cy="6864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2A1260F-9632-2A62-8FAD-995CFC250AE3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F7976B-D642-BEFD-3680-1933AB9A5D06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395B620-FDA5-30AA-F50D-56A631848B8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D95D600-7E66-0DD3-0324-0BE9DDF82260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1168528-A003-0AE1-C5E6-4FD236A48A28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4327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278">
            <a:extLst>
              <a:ext uri="{FF2B5EF4-FFF2-40B4-BE49-F238E27FC236}">
                <a16:creationId xmlns:a16="http://schemas.microsoft.com/office/drawing/2014/main" id="{867149C0-22C6-417C-9400-0D1F080D45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61439" y="-185519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4858F93-09E9-3B1F-37D2-EB444B0D2D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985544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1" name="Picture Placeholder 159" descr="A group of people in clothing&#10;&#10;Description automatically generated with low confidence">
            <a:extLst>
              <a:ext uri="{FF2B5EF4-FFF2-40B4-BE49-F238E27FC236}">
                <a16:creationId xmlns:a16="http://schemas.microsoft.com/office/drawing/2014/main" id="{86B42518-54F2-48D0-AB37-26AB746B9A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43"/>
          <a:stretch/>
        </p:blipFill>
        <p:spPr>
          <a:xfrm>
            <a:off x="9450647" y="-194761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E30FC43-62E6-9827-A9E3-04247A70A8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491509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E66E0CA9-813C-4A38-A442-D54CF42E456D}"/>
              </a:ext>
            </a:extLst>
          </p:cNvPr>
          <p:cNvSpPr>
            <a:spLocks noChangeAspect="1"/>
          </p:cNvSpPr>
          <p:nvPr userDrawn="1"/>
        </p:nvSpPr>
        <p:spPr>
          <a:xfrm>
            <a:off x="9156043" y="-430893"/>
            <a:ext cx="3439395" cy="3406231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EE4F08F6-241A-48C3-95FB-BCE74183AF22}"/>
              </a:ext>
            </a:extLst>
          </p:cNvPr>
          <p:cNvSpPr>
            <a:spLocks noChangeAspect="1"/>
          </p:cNvSpPr>
          <p:nvPr userDrawn="1"/>
        </p:nvSpPr>
        <p:spPr>
          <a:xfrm>
            <a:off x="9256323" y="-342876"/>
            <a:ext cx="3236996" cy="320578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49">
            <a:extLst>
              <a:ext uri="{FF2B5EF4-FFF2-40B4-BE49-F238E27FC236}">
                <a16:creationId xmlns:a16="http://schemas.microsoft.com/office/drawing/2014/main" id="{E6F26590-4515-4493-9748-C1D3865E57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46823" y="-180955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B0E4112-6506-6FE3-F3B6-E950D191C4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17667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18989EB-1D25-438A-979E-CDBA9AE68EB3}"/>
              </a:ext>
            </a:extLst>
          </p:cNvPr>
          <p:cNvSpPr>
            <a:spLocks noChangeAspect="1"/>
          </p:cNvSpPr>
          <p:nvPr userDrawn="1"/>
        </p:nvSpPr>
        <p:spPr>
          <a:xfrm>
            <a:off x="9166646" y="-431513"/>
            <a:ext cx="3439395" cy="3406231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0CD1C5A-B87E-486B-984D-342A4A3D391A}"/>
              </a:ext>
            </a:extLst>
          </p:cNvPr>
          <p:cNvSpPr>
            <a:spLocks noChangeAspect="1"/>
          </p:cNvSpPr>
          <p:nvPr userDrawn="1"/>
        </p:nvSpPr>
        <p:spPr>
          <a:xfrm>
            <a:off x="9250981" y="-332745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54">
            <a:extLst>
              <a:ext uri="{FF2B5EF4-FFF2-40B4-BE49-F238E27FC236}">
                <a16:creationId xmlns:a16="http://schemas.microsoft.com/office/drawing/2014/main" id="{99ED9B69-E260-4071-A1FE-0CAD30A88C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1010" y="-158441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A719DBC-112E-F094-92AF-9B66EDBD09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73605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E8F8C57A-9156-4C48-80B8-BB5DBA493B8B}"/>
              </a:ext>
            </a:extLst>
          </p:cNvPr>
          <p:cNvSpPr>
            <a:spLocks noChangeAspect="1"/>
          </p:cNvSpPr>
          <p:nvPr userDrawn="1"/>
        </p:nvSpPr>
        <p:spPr>
          <a:xfrm>
            <a:off x="9156146" y="-437487"/>
            <a:ext cx="3439291" cy="3406128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D9BD97E-8857-487F-A778-D7DB70EA67CF}"/>
              </a:ext>
            </a:extLst>
          </p:cNvPr>
          <p:cNvSpPr>
            <a:spLocks noChangeAspect="1"/>
          </p:cNvSpPr>
          <p:nvPr userDrawn="1"/>
        </p:nvSpPr>
        <p:spPr>
          <a:xfrm>
            <a:off x="9242995" y="-345174"/>
            <a:ext cx="3261356" cy="3229908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6C7233ED-32AA-4806-845D-0643D1B06CE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9429064" y="-180364"/>
            <a:ext cx="2881395" cy="2881395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7EAA926-E4EB-022B-BF38-57E75A5977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071810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5" name="Picture Placeholder 24">
            <a:extLst>
              <a:ext uri="{FF2B5EF4-FFF2-40B4-BE49-F238E27FC236}">
                <a16:creationId xmlns:a16="http://schemas.microsoft.com/office/drawing/2014/main" id="{C757CF11-20B2-4700-8713-4A67CFD867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68041" y="3883604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86B18F8-3B49-4A0E-2F43-37B760B163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948797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97BC6BC-FCCF-4035-B522-792DA2EB4FCC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36EDA751-9BE6-402F-ADB0-9FB4CD24CA98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2" name="Picture Placeholder 19">
            <a:extLst>
              <a:ext uri="{FF2B5EF4-FFF2-40B4-BE49-F238E27FC236}">
                <a16:creationId xmlns:a16="http://schemas.microsoft.com/office/drawing/2014/main" id="{6881D655-B486-4AB5-B00C-EF67803F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71165" y="3886995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A75B88A-966F-1F1A-E6A3-9295335393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25113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660F7EF0-9E80-47B6-BA1C-0A8975B5B99B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87E70D84-CA57-4A62-A85F-13AACCB4B371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2" name="Picture Placeholder 14">
            <a:extLst>
              <a:ext uri="{FF2B5EF4-FFF2-40B4-BE49-F238E27FC236}">
                <a16:creationId xmlns:a16="http://schemas.microsoft.com/office/drawing/2014/main" id="{9F00E62C-64C3-4F25-825D-900EFD72EB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01084" y="3889550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9F14ED5B-A010-3CD7-DF94-C94AE7F833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35088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29">
            <a:extLst>
              <a:ext uri="{FF2B5EF4-FFF2-40B4-BE49-F238E27FC236}">
                <a16:creationId xmlns:a16="http://schemas.microsoft.com/office/drawing/2014/main" id="{BCE4A188-44D9-4D50-8252-5E5A0F3389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6"/>
          <a:stretch/>
        </p:blipFill>
        <p:spPr>
          <a:xfrm>
            <a:off x="-168041" y="3878999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4B02327-0E32-A4F1-7E1F-E0FB2BE7D2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5121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9" name="Picture Placeholder 83" descr="A picture containing person&#10;&#10;Description automatically generated">
            <a:extLst>
              <a:ext uri="{FF2B5EF4-FFF2-40B4-BE49-F238E27FC236}">
                <a16:creationId xmlns:a16="http://schemas.microsoft.com/office/drawing/2014/main" id="{2BEA96F9-02D1-4229-BD4F-A862A957E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476" y="3879878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53E05C1-9BC3-2D6E-D10C-AA0BEE817B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46371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W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2">
            <a:extLst>
              <a:ext uri="{FF2B5EF4-FFF2-40B4-BE49-F238E27FC236}">
                <a16:creationId xmlns:a16="http://schemas.microsoft.com/office/drawing/2014/main" id="{EEDDF8FE-E60C-4C1E-B6C0-8988D3D760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392" y="494278"/>
            <a:ext cx="7282925" cy="6363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604A2C2B-9EE5-4F45-B951-1CD0A801AF1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299" b="99485" l="0" r="45405">
                        <a14:foregroundMark x1="17568" y1="3299" x2="24775" y2="15979"/>
                        <a14:foregroundMark x1="9550" y1="38454" x2="23604" y2="78144"/>
                        <a14:foregroundMark x1="23604" y1="78144" x2="37748" y2="99485"/>
                        <a14:foregroundMark x1="36757" y1="38041" x2="1081" y2="93299"/>
                        <a14:foregroundMark x1="7387" y1="39897" x2="631" y2="43402"/>
                        <a14:foregroundMark x1="631" y1="43402" x2="0" y2="44948"/>
                        <a14:foregroundMark x1="40360" y1="48454" x2="45405" y2="65464"/>
                        <a14:foregroundMark x1="34595" y1="70722" x2="35766" y2="82784"/>
                        <a14:foregroundMark x1="9730" y1="94742" x2="13423" y2="98866"/>
                        <a14:foregroundMark x1="13784" y1="14845" x2="23153" y2="22062"/>
                        <a14:foregroundMark x1="21712" y1="15567" x2="23243" y2="22371"/>
                        <a14:foregroundMark x1="12613" y1="14845" x2="15495" y2="21856"/>
                        <a14:foregroundMark x1="9009" y1="18557" x2="9550" y2="20412"/>
                        <a14:foregroundMark x1="10270" y1="23711" x2="10541" y2="24948"/>
                        <a14:foregroundMark x1="10028" y1="25361" x2="10090" y2="26495"/>
                        <a14:foregroundMark x1="10000" y1="24845" x2="10028" y2="25361"/>
                        <a14:foregroundMark x1="10541" y1="27010" x2="11622" y2="26701"/>
                        <a14:foregroundMark x1="25225" y1="24845" x2="25676" y2="26289"/>
                        <a14:foregroundMark x1="25315" y1="26082" x2="25045" y2="27320"/>
                        <a14:foregroundMark x1="11351" y1="25258" x2="11351" y2="25258"/>
                        <a14:foregroundMark x1="12162" y1="34845" x2="12162" y2="34845"/>
                        <a14:foregroundMark x1="12703" y1="34536" x2="12703" y2="34536"/>
                        <a14:foregroundMark x1="10360" y1="37835" x2="10360" y2="37835"/>
                        <a14:foregroundMark x1="27658" y1="36392" x2="27658" y2="36392"/>
                        <a14:backgroundMark x1="31171" y1="26392" x2="42342" y2="31959"/>
                        <a14:backgroundMark x1="30090" y1="35258" x2="30090" y2="35258"/>
                        <a14:backgroundMark x1="33153" y1="35670" x2="36757" y2="36495"/>
                        <a14:backgroundMark x1="25045" y1="26186" x2="25045" y2="26186"/>
                        <a14:backgroundMark x1="9820" y1="23711" x2="9820" y2="23711"/>
                        <a14:backgroundMark x1="10901" y1="25361" x2="10901" y2="25361"/>
                        <a14:backgroundMark x1="10721" y1="24845" x2="10721" y2="24845"/>
                        <a14:backgroundMark x1="12072" y1="34845" x2="12072" y2="3484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65" r="53566"/>
          <a:stretch/>
        </p:blipFill>
        <p:spPr bwMode="auto">
          <a:xfrm>
            <a:off x="-9046" y="691342"/>
            <a:ext cx="3368018" cy="6175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96000" y="233950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82AED34-FD87-16C6-00BB-DD7BE3E24E37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AD8EB35-4A07-B7B0-504C-5D3883953B22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B206F93-8BCF-5435-C4C0-854CB303EF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47EEAE2-AA2A-1F0D-2320-8A617A837806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6DA816C-46D5-922C-B0BC-6752B7905944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885704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97BC6BC-FCCF-4035-B522-792DA2EB4FCC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36EDA751-9BE6-402F-ADB0-9FB4CD24CA98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2" name="Picture Placeholder 93" descr="A group of people sitting together smiling&#10;&#10;Description automatically generated with low confidence">
            <a:extLst>
              <a:ext uri="{FF2B5EF4-FFF2-40B4-BE49-F238E27FC236}">
                <a16:creationId xmlns:a16="http://schemas.microsoft.com/office/drawing/2014/main" id="{FDB658BD-59CB-4575-BA10-B7631BBE2C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2997" y="3894637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80BAB40-2E52-66CE-1068-4E9E4AB64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226973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660F7EF0-9E80-47B6-BA1C-0A8975B5B99B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87E70D84-CA57-4A62-A85F-13AACCB4B371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9" name="Picture Placeholder 78" descr="A picture containing person, nature, posing, night&#10;&#10;Description automatically generated">
            <a:extLst>
              <a:ext uri="{FF2B5EF4-FFF2-40B4-BE49-F238E27FC236}">
                <a16:creationId xmlns:a16="http://schemas.microsoft.com/office/drawing/2014/main" id="{CE3BAD35-B15E-4867-B64F-91EF87CAD9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034" y="3902164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832B3F0-47B6-8273-F465-D76756048B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931567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97BC6BC-FCCF-4035-B522-792DA2EB4FCC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36EDA751-9BE6-402F-ADB0-9FB4CD24CA98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88" descr="A picture containing person, table, indoor, food&#10;&#10;Description automatically generated">
            <a:extLst>
              <a:ext uri="{FF2B5EF4-FFF2-40B4-BE49-F238E27FC236}">
                <a16:creationId xmlns:a16="http://schemas.microsoft.com/office/drawing/2014/main" id="{443B7DCF-CD77-480D-99A9-9FD8FE86DB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7566" y="3870547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9BDF8148-85B1-55CD-88D9-0B17E595D1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658652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42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D9C6C32F-A67D-43A4-B6A2-6C535769D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0075" y="3887199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6A9464F-26E3-CEC7-C351-064488B4CE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609942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97BC6BC-FCCF-4035-B522-792DA2EB4FCC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36EDA751-9BE6-402F-ADB0-9FB4CD24CA98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37">
            <a:extLst>
              <a:ext uri="{FF2B5EF4-FFF2-40B4-BE49-F238E27FC236}">
                <a16:creationId xmlns:a16="http://schemas.microsoft.com/office/drawing/2014/main" id="{8A194EB5-160B-44AE-8242-487F6D92BC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73447" y="3875672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70EC8EB-A0B7-DBA0-93F4-A8CEF8D031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490915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660F7EF0-9E80-47B6-BA1C-0A8975B5B99B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87E70D84-CA57-4A62-A85F-13AACCB4B371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2" name="Picture Placeholder 32" descr="A picture containing person, young, child, blue&#10;&#10;Description automatically generated">
            <a:extLst>
              <a:ext uri="{FF2B5EF4-FFF2-40B4-BE49-F238E27FC236}">
                <a16:creationId xmlns:a16="http://schemas.microsoft.com/office/drawing/2014/main" id="{C33B0AB1-29FC-48E3-8DBC-E49844E4F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9957" y="3885372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6A2E50-7171-F26C-B0A4-446933500F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412273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660F7EF0-9E80-47B6-BA1C-0A8975B5B99B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87E70D84-CA57-4A62-A85F-13AACCB4B371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9" name="Picture Placeholder 27">
            <a:extLst>
              <a:ext uri="{FF2B5EF4-FFF2-40B4-BE49-F238E27FC236}">
                <a16:creationId xmlns:a16="http://schemas.microsoft.com/office/drawing/2014/main" id="{0398783E-4B82-4673-B152-445A093BB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1559" y="3904500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36CF449-7E8E-B33A-AC29-0878F41C73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16411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290">
            <a:extLst>
              <a:ext uri="{FF2B5EF4-FFF2-40B4-BE49-F238E27FC236}">
                <a16:creationId xmlns:a16="http://schemas.microsoft.com/office/drawing/2014/main" id="{CF089419-B63A-448E-8C4B-1756A680E6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87847" y="3870353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DFD4C79-98A4-1E75-5D18-A107561ABB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81529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97BC6BC-FCCF-4035-B522-792DA2EB4FCC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36EDA751-9BE6-402F-ADB0-9FB4CD24CA98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295">
            <a:extLst>
              <a:ext uri="{FF2B5EF4-FFF2-40B4-BE49-F238E27FC236}">
                <a16:creationId xmlns:a16="http://schemas.microsoft.com/office/drawing/2014/main" id="{6A6263D6-E1C9-4223-935E-C582236E2A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2047" y="3883820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0343C-57C7-5EB6-4D62-5D83961A9D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934173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660F7EF0-9E80-47B6-BA1C-0A8975B5B99B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87E70D84-CA57-4A62-A85F-13AACCB4B371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9" name="Picture Placeholder 300">
            <a:extLst>
              <a:ext uri="{FF2B5EF4-FFF2-40B4-BE49-F238E27FC236}">
                <a16:creationId xmlns:a16="http://schemas.microsoft.com/office/drawing/2014/main" id="{004082D3-6256-49BE-972C-722630C460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7566" y="3891675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DEB4967-353B-4DCD-E32F-FE09DAFC79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4152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W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>
            <a:extLst>
              <a:ext uri="{FF2B5EF4-FFF2-40B4-BE49-F238E27FC236}">
                <a16:creationId xmlns:a16="http://schemas.microsoft.com/office/drawing/2014/main" id="{901E77CF-198E-4E69-A319-BCD113DCD8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501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7BC4F56E-5262-406E-9578-4A2516DA62D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9127" b="99688" l="96" r="38182">
                        <a14:foregroundMark x1="10622" y1="19127" x2="18182" y2="28586"/>
                        <a14:foregroundMark x1="17432" y1="19975" x2="22070" y2="29665"/>
                        <a14:foregroundMark x1="12057" y1="25572" x2="96" y2="49688"/>
                        <a14:foregroundMark x1="13110" y1="29210" x2="13397" y2="33472"/>
                        <a14:foregroundMark x1="27870" y1="30497" x2="24593" y2="74428"/>
                        <a14:foregroundMark x1="24593" y1="74428" x2="24593" y2="74428"/>
                        <a14:foregroundMark x1="31770" y1="48649" x2="33876" y2="63825"/>
                        <a14:foregroundMark x1="33876" y1="63825" x2="33493" y2="67048"/>
                        <a14:foregroundMark x1="29569" y1="58316" x2="28134" y2="69335"/>
                        <a14:foregroundMark x1="28134" y1="68295" x2="24880" y2="78067"/>
                        <a14:foregroundMark x1="24306" y1="71830" x2="23062" y2="88150"/>
                        <a14:foregroundMark x1="23062" y1="88150" x2="25167" y2="92827"/>
                        <a14:foregroundMark x1="11005" y1="84304" x2="6603" y2="96258"/>
                        <a14:foregroundMark x1="6603" y1="96258" x2="3158" y2="99792"/>
                        <a14:foregroundMark x1="4498" y1="81809" x2="3158" y2="96778"/>
                        <a14:foregroundMark x1="3158" y1="96778" x2="2871" y2="97505"/>
                        <a14:foregroundMark x1="9856" y1="94699" x2="19426" y2="98441"/>
                        <a14:foregroundMark x1="23349" y1="90333" x2="26411" y2="99896"/>
                        <a14:foregroundMark x1="24976" y1="92620" x2="28134" y2="99272"/>
                        <a14:foregroundMark x1="28134" y1="99272" x2="28134" y2="99272"/>
                        <a14:foregroundMark x1="27560" y1="85655" x2="27560" y2="85655"/>
                        <a14:foregroundMark x1="26603" y1="93555" x2="29187" y2="99896"/>
                        <a14:foregroundMark x1="34737" y1="33992" x2="38086" y2="35863"/>
                        <a14:foregroundMark x1="38182" y1="33160" x2="37608" y2="35551"/>
                        <a14:foregroundMark x1="36364" y1="32744" x2="37321" y2="33160"/>
                        <a14:foregroundMark x1="28038" y1="83992" x2="28038" y2="83992"/>
                        <a14:foregroundMark x1="28325" y1="68295" x2="31579" y2="72661"/>
                        <a14:backgroundMark x1="4402" y1="19751" x2="4211" y2="26403"/>
                        <a14:backgroundMark x1="15311" y1="18711" x2="17608" y2="19751"/>
                        <a14:backgroundMark x1="26316" y1="26299" x2="26603" y2="28690"/>
                        <a14:backgroundMark x1="26411" y1="27131" x2="23158" y2="30977"/>
                        <a14:backgroundMark x1="27368" y1="29210" x2="30144" y2="28690"/>
                        <a14:backgroundMark x1="20861" y1="34927" x2="20861" y2="34927"/>
                        <a14:backgroundMark x1="22105" y1="31913" x2="22105" y2="31913"/>
                        <a14:backgroundMark x1="4211" y1="30353" x2="4211" y2="30353"/>
                        <a14:backgroundMark x1="4306" y1="27651" x2="4306" y2="27651"/>
                        <a14:backgroundMark x1="4976" y1="25364" x2="4976" y2="2702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576" r="59636"/>
          <a:stretch/>
        </p:blipFill>
        <p:spPr bwMode="auto">
          <a:xfrm>
            <a:off x="0" y="1205379"/>
            <a:ext cx="3007187" cy="5652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288C8FB-13C9-99FB-B01C-DC4395A3BA6A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F0A5D73-5526-440B-2C11-AE1BC42C3E80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E53A130-1D8C-D2D0-CF39-EC03D34795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8F2A838-40E6-8577-AE70-F1CD20FC2A14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7D80520-0709-236C-C671-6FD145FDD001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7754777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305">
            <a:extLst>
              <a:ext uri="{FF2B5EF4-FFF2-40B4-BE49-F238E27FC236}">
                <a16:creationId xmlns:a16="http://schemas.microsoft.com/office/drawing/2014/main" id="{370EA77C-B79A-4A82-8FD7-2A64BA03F4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7566" y="3902654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E65B1FF-7127-574F-E220-9325019FB8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083833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8" descr="A picture containing group, outdoor object, several&#10;&#10;Description automatically generated">
            <a:extLst>
              <a:ext uri="{FF2B5EF4-FFF2-40B4-BE49-F238E27FC236}">
                <a16:creationId xmlns:a16="http://schemas.microsoft.com/office/drawing/2014/main" id="{DF153A97-3AF5-4135-AE2D-80910CB0D7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9221" y="3894028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D33F20E-C1FB-6A50-56FD-9E878D91E8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169314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97BC6BC-FCCF-4035-B522-792DA2EB4FCC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36EDA751-9BE6-402F-ADB0-9FB4CD24CA98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1" name="Picture Placeholder 22">
            <a:extLst>
              <a:ext uri="{FF2B5EF4-FFF2-40B4-BE49-F238E27FC236}">
                <a16:creationId xmlns:a16="http://schemas.microsoft.com/office/drawing/2014/main" id="{F62FB39F-C8B6-4D33-9D64-CD081FEA6D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77566" y="3875672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FD072E5-6B6F-0FC9-5292-5F22C98F4A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688131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660F7EF0-9E80-47B6-BA1C-0A8975B5B99B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87E70D84-CA57-4A62-A85F-13AACCB4B371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9" name="Picture Placeholder 13">
            <a:extLst>
              <a:ext uri="{FF2B5EF4-FFF2-40B4-BE49-F238E27FC236}">
                <a16:creationId xmlns:a16="http://schemas.microsoft.com/office/drawing/2014/main" id="{292C2F56-A34B-4793-B59C-B12929704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7566" y="3880025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8FC9DDD-C30C-A41F-2268-639ABD38E1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53154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ED89E262-300D-4549-BAE2-2AA6359CD5BD}"/>
              </a:ext>
            </a:extLst>
          </p:cNvPr>
          <p:cNvSpPr>
            <a:spLocks noChangeAspect="1"/>
          </p:cNvSpPr>
          <p:nvPr userDrawn="1"/>
        </p:nvSpPr>
        <p:spPr>
          <a:xfrm>
            <a:off x="-469834" y="3613201"/>
            <a:ext cx="3670234" cy="3634844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4C4992B1-A515-422C-BCE7-79A9CFA6DBB3}"/>
              </a:ext>
            </a:extLst>
          </p:cNvPr>
          <p:cNvSpPr>
            <a:spLocks noChangeAspect="1"/>
          </p:cNvSpPr>
          <p:nvPr userDrawn="1"/>
        </p:nvSpPr>
        <p:spPr>
          <a:xfrm>
            <a:off x="-382986" y="3705513"/>
            <a:ext cx="3480351" cy="3446791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AA559C4-4573-4F1C-BFBA-03E905C28250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00536" y="3878440"/>
            <a:ext cx="3099286" cy="3099286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BAD1DBB-EB2F-2BC5-C526-A0D762F1C7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399997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8" name="Picture Placeholder 48">
            <a:extLst>
              <a:ext uri="{FF2B5EF4-FFF2-40B4-BE49-F238E27FC236}">
                <a16:creationId xmlns:a16="http://schemas.microsoft.com/office/drawing/2014/main" id="{D7211C63-4E70-45D7-BCDB-296FA08250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05287" y="3860828"/>
            <a:ext cx="3135814" cy="3135814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07D6500-0B99-1989-4E7B-0E202D6104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506728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E68866A0-61A3-4DB4-B7EE-6043156C6372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02A50911-9C2E-494B-B54C-CE2867FB3204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4" name="Picture Placeholder 5">
            <a:extLst>
              <a:ext uri="{FF2B5EF4-FFF2-40B4-BE49-F238E27FC236}">
                <a16:creationId xmlns:a16="http://schemas.microsoft.com/office/drawing/2014/main" id="{9E995809-9436-4F21-A643-F2954160E6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2557" y="3875512"/>
            <a:ext cx="3139355" cy="313935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7BB6B69-5B9A-CA4C-A249-6DA254065C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27411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04EDDBFA-5AA6-4996-BA32-11DF93FD0E86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B4893A3D-A2D7-4B92-AD6B-A61E574C239F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16">
            <a:extLst>
              <a:ext uri="{FF2B5EF4-FFF2-40B4-BE49-F238E27FC236}">
                <a16:creationId xmlns:a16="http://schemas.microsoft.com/office/drawing/2014/main" id="{AF17F5CB-58E7-4AA1-BB08-68518425C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748" y="3871619"/>
            <a:ext cx="3139355" cy="313935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2BBE753-ADAA-0430-7AD6-5901C52AE5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589074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53">
            <a:extLst>
              <a:ext uri="{FF2B5EF4-FFF2-40B4-BE49-F238E27FC236}">
                <a16:creationId xmlns:a16="http://schemas.microsoft.com/office/drawing/2014/main" id="{1E7961BA-891F-4CAC-99A0-C091EA5DF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74"/>
          <a:stretch/>
        </p:blipFill>
        <p:spPr>
          <a:xfrm>
            <a:off x="-193671" y="3870993"/>
            <a:ext cx="3117846" cy="311784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8703869-38FC-F3B5-2F60-02E18224CB9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653384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110" descr="A group of people on a street&#10;&#10;Description automatically generated with low confidence">
            <a:extLst>
              <a:ext uri="{FF2B5EF4-FFF2-40B4-BE49-F238E27FC236}">
                <a16:creationId xmlns:a16="http://schemas.microsoft.com/office/drawing/2014/main" id="{225F5785-36E8-4012-ADBF-807C1A3DB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3302" y="3874079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10BA12C-165A-FE0A-6120-11BB48485D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77495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OTH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>
            <a:extLst>
              <a:ext uri="{FF2B5EF4-FFF2-40B4-BE49-F238E27FC236}">
                <a16:creationId xmlns:a16="http://schemas.microsoft.com/office/drawing/2014/main" id="{71BF89A0-1ED4-4B9E-ADA5-5D2253BD0E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8" y="-1"/>
            <a:ext cx="7961613" cy="6862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12EBAA3-BA6D-F846-2D1A-906F6820B57F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6913A3-BA7E-6BE4-6A0A-8C4B54EDBC27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1BC377F-3DD7-2400-EED5-76A6FF75CD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FF288A9-133F-E4F0-5961-058609877BEB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9939A08-D4BE-8251-2D04-79EA9A929AD7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08025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E68866A0-61A3-4DB4-B7EE-6043156C6372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02A50911-9C2E-494B-B54C-CE2867FB3204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00" descr="A picture containing person&#10;&#10;Description automatically generated">
            <a:extLst>
              <a:ext uri="{FF2B5EF4-FFF2-40B4-BE49-F238E27FC236}">
                <a16:creationId xmlns:a16="http://schemas.microsoft.com/office/drawing/2014/main" id="{B11D5694-5DEE-4DB6-BAD5-386B1EF1DC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01572" y="3887946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09135C0-6707-3A75-A0C5-01ECF32106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081743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04EDDBFA-5AA6-4996-BA32-11DF93FD0E86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B4893A3D-A2D7-4B92-AD6B-A61E574C239F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4" name="Picture Placeholder 115">
            <a:extLst>
              <a:ext uri="{FF2B5EF4-FFF2-40B4-BE49-F238E27FC236}">
                <a16:creationId xmlns:a16="http://schemas.microsoft.com/office/drawing/2014/main" id="{4AB86334-66A0-49E3-9BC7-D268DD2B8C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36037" y="3883114"/>
            <a:ext cx="3188242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32B4B73-92A8-C783-C4B1-D9998782FD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555001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E68866A0-61A3-4DB4-B7EE-6043156C6372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02A50911-9C2E-494B-B54C-CE2867FB3204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05">
            <a:extLst>
              <a:ext uri="{FF2B5EF4-FFF2-40B4-BE49-F238E27FC236}">
                <a16:creationId xmlns:a16="http://schemas.microsoft.com/office/drawing/2014/main" id="{3431807D-63FE-497C-BD67-8A68B9173F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9847395">
            <a:off x="-192047" y="3870546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8E67403-4AD9-EB7E-D1B2-63ACB847B2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817201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59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8BA5FB57-078F-4B47-AF95-640ACAB77F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4412" y="3876776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646ED42-E1A3-3FD7-D0B8-9B9C81788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2196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E68866A0-61A3-4DB4-B7EE-6043156C6372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02A50911-9C2E-494B-B54C-CE2867FB3204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4" name="Picture Placeholder 68" descr="A picture containing tree, outdoor, person, dancer&#10;&#10;Description automatically generated">
            <a:extLst>
              <a:ext uri="{FF2B5EF4-FFF2-40B4-BE49-F238E27FC236}">
                <a16:creationId xmlns:a16="http://schemas.microsoft.com/office/drawing/2014/main" id="{F711B68A-6DF4-479C-AE44-0AA34B15B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6192" y="3885112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4C651D4-73D0-EF38-125D-D4D76D133A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13422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04EDDBFA-5AA6-4996-BA32-11DF93FD0E86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B4893A3D-A2D7-4B92-AD6B-A61E574C239F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49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935FA9BF-2295-4B29-BC3E-3C8AF72F39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512"/>
          <a:stretch/>
        </p:blipFill>
        <p:spPr>
          <a:xfrm>
            <a:off x="-191559" y="3880025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B624BD3-5D9D-9A68-D054-D72F29D00F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560790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04EDDBFA-5AA6-4996-BA32-11DF93FD0E86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B4893A3D-A2D7-4B92-AD6B-A61E574C239F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54">
            <a:extLst>
              <a:ext uri="{FF2B5EF4-FFF2-40B4-BE49-F238E27FC236}">
                <a16:creationId xmlns:a16="http://schemas.microsoft.com/office/drawing/2014/main" id="{E722BDB4-AFBC-4CF8-9637-2C7A1C096B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185" y="3903063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F3D1E3C-24E4-91FA-A71B-9704F1F858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031009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3" name="Picture Placeholder 327">
            <a:extLst>
              <a:ext uri="{FF2B5EF4-FFF2-40B4-BE49-F238E27FC236}">
                <a16:creationId xmlns:a16="http://schemas.microsoft.com/office/drawing/2014/main" id="{86EC53AA-B894-44D7-AF2F-06DC709970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1965" y="3870353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01E42B4-C538-6E1A-BE13-69844A8B63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47278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E68866A0-61A3-4DB4-B7EE-6043156C6372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02A50911-9C2E-494B-B54C-CE2867FB3204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322">
            <a:extLst>
              <a:ext uri="{FF2B5EF4-FFF2-40B4-BE49-F238E27FC236}">
                <a16:creationId xmlns:a16="http://schemas.microsoft.com/office/drawing/2014/main" id="{F0503EE0-A034-4D08-A44B-F3FAD7DB1B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92047" y="3885112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70712F7-9173-6E59-504E-ED050EE638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39911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04EDDBFA-5AA6-4996-BA32-11DF93FD0E86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B4893A3D-A2D7-4B92-AD6B-A61E574C239F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312">
            <a:extLst>
              <a:ext uri="{FF2B5EF4-FFF2-40B4-BE49-F238E27FC236}">
                <a16:creationId xmlns:a16="http://schemas.microsoft.com/office/drawing/2014/main" id="{BD24E543-1458-43DD-BFC5-0D7FF1B21D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91559" y="3886289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A61808C-50B7-D7DB-86F0-58AA14567F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90339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OTH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>
            <a:extLst>
              <a:ext uri="{FF2B5EF4-FFF2-40B4-BE49-F238E27FC236}">
                <a16:creationId xmlns:a16="http://schemas.microsoft.com/office/drawing/2014/main" id="{2537D922-E4E8-49DC-B9E7-B6F010A501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6787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91A12299-FFD0-456E-A436-9898388F9DD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0144" b="82297" l="107" r="62073">
                        <a14:foregroundMark x1="107" y1="47608" x2="1709" y2="56459"/>
                        <a14:foregroundMark x1="12738" y1="64682" x2="43590" y2="75957"/>
                        <a14:foregroundMark x1="2350" y1="60885" x2="4250" y2="61579"/>
                        <a14:foregroundMark x1="43590" y1="75957" x2="56517" y2="78230"/>
                        <a14:foregroundMark x1="5401" y1="64408" x2="13248" y2="82297"/>
                        <a14:foregroundMark x1="37607" y1="30263" x2="39957" y2="35526"/>
                        <a14:foregroundMark x1="58761" y1="38517" x2="58226" y2="41986"/>
                        <a14:foregroundMark x1="58994" y1="48565" x2="58974" y2="49880"/>
                        <a14:foregroundMark x1="59025" y1="46522" x2="59019" y2="46890"/>
                        <a14:foregroundMark x1="59081" y1="42823" x2="59062" y2="44106"/>
                        <a14:foregroundMark x1="60897" y1="52273" x2="60897" y2="58732"/>
                        <a14:foregroundMark x1="62073" y1="66148" x2="55769" y2="75239"/>
                        <a14:foregroundMark x1="55769" y1="75239" x2="55342" y2="75598"/>
                        <a14:foregroundMark x1="19017" y1="60287" x2="26068" y2="60526"/>
                        <a14:foregroundMark x1="26068" y1="60526" x2="35043" y2="60167"/>
                        <a14:foregroundMark x1="35043" y1="60167" x2="35470" y2="60048"/>
                        <a14:backgroundMark x1="3526" y1="48565" x2="6197" y2="57536"/>
                        <a14:backgroundMark x1="50962" y1="54067" x2="50855" y2="64952"/>
                        <a14:backgroundMark x1="50855" y1="64952" x2="50855" y2="64952"/>
                        <a14:backgroundMark x1="58761" y1="44019" x2="58226" y2="46292"/>
                        <a14:backgroundMark x1="58761" y1="46651" x2="58761" y2="46651"/>
                        <a14:backgroundMark x1="58761" y1="46890" x2="58761" y2="48565"/>
                        <a14:backgroundMark x1="534" y1="62919" x2="2350" y2="64833"/>
                        <a14:backgroundMark x1="4487" y1="63278" x2="5662" y2="64115"/>
                        <a14:backgroundMark x1="4060" y1="62560" x2="5342" y2="62679"/>
                        <a14:backgroundMark x1="5449" y1="64593" x2="5449" y2="64593"/>
                        <a14:backgroundMark x1="5983" y1="62201" x2="5449" y2="64474"/>
                        <a14:backgroundMark x1="6624" y1="62560" x2="11432" y2="63995"/>
                        <a14:backgroundMark x1="12714" y1="62201" x2="13782" y2="63995"/>
                        <a14:backgroundMark x1="14850" y1="63038" x2="20513" y2="63158"/>
                        <a14:backgroundMark x1="17968" y1="62097" x2="19444" y2="62201"/>
                        <a14:backgroundMark x1="21304" y1="62105" x2="21154" y2="62440"/>
                        <a14:backgroundMark x1="22543" y1="62081" x2="23397" y2="62799"/>
                        <a14:backgroundMark x1="26380" y1="62202" x2="26923" y2="63158"/>
                        <a14:backgroundMark x1="25852" y1="62259" x2="27671" y2="63278"/>
                        <a14:backgroundMark x1="29292" y1="62086" x2="30449" y2="62919"/>
                        <a14:backgroundMark x1="33883" y1="62253" x2="35363" y2="63038"/>
                        <a14:backgroundMark x1="34081" y1="63278" x2="35256" y2="63278"/>
                        <a14:backgroundMark x1="31554" y1="61996" x2="32372" y2="63278"/>
                        <a14:backgroundMark x1="31410" y1="62560" x2="31303" y2="63278"/>
                        <a14:backgroundMark x1="29382" y1="58705" x2="27671" y2="58254"/>
                        <a14:backgroundMark x1="38034" y1="57656" x2="36218" y2="58134"/>
                        <a14:backgroundMark x1="33120" y1="57416" x2="33120" y2="57416"/>
                        <a14:backgroundMark x1="47543" y1="65789" x2="48825" y2="68301"/>
                        <a14:backgroundMark x1="60791" y1="66148" x2="60791" y2="66148"/>
                        <a14:backgroundMark x1="40705" y1="65909" x2="41667" y2="674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9007" r="33283" b="16293"/>
          <a:stretch/>
        </p:blipFill>
        <p:spPr bwMode="auto">
          <a:xfrm>
            <a:off x="1" y="1989252"/>
            <a:ext cx="5123072" cy="3751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244AA86-EEC2-ADC0-0A59-6F5C9F6530E0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1FF3117-18D9-2004-9076-4DD98FED781D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3DA747D-119F-D7F4-44CA-DD4BBAE908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D33C00D-6125-5FEB-B47F-CB11D713C228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CBAD602-56FC-3C8E-19AD-1DFB61B703A3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499850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317">
            <a:extLst>
              <a:ext uri="{FF2B5EF4-FFF2-40B4-BE49-F238E27FC236}">
                <a16:creationId xmlns:a16="http://schemas.microsoft.com/office/drawing/2014/main" id="{E0B8574E-2138-4BD8-A820-97327E977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0971" y="3902654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5664E1B-5828-3263-7BD0-4A0D767CDC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092779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73" descr="A picture containing tree, grass, outdoor, mammal&#10;&#10;Description automatically generated">
            <a:extLst>
              <a:ext uri="{FF2B5EF4-FFF2-40B4-BE49-F238E27FC236}">
                <a16:creationId xmlns:a16="http://schemas.microsoft.com/office/drawing/2014/main" id="{29386B9E-0158-4D2E-B90D-4F7D021EE3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7566" y="3878573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A0FC272-B4D7-C3DB-32A2-8393DB6D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382888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E68866A0-61A3-4DB4-B7EE-6043156C6372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02A50911-9C2E-494B-B54C-CE2867FB3204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78" descr="A body of water with trees and buildings in the background&#10;&#10;Description automatically generated">
            <a:extLst>
              <a:ext uri="{FF2B5EF4-FFF2-40B4-BE49-F238E27FC236}">
                <a16:creationId xmlns:a16="http://schemas.microsoft.com/office/drawing/2014/main" id="{022707BC-008E-4029-900F-DB8EBCC1B4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2047" y="3885112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D35E472-B82B-99EB-64F7-EB85722BEA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054471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04EDDBFA-5AA6-4996-BA32-11DF93FD0E86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B4893A3D-A2D7-4B92-AD6B-A61E574C239F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83" descr="A bridge over a river with a building in the background&#10;&#10;Description automatically generated with low confidence">
            <a:extLst>
              <a:ext uri="{FF2B5EF4-FFF2-40B4-BE49-F238E27FC236}">
                <a16:creationId xmlns:a16="http://schemas.microsoft.com/office/drawing/2014/main" id="{F1C526DE-E9AC-4549-AE40-6C080ADC9A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99"/>
          <a:stretch/>
        </p:blipFill>
        <p:spPr>
          <a:xfrm>
            <a:off x="-189339" y="3897277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A71221B-76C8-074C-0C3B-A693B798D3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35286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46773015-87F9-4F63-A42F-529A3B2610AB}"/>
              </a:ext>
            </a:extLst>
          </p:cNvPr>
          <p:cNvSpPr>
            <a:spLocks noChangeAspect="1"/>
          </p:cNvSpPr>
          <p:nvPr userDrawn="1"/>
        </p:nvSpPr>
        <p:spPr>
          <a:xfrm>
            <a:off x="-469834" y="3613201"/>
            <a:ext cx="3670234" cy="3634844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98CA7951-F87D-46AC-B63B-781567473D72}"/>
              </a:ext>
            </a:extLst>
          </p:cNvPr>
          <p:cNvSpPr>
            <a:spLocks noChangeAspect="1"/>
          </p:cNvSpPr>
          <p:nvPr userDrawn="1"/>
        </p:nvSpPr>
        <p:spPr>
          <a:xfrm>
            <a:off x="-382986" y="3705513"/>
            <a:ext cx="3480351" cy="3446791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8E38B319-A30A-4CC5-A1A0-54DBF80AC85B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00536" y="3878440"/>
            <a:ext cx="3099286" cy="3099286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E178D3A-ADC5-21B6-51FD-6373EB089F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863142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F 1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61626A20-34C7-46C8-955A-18B778B8B0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" y="0"/>
            <a:ext cx="1123405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12173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1156344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F 2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>
            <a:extLst>
              <a:ext uri="{FF2B5EF4-FFF2-40B4-BE49-F238E27FC236}">
                <a16:creationId xmlns:a16="http://schemas.microsoft.com/office/drawing/2014/main" id="{EF157108-623E-4ACD-B83E-53F45F4CC5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" y="0"/>
            <a:ext cx="1034868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493123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7402632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F 3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>
            <a:extLst>
              <a:ext uri="{FF2B5EF4-FFF2-40B4-BE49-F238E27FC236}">
                <a16:creationId xmlns:a16="http://schemas.microsoft.com/office/drawing/2014/main" id="{53CDBBBC-7D2B-45FA-AC5E-CABDB93615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5355" y="0"/>
            <a:ext cx="104511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39744704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S 1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7F563FC8-90AB-4090-A385-95D99E6CAC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171"/>
            <a:ext cx="96758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7109831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S 2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>
            <a:extLst>
              <a:ext uri="{FF2B5EF4-FFF2-40B4-BE49-F238E27FC236}">
                <a16:creationId xmlns:a16="http://schemas.microsoft.com/office/drawing/2014/main" id="{AA97BC7D-F639-4EEC-9C9A-4AF496C18A7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9460"/>
          <a:stretch/>
        </p:blipFill>
        <p:spPr bwMode="auto">
          <a:xfrm>
            <a:off x="0" y="1023"/>
            <a:ext cx="6467475" cy="6856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522834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OTH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>
            <a:extLst>
              <a:ext uri="{FF2B5EF4-FFF2-40B4-BE49-F238E27FC236}">
                <a16:creationId xmlns:a16="http://schemas.microsoft.com/office/drawing/2014/main" id="{AA636C35-A380-4E44-A95F-3CE5888924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827" y="0"/>
            <a:ext cx="69770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4651BD9E-62BA-477E-B88C-39A2153FF55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9826" b="99187" l="685" r="58904">
                        <a14:foregroundMark x1="15868" y1="49826" x2="16438" y2="51684"/>
                        <a14:foregroundMark x1="4680" y1="79559" x2="1027" y2="94774"/>
                        <a14:foregroundMark x1="8562" y1="96516" x2="31279" y2="99419"/>
                        <a14:foregroundMark x1="31279" y1="99419" x2="39612" y2="98490"/>
                        <a14:foregroundMark x1="45662" y1="98490" x2="47831" y2="98839"/>
                        <a14:foregroundMark x1="15639" y1="52846" x2="15639" y2="52846"/>
                        <a14:foregroundMark x1="18151" y1="50871" x2="18151" y2="50871"/>
                        <a14:foregroundMark x1="18151" y1="50871" x2="16553" y2="51916"/>
                        <a14:foregroundMark x1="55708" y1="54239" x2="55936" y2="61324"/>
                        <a14:foregroundMark x1="55936" y1="61324" x2="55936" y2="61324"/>
                        <a14:foregroundMark x1="57306" y1="57027" x2="58904" y2="61208"/>
                        <a14:backgroundMark x1="9247" y1="51336" x2="8904" y2="67131"/>
                        <a14:backgroundMark x1="26826" y1="53891" x2="42352" y2="66434"/>
                        <a14:backgroundMark x1="28653" y1="71429" x2="36644" y2="73055"/>
                        <a14:backgroundMark x1="28082" y1="71196" x2="28082" y2="7119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8125" r="49980" b="-1"/>
          <a:stretch/>
        </p:blipFill>
        <p:spPr bwMode="auto">
          <a:xfrm>
            <a:off x="-11668" y="3295973"/>
            <a:ext cx="3489895" cy="3557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9A85DBB-5DA0-13F1-4488-1F3C3CDB5AF9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1AD97BE-14EC-3548-0245-3559C18A80D8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BCEE034-936D-AB3C-1F0B-531D49F411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EC26770-B942-3563-D19F-DC629E660D68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BDF2428-4E58-D4BD-0F6C-DDFA2C362A82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42850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S 3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>
            <a:extLst>
              <a:ext uri="{FF2B5EF4-FFF2-40B4-BE49-F238E27FC236}">
                <a16:creationId xmlns:a16="http://schemas.microsoft.com/office/drawing/2014/main" id="{E838F6C3-A764-4DD2-809C-83EBC13FC1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3630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86899262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S 4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4C002E9-D804-4734-B1B7-59C8F235BC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0" y="20530"/>
            <a:ext cx="73532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39074878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SA 1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950464BC-E676-4473-AA4E-695A7F65F3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" y="0"/>
            <a:ext cx="85991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73065216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SA 2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>
            <a:extLst>
              <a:ext uri="{FF2B5EF4-FFF2-40B4-BE49-F238E27FC236}">
                <a16:creationId xmlns:a16="http://schemas.microsoft.com/office/drawing/2014/main" id="{5D9B428A-4E64-4372-8B8D-A6F3A8874AA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5356" y="0"/>
            <a:ext cx="790662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15987153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SA 3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>
            <a:extLst>
              <a:ext uri="{FF2B5EF4-FFF2-40B4-BE49-F238E27FC236}">
                <a16:creationId xmlns:a16="http://schemas.microsoft.com/office/drawing/2014/main" id="{4470B47E-9CEF-4EB0-89C8-E0E9D4A083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972" y="0"/>
            <a:ext cx="609502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6859277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WE 1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6" name="Picture 4">
            <a:extLst>
              <a:ext uri="{FF2B5EF4-FFF2-40B4-BE49-F238E27FC236}">
                <a16:creationId xmlns:a16="http://schemas.microsoft.com/office/drawing/2014/main" id="{81300818-F83F-4F28-89A7-6A1DAF44D6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55" y="12696"/>
            <a:ext cx="81613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56845298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WE 2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6" name="Picture 10">
            <a:extLst>
              <a:ext uri="{FF2B5EF4-FFF2-40B4-BE49-F238E27FC236}">
                <a16:creationId xmlns:a16="http://schemas.microsoft.com/office/drawing/2014/main" id="{A72A63A2-5C12-428F-914D-351292B9B9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" y="0"/>
            <a:ext cx="874718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8096826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WE 3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>
            <a:extLst>
              <a:ext uri="{FF2B5EF4-FFF2-40B4-BE49-F238E27FC236}">
                <a16:creationId xmlns:a16="http://schemas.microsoft.com/office/drawing/2014/main" id="{F0D016DA-F1B8-439D-911C-4F5FC6CDC98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604" y="-12696"/>
            <a:ext cx="623728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12316819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OTHER 1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>
            <a:extLst>
              <a:ext uri="{FF2B5EF4-FFF2-40B4-BE49-F238E27FC236}">
                <a16:creationId xmlns:a16="http://schemas.microsoft.com/office/drawing/2014/main" id="{68893B41-FB8C-4261-B9F4-CC4AD3A47B8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2696"/>
            <a:ext cx="70675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2601684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OTHER 2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>
            <a:extLst>
              <a:ext uri="{FF2B5EF4-FFF2-40B4-BE49-F238E27FC236}">
                <a16:creationId xmlns:a16="http://schemas.microsoft.com/office/drawing/2014/main" id="{EFCEC280-CD01-4909-9A1A-F70FC4CDF5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5356" y="0"/>
            <a:ext cx="708925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6642456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INER INTRODUCTION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5313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Trainer Nam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9C70BD3E-C9D9-4F81-94C9-3BE89B4CED01}"/>
              </a:ext>
            </a:extLst>
          </p:cNvPr>
          <p:cNvSpPr>
            <a:spLocks noChangeAspect="1"/>
          </p:cNvSpPr>
          <p:nvPr userDrawn="1"/>
        </p:nvSpPr>
        <p:spPr>
          <a:xfrm>
            <a:off x="9081128" y="-488511"/>
            <a:ext cx="3653741" cy="3618510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AA6FAA8F-A86A-411A-9FC3-EFBDD1332726}"/>
              </a:ext>
            </a:extLst>
          </p:cNvPr>
          <p:cNvSpPr>
            <a:spLocks noChangeAspect="1"/>
          </p:cNvSpPr>
          <p:nvPr userDrawn="1"/>
        </p:nvSpPr>
        <p:spPr>
          <a:xfrm>
            <a:off x="9181713" y="-398814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9CCF839-CB7A-451F-9F2C-6D310B5F0286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9328725" y="-250939"/>
            <a:ext cx="3128359" cy="3128359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nl-NL"/>
              <a:t>Trainer Pictur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C4AB622-BEA1-4BAE-8A6C-4875AB93458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-454424" y="3834042"/>
            <a:ext cx="3449941" cy="3449941"/>
            <a:chOff x="3551608" y="-395567"/>
            <a:chExt cx="5088783" cy="503971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95EF68D-9C29-40C8-B5A9-999B1BA11A4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3246" y="-265199"/>
              <a:ext cx="4825508" cy="47789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0FEAF64-A9F5-44C6-8A82-9DD31AF13B8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551608" y="-395567"/>
              <a:ext cx="5088783" cy="5039714"/>
            </a:xfrm>
            <a:prstGeom prst="donut">
              <a:avLst>
                <a:gd name="adj" fmla="val 1425"/>
              </a:avLst>
            </a:prstGeom>
            <a:solidFill>
              <a:srgbClr val="BF3B4B">
                <a:alpha val="3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accent4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66AE1110-5FCD-457F-A4F0-AB9CB652A6F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3246" y="-265199"/>
              <a:ext cx="4825508" cy="4778978"/>
            </a:xfrm>
            <a:prstGeom prst="donut">
              <a:avLst>
                <a:gd name="adj" fmla="val 2682"/>
              </a:avLst>
            </a:prstGeom>
            <a:solidFill>
              <a:srgbClr val="BF3B4B">
                <a:alpha val="6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F372FD0B-3A4C-49AF-A3E6-3F79D14527E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-193466" y="4086782"/>
            <a:ext cx="2936133" cy="2936133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nl-NL"/>
              <a:t>Hobby or Career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4C9A0D-85D6-4749-99E3-B8A1C8FE8C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3533" y="1053295"/>
            <a:ext cx="7950319" cy="2533251"/>
          </a:xfrm>
          <a:prstGeom prst="rect">
            <a:avLst/>
          </a:prstGeom>
        </p:spPr>
        <p:txBody>
          <a:bodyPr/>
          <a:lstStyle>
            <a:lvl1pPr>
              <a:defRPr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Click to edit Personal Informa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566B10A-67D6-4817-803D-E293C04AF6D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303451" y="3864441"/>
            <a:ext cx="3449941" cy="3449941"/>
            <a:chOff x="-654135" y="-660388"/>
            <a:chExt cx="5517335" cy="5464134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CAC2289-7B4D-4061-A304-5009D7A95F2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482527" y="-519041"/>
              <a:ext cx="5193418" cy="51433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Circle: Hollow 20">
              <a:extLst>
                <a:ext uri="{FF2B5EF4-FFF2-40B4-BE49-F238E27FC236}">
                  <a16:creationId xmlns:a16="http://schemas.microsoft.com/office/drawing/2014/main" id="{E0560CA4-511A-4CC9-A2EB-9EC664CB48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654135" y="-660388"/>
              <a:ext cx="5517335" cy="5464134"/>
            </a:xfrm>
            <a:prstGeom prst="donut">
              <a:avLst>
                <a:gd name="adj" fmla="val 1425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accent4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2" name="Circle: Hollow 21">
              <a:extLst>
                <a:ext uri="{FF2B5EF4-FFF2-40B4-BE49-F238E27FC236}">
                  <a16:creationId xmlns:a16="http://schemas.microsoft.com/office/drawing/2014/main" id="{9469479B-1D7F-4801-9263-68F08B3B775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511411" y="-519041"/>
              <a:ext cx="5231889" cy="5181440"/>
            </a:xfrm>
            <a:prstGeom prst="donut">
              <a:avLst>
                <a:gd name="adj" fmla="val 2682"/>
              </a:avLst>
            </a:prstGeom>
            <a:gradFill flip="none" rotWithShape="1">
              <a:gsLst>
                <a:gs pos="0">
                  <a:srgbClr val="FFC000"/>
                </a:gs>
                <a:gs pos="94000">
                  <a:srgbClr val="FFC000">
                    <a:alpha val="41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D5FFDEC1-D300-4ED7-B7D0-55E38BB90D5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564409" y="4119917"/>
            <a:ext cx="2936133" cy="2936133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nl-NL"/>
              <a:t>Hobby or Career pic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3E76C6-36BA-4547-9FFB-0683FA3373E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86426" y="3931824"/>
            <a:ext cx="3449941" cy="3449941"/>
            <a:chOff x="-654135" y="-660388"/>
            <a:chExt cx="5517335" cy="5464134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D647156D-F6B1-42E9-890E-7C825F7B6D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482527" y="-519041"/>
              <a:ext cx="5193418" cy="51433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DB1E1FCF-3A59-4E2E-8F1E-A8F8977901E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654135" y="-660388"/>
              <a:ext cx="5517335" cy="5464134"/>
            </a:xfrm>
            <a:prstGeom prst="donut">
              <a:avLst>
                <a:gd name="adj" fmla="val 1425"/>
              </a:avLst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accent4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6" name="Circle: Hollow 25">
              <a:extLst>
                <a:ext uri="{FF2B5EF4-FFF2-40B4-BE49-F238E27FC236}">
                  <a16:creationId xmlns:a16="http://schemas.microsoft.com/office/drawing/2014/main" id="{72DC2287-E68A-4723-B49D-4DA202465EE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511411" y="-519041"/>
              <a:ext cx="5231889" cy="5181440"/>
            </a:xfrm>
            <a:prstGeom prst="donut">
              <a:avLst>
                <a:gd name="adj" fmla="val 2682"/>
              </a:avLst>
            </a:prstGeom>
            <a:gradFill flip="none" rotWithShape="1">
              <a:gsLst>
                <a:gs pos="0">
                  <a:srgbClr val="00AEEF"/>
                </a:gs>
                <a:gs pos="94000">
                  <a:srgbClr val="00AEEF">
                    <a:alpha val="40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2B2BF270-6D30-4E83-A9D8-5E4566461AAB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351369" y="4195324"/>
            <a:ext cx="2936133" cy="2936133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nl-NL"/>
              <a:t>Hobby or Career picture</a:t>
            </a:r>
          </a:p>
        </p:txBody>
      </p:sp>
    </p:spTree>
    <p:extLst>
      <p:ext uri="{BB962C8B-B14F-4D97-AF65-F5344CB8AC3E}">
        <p14:creationId xmlns:p14="http://schemas.microsoft.com/office/powerpoint/2010/main" val="29274202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OTHER 3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>
            <a:extLst>
              <a:ext uri="{FF2B5EF4-FFF2-40B4-BE49-F238E27FC236}">
                <a16:creationId xmlns:a16="http://schemas.microsoft.com/office/drawing/2014/main" id="{56BC8694-75DC-435B-9304-099B83C03C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" y="-3175"/>
            <a:ext cx="10033000" cy="6861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36381936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DHL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>
            <a:extLst>
              <a:ext uri="{FF2B5EF4-FFF2-40B4-BE49-F238E27FC236}">
                <a16:creationId xmlns:a16="http://schemas.microsoft.com/office/drawing/2014/main" id="{E15AE0CA-4DE5-4930-BAC1-9ABA4B02F59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039"/>
          <a:stretch/>
        </p:blipFill>
        <p:spPr bwMode="auto">
          <a:xfrm>
            <a:off x="0" y="-12696"/>
            <a:ext cx="79536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54754816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LM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20129" y="1376057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film nam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536394" y="485551"/>
            <a:ext cx="173316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FILM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D31DB22-34D2-415B-AAF3-98308CE2E56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71625" y="2447127"/>
            <a:ext cx="10601325" cy="4341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bg1">
              <a:lumMod val="75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1" name="Picture Placeholder 10" descr="Diagram&#10;&#10;Description automatically generated">
            <a:extLst>
              <a:ext uri="{FF2B5EF4-FFF2-40B4-BE49-F238E27FC236}">
                <a16:creationId xmlns:a16="http://schemas.microsoft.com/office/drawing/2014/main" id="{3D2213D4-F05B-41A1-9792-8839EC5019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9737" y="2309880"/>
            <a:ext cx="4854932" cy="485493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21023502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A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rgbClr val="DB8993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1814483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pic>
        <p:nvPicPr>
          <p:cNvPr id="28" name="Picture Placeholder 16" descr="A group of people raising their hands&#10;&#10;Description automatically generated with medium confidence">
            <a:extLst>
              <a:ext uri="{FF2B5EF4-FFF2-40B4-BE49-F238E27FC236}">
                <a16:creationId xmlns:a16="http://schemas.microsoft.com/office/drawing/2014/main" id="{D58FC17E-4343-4A66-8DCF-A0AA2542816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36606" y="2323047"/>
            <a:ext cx="4854932" cy="485493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8595960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67E74C-9453-4673-987C-9FBA427E175D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8" name="Picture Placeholder 12" descr="A person wearing headphones and holding a glass of beer&#10;&#10;Description automatically generated with medium confidence">
            <a:extLst>
              <a:ext uri="{FF2B5EF4-FFF2-40B4-BE49-F238E27FC236}">
                <a16:creationId xmlns:a16="http://schemas.microsoft.com/office/drawing/2014/main" id="{54C6C8D7-A8D1-41D6-A073-0F1FCBA74F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98"/>
          <a:stretch/>
        </p:blipFill>
        <p:spPr>
          <a:xfrm>
            <a:off x="-639058" y="2309880"/>
            <a:ext cx="4854932" cy="485493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4504633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5">
              <a:lumMod val="60000"/>
              <a:lumOff val="4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1C5B74-B955-4C64-8F6D-B642E084AD9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Circle: Hollow 27">
            <a:extLst>
              <a:ext uri="{FF2B5EF4-FFF2-40B4-BE49-F238E27FC236}">
                <a16:creationId xmlns:a16="http://schemas.microsoft.com/office/drawing/2014/main" id="{F0D09751-6084-4CDF-B09D-691E9DBFC24C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Circle: Hollow 28">
            <a:extLst>
              <a:ext uri="{FF2B5EF4-FFF2-40B4-BE49-F238E27FC236}">
                <a16:creationId xmlns:a16="http://schemas.microsoft.com/office/drawing/2014/main" id="{4831C287-6B5C-47D3-9CBB-0FF9C28403DD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30" name="Picture Placeholder 7">
            <a:extLst>
              <a:ext uri="{FF2B5EF4-FFF2-40B4-BE49-F238E27FC236}">
                <a16:creationId xmlns:a16="http://schemas.microsoft.com/office/drawing/2014/main" id="{0A6FF159-8155-4AC7-B0C8-4F8248DDED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63"/>
          <a:stretch/>
        </p:blipFill>
        <p:spPr>
          <a:xfrm>
            <a:off x="-623860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707920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rgbClr val="DB8993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1814483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pic>
        <p:nvPicPr>
          <p:cNvPr id="23" name="Picture Placeholder 127">
            <a:extLst>
              <a:ext uri="{FF2B5EF4-FFF2-40B4-BE49-F238E27FC236}">
                <a16:creationId xmlns:a16="http://schemas.microsoft.com/office/drawing/2014/main" id="{745B3249-9840-401F-8B6E-9957F3E68C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94"/>
          <a:stretch/>
        </p:blipFill>
        <p:spPr>
          <a:xfrm>
            <a:off x="-644463" y="23225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617294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67E74C-9453-4673-987C-9FBA427E175D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137" descr="A picture containing person, sport, dancer, colorful&#10;&#10;Description automatically generated">
            <a:extLst>
              <a:ext uri="{FF2B5EF4-FFF2-40B4-BE49-F238E27FC236}">
                <a16:creationId xmlns:a16="http://schemas.microsoft.com/office/drawing/2014/main" id="{4A7875E8-45E8-4AB0-BAF3-2EA96ECA49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6560" y="2316829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5153665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5">
              <a:lumMod val="60000"/>
              <a:lumOff val="4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1C5B74-B955-4C64-8F6D-B642E084AD9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Circle: Hollow 27">
            <a:extLst>
              <a:ext uri="{FF2B5EF4-FFF2-40B4-BE49-F238E27FC236}">
                <a16:creationId xmlns:a16="http://schemas.microsoft.com/office/drawing/2014/main" id="{F0D09751-6084-4CDF-B09D-691E9DBFC24C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Circle: Hollow 28">
            <a:extLst>
              <a:ext uri="{FF2B5EF4-FFF2-40B4-BE49-F238E27FC236}">
                <a16:creationId xmlns:a16="http://schemas.microsoft.com/office/drawing/2014/main" id="{4831C287-6B5C-47D3-9CBB-0FF9C28403DD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122" descr="A picture containing person&#10;&#10;Description automatically generated">
            <a:extLst>
              <a:ext uri="{FF2B5EF4-FFF2-40B4-BE49-F238E27FC236}">
                <a16:creationId xmlns:a16="http://schemas.microsoft.com/office/drawing/2014/main" id="{3CC4E0A8-6E4A-4188-93BF-5BF5BB59F7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2785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3257997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67E74C-9453-4673-987C-9FBA427E175D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132" descr="A group of people running&#10;&#10;Description automatically generated">
            <a:extLst>
              <a:ext uri="{FF2B5EF4-FFF2-40B4-BE49-F238E27FC236}">
                <a16:creationId xmlns:a16="http://schemas.microsoft.com/office/drawing/2014/main" id="{E8F50E11-BDD9-4689-9DC0-7A17376FE2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9057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73976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EST SPEAKER INTRODUCTION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5313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Guest Speaker Nam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9C70BD3E-C9D9-4F81-94C9-3BE89B4CED01}"/>
              </a:ext>
            </a:extLst>
          </p:cNvPr>
          <p:cNvSpPr>
            <a:spLocks noChangeAspect="1"/>
          </p:cNvSpPr>
          <p:nvPr userDrawn="1"/>
        </p:nvSpPr>
        <p:spPr>
          <a:xfrm>
            <a:off x="9081128" y="-488511"/>
            <a:ext cx="3653741" cy="3618510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AA6FAA8F-A86A-411A-9FC3-EFBDD1332726}"/>
              </a:ext>
            </a:extLst>
          </p:cNvPr>
          <p:cNvSpPr>
            <a:spLocks noChangeAspect="1"/>
          </p:cNvSpPr>
          <p:nvPr userDrawn="1"/>
        </p:nvSpPr>
        <p:spPr>
          <a:xfrm>
            <a:off x="9181713" y="-398814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9CCF839-CB7A-451F-9F2C-6D310B5F0286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9328725" y="-250939"/>
            <a:ext cx="3128359" cy="3128359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nl-NL"/>
              <a:t>Guest Speaker Picture</a:t>
            </a:r>
          </a:p>
        </p:txBody>
      </p:sp>
      <p:pic>
        <p:nvPicPr>
          <p:cNvPr id="6" name="Picture 5" descr="Shape, circle&#10;&#10;Description automatically generated">
            <a:extLst>
              <a:ext uri="{FF2B5EF4-FFF2-40B4-BE49-F238E27FC236}">
                <a16:creationId xmlns:a16="http://schemas.microsoft.com/office/drawing/2014/main" id="{F8A63C9F-6C43-BA6A-F4D8-9728BC977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4C9A0D-85D6-4749-99E3-B8A1C8FE8C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177" y="1053295"/>
            <a:ext cx="7794675" cy="4976569"/>
          </a:xfrm>
          <a:prstGeom prst="roundRect">
            <a:avLst>
              <a:gd name="adj" fmla="val 4464"/>
            </a:avLst>
          </a:prstGeom>
          <a:solidFill>
            <a:srgbClr val="FFFFFF">
              <a:alpha val="54902"/>
            </a:srgbClr>
          </a:solidFill>
        </p:spPr>
        <p:txBody>
          <a:bodyPr/>
          <a:lstStyle>
            <a:lvl1pPr>
              <a:defRPr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Click to edit Guest Speaker key points</a:t>
            </a:r>
          </a:p>
        </p:txBody>
      </p:sp>
    </p:spTree>
    <p:extLst>
      <p:ext uri="{BB962C8B-B14F-4D97-AF65-F5344CB8AC3E}">
        <p14:creationId xmlns:p14="http://schemas.microsoft.com/office/powerpoint/2010/main" val="133859167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rgbClr val="DB8993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1814483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pic>
        <p:nvPicPr>
          <p:cNvPr id="28" name="Picture Placeholder 115" descr="A person with his arms crossed&#10;&#10;Description automatically generated with low confidence">
            <a:extLst>
              <a:ext uri="{FF2B5EF4-FFF2-40B4-BE49-F238E27FC236}">
                <a16:creationId xmlns:a16="http://schemas.microsoft.com/office/drawing/2014/main" id="{B270CD26-81BF-4B49-80D1-F7BA27BFA5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9737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4011147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67E74C-9453-4673-987C-9FBA427E175D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105">
            <a:extLst>
              <a:ext uri="{FF2B5EF4-FFF2-40B4-BE49-F238E27FC236}">
                <a16:creationId xmlns:a16="http://schemas.microsoft.com/office/drawing/2014/main" id="{7E2B29AF-A8AF-4F10-8141-C9E9DCB50B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2020" y="23225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471602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5">
              <a:lumMod val="60000"/>
              <a:lumOff val="4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1C5B74-B955-4C64-8F6D-B642E084AD9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Circle: Hollow 27">
            <a:extLst>
              <a:ext uri="{FF2B5EF4-FFF2-40B4-BE49-F238E27FC236}">
                <a16:creationId xmlns:a16="http://schemas.microsoft.com/office/drawing/2014/main" id="{F0D09751-6084-4CDF-B09D-691E9DBFC24C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Circle: Hollow 28">
            <a:extLst>
              <a:ext uri="{FF2B5EF4-FFF2-40B4-BE49-F238E27FC236}">
                <a16:creationId xmlns:a16="http://schemas.microsoft.com/office/drawing/2014/main" id="{4831C287-6B5C-47D3-9CBB-0FF9C28403DD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4" name="Picture Placeholder 120" descr="A group of men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446A5102-6050-4F3E-B172-F44565CECB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8524" y="2323047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439099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5">
              <a:lumMod val="60000"/>
              <a:lumOff val="4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1C5B74-B955-4C64-8F6D-B642E084AD9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Circle: Hollow 27">
            <a:extLst>
              <a:ext uri="{FF2B5EF4-FFF2-40B4-BE49-F238E27FC236}">
                <a16:creationId xmlns:a16="http://schemas.microsoft.com/office/drawing/2014/main" id="{F0D09751-6084-4CDF-B09D-691E9DBFC24C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Circle: Hollow 28">
            <a:extLst>
              <a:ext uri="{FF2B5EF4-FFF2-40B4-BE49-F238E27FC236}">
                <a16:creationId xmlns:a16="http://schemas.microsoft.com/office/drawing/2014/main" id="{4831C287-6B5C-47D3-9CBB-0FF9C28403DD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110">
            <a:extLst>
              <a:ext uri="{FF2B5EF4-FFF2-40B4-BE49-F238E27FC236}">
                <a16:creationId xmlns:a16="http://schemas.microsoft.com/office/drawing/2014/main" id="{55C3F078-CE24-4D1A-9486-E980260B9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1358" y="23225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174288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rgbClr val="DB8993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1814483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pic>
        <p:nvPicPr>
          <p:cNvPr id="23" name="Picture Placeholder 341">
            <a:extLst>
              <a:ext uri="{FF2B5EF4-FFF2-40B4-BE49-F238E27FC236}">
                <a16:creationId xmlns:a16="http://schemas.microsoft.com/office/drawing/2014/main" id="{9A8927FA-857E-4E98-A171-4CFB0A6283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9737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7366714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67E74C-9453-4673-987C-9FBA427E175D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8" name="Picture Placeholder 355">
            <a:extLst>
              <a:ext uri="{FF2B5EF4-FFF2-40B4-BE49-F238E27FC236}">
                <a16:creationId xmlns:a16="http://schemas.microsoft.com/office/drawing/2014/main" id="{95E7CFCD-6A83-409B-9BB3-F865EA4226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40169" y="2316829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9261903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5">
              <a:lumMod val="60000"/>
              <a:lumOff val="4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1C5B74-B955-4C64-8F6D-B642E084AD9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Circle: Hollow 27">
            <a:extLst>
              <a:ext uri="{FF2B5EF4-FFF2-40B4-BE49-F238E27FC236}">
                <a16:creationId xmlns:a16="http://schemas.microsoft.com/office/drawing/2014/main" id="{F0D09751-6084-4CDF-B09D-691E9DBFC24C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Circle: Hollow 28">
            <a:extLst>
              <a:ext uri="{FF2B5EF4-FFF2-40B4-BE49-F238E27FC236}">
                <a16:creationId xmlns:a16="http://schemas.microsoft.com/office/drawing/2014/main" id="{4831C287-6B5C-47D3-9CBB-0FF9C28403DD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4" name="Picture Placeholder 336">
            <a:extLst>
              <a:ext uri="{FF2B5EF4-FFF2-40B4-BE49-F238E27FC236}">
                <a16:creationId xmlns:a16="http://schemas.microsoft.com/office/drawing/2014/main" id="{36225AA7-1C9F-448C-AB15-08CAAF1D7A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3053" y="23225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867747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rgbClr val="DB8993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1814483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pic>
        <p:nvPicPr>
          <p:cNvPr id="21" name="Picture Placeholder 346" descr="A picture containing person, water sport, sport, swimming&#10;&#10;Description automatically generated">
            <a:extLst>
              <a:ext uri="{FF2B5EF4-FFF2-40B4-BE49-F238E27FC236}">
                <a16:creationId xmlns:a16="http://schemas.microsoft.com/office/drawing/2014/main" id="{6533F9B4-4AD2-4AC3-A26C-895C6964BA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0169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5088745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rgbClr val="DB8993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1814483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pic>
        <p:nvPicPr>
          <p:cNvPr id="28" name="Picture Placeholder 95" descr="A picture containing dark&#10;&#10;Description automatically generated">
            <a:extLst>
              <a:ext uri="{FF2B5EF4-FFF2-40B4-BE49-F238E27FC236}">
                <a16:creationId xmlns:a16="http://schemas.microsoft.com/office/drawing/2014/main" id="{8A180B2A-BF2D-4FEB-9346-9B7C410B5A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38374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763575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67E74C-9453-4673-987C-9FBA427E175D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90" descr="A picture containing building, outdoor, blue, stone&#10;&#10;Description automatically generated">
            <a:extLst>
              <a:ext uri="{FF2B5EF4-FFF2-40B4-BE49-F238E27FC236}">
                <a16:creationId xmlns:a16="http://schemas.microsoft.com/office/drawing/2014/main" id="{20DD8E6A-F37D-4CEE-8B28-892B6221791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52888" y="2282358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79151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9FCFA18-B561-4716-AA7A-234D93CC1B70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2" name="Picture 31" descr="Shape, circle&#10;&#10;Description automatically generated">
            <a:extLst>
              <a:ext uri="{FF2B5EF4-FFF2-40B4-BE49-F238E27FC236}">
                <a16:creationId xmlns:a16="http://schemas.microsoft.com/office/drawing/2014/main" id="{1E14698F-2DFE-4ABC-8776-F961CD13B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6541791" y="0"/>
            <a:ext cx="5632889" cy="558800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AD590678-8D03-4720-9986-71EBEAE6C458}"/>
              </a:ext>
            </a:extLst>
          </p:cNvPr>
          <p:cNvSpPr txBox="1"/>
          <p:nvPr userDrawn="1"/>
        </p:nvSpPr>
        <p:spPr>
          <a:xfrm>
            <a:off x="179783" y="192389"/>
            <a:ext cx="45560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EARNING OBJECTIVES</a:t>
            </a:r>
            <a:endParaRPr lang="nl-NL" sz="1200" b="1">
              <a:solidFill>
                <a:srgbClr val="00AEEF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378D8CD-C3E3-4637-8184-7FC938EE9C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171" y="202752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1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5B6B688A-4321-4967-ADCE-3DD62CCF28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171" y="297930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2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0A46619-F1F2-43A8-85D6-A1D7F402C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170" y="3925397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3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A04A0385-DE7C-4017-A042-7DF11670E5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169" y="4876200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4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F9277E1-AD60-4D2D-BE69-54968C565961}"/>
              </a:ext>
            </a:extLst>
          </p:cNvPr>
          <p:cNvSpPr txBox="1"/>
          <p:nvPr userDrawn="1"/>
        </p:nvSpPr>
        <p:spPr>
          <a:xfrm>
            <a:off x="512169" y="1425240"/>
            <a:ext cx="71721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800" b="1">
                <a:latin typeface="Ink Free" panose="03080402000500000000" pitchFamily="66" charset="0"/>
              </a:rPr>
              <a:t>By the end of this module you will be able to:</a:t>
            </a:r>
          </a:p>
        </p:txBody>
      </p:sp>
    </p:spTree>
    <p:extLst>
      <p:ext uri="{BB962C8B-B14F-4D97-AF65-F5344CB8AC3E}">
        <p14:creationId xmlns:p14="http://schemas.microsoft.com/office/powerpoint/2010/main" val="326867554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5">
              <a:lumMod val="60000"/>
              <a:lumOff val="4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1C5B74-B955-4C64-8F6D-B642E084AD9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Circle: Hollow 27">
            <a:extLst>
              <a:ext uri="{FF2B5EF4-FFF2-40B4-BE49-F238E27FC236}">
                <a16:creationId xmlns:a16="http://schemas.microsoft.com/office/drawing/2014/main" id="{F0D09751-6084-4CDF-B09D-691E9DBFC24C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Circle: Hollow 28">
            <a:extLst>
              <a:ext uri="{FF2B5EF4-FFF2-40B4-BE49-F238E27FC236}">
                <a16:creationId xmlns:a16="http://schemas.microsoft.com/office/drawing/2014/main" id="{4831C287-6B5C-47D3-9CBB-0FF9C28403DD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100">
            <a:extLst>
              <a:ext uri="{FF2B5EF4-FFF2-40B4-BE49-F238E27FC236}">
                <a16:creationId xmlns:a16="http://schemas.microsoft.com/office/drawing/2014/main" id="{A9F941BB-AD7F-4F8D-8489-E645C72B01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74706" y="2323047"/>
            <a:ext cx="4854932" cy="485493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56878135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958717" y="2098999"/>
            <a:ext cx="5397554" cy="53455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Circle: Hollow 33">
            <a:extLst>
              <a:ext uri="{FF2B5EF4-FFF2-40B4-BE49-F238E27FC236}">
                <a16:creationId xmlns:a16="http://schemas.microsoft.com/office/drawing/2014/main" id="{43395294-4557-46A9-9919-F13E15CDE4E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5" name="Circle: Hollow 34">
            <a:extLst>
              <a:ext uri="{FF2B5EF4-FFF2-40B4-BE49-F238E27FC236}">
                <a16:creationId xmlns:a16="http://schemas.microsoft.com/office/drawing/2014/main" id="{4CC85DBD-7E11-4644-8662-540317DD574A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8" y="2094455"/>
            <a:ext cx="5401195" cy="5349114"/>
          </a:xfrm>
          <a:prstGeom prst="donut">
            <a:avLst>
              <a:gd name="adj" fmla="val 2682"/>
            </a:avLst>
          </a:prstGeom>
          <a:solidFill>
            <a:schemeClr val="tx1">
              <a:lumMod val="50000"/>
              <a:lumOff val="50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140EA6C-A7FA-4766-B89B-40730972C3CB}"/>
              </a:ext>
            </a:extLst>
          </p:cNvPr>
          <p:cNvSpPr>
            <a:spLocks noChangeAspect="1"/>
          </p:cNvSpPr>
          <p:nvPr userDrawn="1"/>
        </p:nvSpPr>
        <p:spPr>
          <a:xfrm>
            <a:off x="9524786" y="-493399"/>
            <a:ext cx="3243883" cy="321260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1" name="Circle: Hollow 30">
            <a:extLst>
              <a:ext uri="{FF2B5EF4-FFF2-40B4-BE49-F238E27FC236}">
                <a16:creationId xmlns:a16="http://schemas.microsoft.com/office/drawing/2014/main" id="{D6BBE2D3-617E-4598-874E-DAAFE6A89CC5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2" name="Circle: Hollow 31">
            <a:extLst>
              <a:ext uri="{FF2B5EF4-FFF2-40B4-BE49-F238E27FC236}">
                <a16:creationId xmlns:a16="http://schemas.microsoft.com/office/drawing/2014/main" id="{4F18B7CA-1521-4797-901A-711FD6AE2821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chemeClr val="tx1">
              <a:lumMod val="50000"/>
              <a:lumOff val="50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8C66B2F9-7F2F-4B0F-BCB5-0D476F9C4036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-674706" y="2323047"/>
            <a:ext cx="4854932" cy="4854932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08636AC-E3F3-4206-B3DF-B6B91A39477B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52651386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CONTENT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0" y="2716952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79783" y="0"/>
            <a:ext cx="8335571" cy="96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2B1BD734-7379-4346-88DF-5BB68C76BF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CCBF2A2-4A94-4167-B811-76A9071CFD5E}"/>
              </a:ext>
            </a:extLst>
          </p:cNvPr>
          <p:cNvSpPr/>
          <p:nvPr userDrawn="1"/>
        </p:nvSpPr>
        <p:spPr>
          <a:xfrm>
            <a:off x="1227710" y="1601040"/>
            <a:ext cx="8419747" cy="82527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D2800E9-B245-4BF2-A06F-459F6B4DF8EC}"/>
              </a:ext>
            </a:extLst>
          </p:cNvPr>
          <p:cNvSpPr/>
          <p:nvPr userDrawn="1"/>
        </p:nvSpPr>
        <p:spPr>
          <a:xfrm>
            <a:off x="1227709" y="2849060"/>
            <a:ext cx="8419747" cy="1850988"/>
          </a:xfrm>
          <a:prstGeom prst="roundRect">
            <a:avLst>
              <a:gd name="adj" fmla="val 10491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EDB912A-94C7-48E7-9C7D-6933F5A16D89}"/>
              </a:ext>
            </a:extLst>
          </p:cNvPr>
          <p:cNvSpPr/>
          <p:nvPr userDrawn="1"/>
        </p:nvSpPr>
        <p:spPr>
          <a:xfrm>
            <a:off x="1239652" y="5067096"/>
            <a:ext cx="8419747" cy="82527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7DC52E1-61B4-41C6-9C1B-78B53F41A1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55" y="1750950"/>
            <a:ext cx="6540302" cy="5254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add activity grouping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5D33661A-E879-4955-BAB9-AA7B3C955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79600" y="5238900"/>
            <a:ext cx="7334511" cy="5254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add activity timing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694DBE2C-2418-448B-A0C4-52EECB64EBA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79600" y="2963177"/>
            <a:ext cx="7334511" cy="15470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add activity descriptio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4CF5DA5-4716-4782-9501-A8F5107FB9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07949" y="1717481"/>
            <a:ext cx="498268" cy="57358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3847704-7CBE-4510-BC64-B020E26571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8405" y="3391793"/>
            <a:ext cx="668829" cy="62062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257E957-3DBE-477B-97FB-9F76589E12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57513" y="5176199"/>
            <a:ext cx="581561" cy="57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E5C9CD84-B7FC-41A4-A340-898AE0C16ED6}"/>
              </a:ext>
            </a:extLst>
          </p:cNvPr>
          <p:cNvSpPr>
            <a:spLocks noChangeAspect="1"/>
          </p:cNvSpPr>
          <p:nvPr userDrawn="1"/>
        </p:nvSpPr>
        <p:spPr>
          <a:xfrm>
            <a:off x="8515354" y="-476505"/>
            <a:ext cx="4200005" cy="41595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2E82F2B6-D24A-416E-A187-4E49DE485402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C4CCA36C-426E-4A63-9A07-DEB4BFCB3FAF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FB6D550-E9CE-4FA3-8A58-428B76CA8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grayscl/>
            <a:alphaModFix amt="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2648" y="-363857"/>
            <a:ext cx="3950312" cy="3932557"/>
          </a:xfrm>
          <a:prstGeom prst="ellipse">
            <a:avLst/>
          </a:prstGeom>
          <a:ln w="190500" cap="rnd">
            <a:noFill/>
            <a:prstDash val="solid"/>
          </a:ln>
          <a:effectLst/>
          <a:scene3d>
            <a:camera prst="orthographicFront"/>
            <a:lightRig rig="threePt" dir="t">
              <a:rot lat="0" lon="0" rev="19200000"/>
            </a:lightRig>
          </a:scene3d>
          <a:sp3d extrusionH="25400">
            <a:extrusionClr>
              <a:srgbClr val="000000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339667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CONTENT PAGE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-17319" y="2716951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79783" y="0"/>
            <a:ext cx="8335571" cy="96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2B1BD734-7379-4346-88DF-5BB68C76BF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CCBF2A2-4A94-4167-B811-76A9071CFD5E}"/>
              </a:ext>
            </a:extLst>
          </p:cNvPr>
          <p:cNvSpPr/>
          <p:nvPr userDrawn="1"/>
        </p:nvSpPr>
        <p:spPr>
          <a:xfrm>
            <a:off x="1227709" y="1629031"/>
            <a:ext cx="8419747" cy="82527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D2800E9-B245-4BF2-A06F-459F6B4DF8EC}"/>
              </a:ext>
            </a:extLst>
          </p:cNvPr>
          <p:cNvSpPr/>
          <p:nvPr userDrawn="1"/>
        </p:nvSpPr>
        <p:spPr>
          <a:xfrm>
            <a:off x="1227709" y="2814061"/>
            <a:ext cx="8419747" cy="1850988"/>
          </a:xfrm>
          <a:prstGeom prst="roundRect">
            <a:avLst>
              <a:gd name="adj" fmla="val 10491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EDB912A-94C7-48E7-9C7D-6933F5A16D89}"/>
              </a:ext>
            </a:extLst>
          </p:cNvPr>
          <p:cNvSpPr/>
          <p:nvPr userDrawn="1"/>
        </p:nvSpPr>
        <p:spPr>
          <a:xfrm>
            <a:off x="1227709" y="5053991"/>
            <a:ext cx="8419747" cy="82527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7DC52E1-61B4-41C6-9C1B-78B53F41A1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55" y="1750950"/>
            <a:ext cx="6540302" cy="5254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add activity grouping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5D33661A-E879-4955-BAB9-AA7B3C955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79600" y="5203901"/>
            <a:ext cx="7334511" cy="5254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add activity timing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694DBE2C-2418-448B-A0C4-52EECB64EBA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79600" y="2963177"/>
            <a:ext cx="7334511" cy="15470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add activity descriptio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5C9CD84-B7FC-41A4-A340-898AE0C16ED6}"/>
              </a:ext>
            </a:extLst>
          </p:cNvPr>
          <p:cNvSpPr>
            <a:spLocks noChangeAspect="1"/>
          </p:cNvSpPr>
          <p:nvPr userDrawn="1"/>
        </p:nvSpPr>
        <p:spPr>
          <a:xfrm>
            <a:off x="8515354" y="-476505"/>
            <a:ext cx="4200005" cy="41595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2E82F2B6-D24A-416E-A187-4E49DE485402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C4CCA36C-426E-4A63-9A07-DEB4BFCB3FAF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4CF5DA5-4716-4782-9501-A8F5107FB9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07949" y="1717481"/>
            <a:ext cx="498268" cy="57358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3847704-7CBE-4510-BC64-B020E26571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8405" y="3391793"/>
            <a:ext cx="668829" cy="62062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257E957-3DBE-477B-97FB-9F76589E12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57513" y="5176199"/>
            <a:ext cx="581561" cy="57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986AB6F-E24C-434A-A8D2-81FF08CF8E0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8654777" y="-346796"/>
            <a:ext cx="3892823" cy="3892823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7052221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A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ACB5B2EF-1D68-4E05-AE2F-47E0F8E46856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FE8B15A-C777-4D84-BBF1-64E186AAB83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BF3B4B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28" name="Picture Placeholder 26">
            <a:extLst>
              <a:ext uri="{FF2B5EF4-FFF2-40B4-BE49-F238E27FC236}">
                <a16:creationId xmlns:a16="http://schemas.microsoft.com/office/drawing/2014/main" id="{C8FBAAFA-749D-4879-A3BE-6DD635F520E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718247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048586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A3E08D-55F6-417B-BF67-99B2DE7696C5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4F53AA36-CC97-4A8B-ACD8-80265041AA77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A492BF7C-70D6-4DC1-9995-A43B597C35CE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D6AE92-C0F6-443F-8FD2-8E18D00F53D0}"/>
              </a:ext>
            </a:extLst>
          </p:cNvPr>
          <p:cNvSpPr>
            <a:spLocks noChangeAspect="1"/>
          </p:cNvSpPr>
          <p:nvPr userDrawn="1"/>
        </p:nvSpPr>
        <p:spPr>
          <a:xfrm>
            <a:off x="-857644" y="2689922"/>
            <a:ext cx="4723935" cy="46783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472E42A6-4578-4227-B430-88B39E80CE3C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0CB4BE12-AAD7-41B1-AAE2-2619652C95D6}"/>
              </a:ext>
            </a:extLst>
          </p:cNvPr>
          <p:cNvSpPr>
            <a:spLocks noChangeAspect="1"/>
          </p:cNvSpPr>
          <p:nvPr userDrawn="1"/>
        </p:nvSpPr>
        <p:spPr>
          <a:xfrm>
            <a:off x="-933329" y="2648263"/>
            <a:ext cx="4825508" cy="4778978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8" name="Picture Placeholder 21" descr="A group of people pos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2B200B88-57D2-432E-9471-75C7FA8D84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90"/>
          <a:stretch/>
        </p:blipFill>
        <p:spPr>
          <a:xfrm>
            <a:off x="-724437" y="2845814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6420859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3712E44-D7EE-4CC0-AC22-36330532A9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8BB3806-A712-4AF9-A724-F6B430C65A82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947285-E7DB-4D8C-8BBB-918B36125350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00AEE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5C055-21A1-4202-86ED-F3FF73DA712A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76268F9-CEA2-49FC-B931-DD6EBD4FE758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31755" y="2841746"/>
            <a:ext cx="4406237" cy="4406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252938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ACB5B2EF-1D68-4E05-AE2F-47E0F8E46856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FE8B15A-C777-4D84-BBF1-64E186AAB83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BF3B4B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16" name="Picture Placeholder 144" descr="A picture containing person&#10;&#10;Description automatically generated">
            <a:extLst>
              <a:ext uri="{FF2B5EF4-FFF2-40B4-BE49-F238E27FC236}">
                <a16:creationId xmlns:a16="http://schemas.microsoft.com/office/drawing/2014/main" id="{7869A791-AE53-4C19-95CE-270F0FC118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79766" y="2879846"/>
            <a:ext cx="4335831" cy="4335831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511865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A3E08D-55F6-417B-BF67-99B2DE7696C5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4F53AA36-CC97-4A8B-ACD8-80265041AA77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A492BF7C-70D6-4DC1-9995-A43B597C35CE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D6AE92-C0F6-443F-8FD2-8E18D00F53D0}"/>
              </a:ext>
            </a:extLst>
          </p:cNvPr>
          <p:cNvSpPr>
            <a:spLocks noChangeAspect="1"/>
          </p:cNvSpPr>
          <p:nvPr userDrawn="1"/>
        </p:nvSpPr>
        <p:spPr>
          <a:xfrm>
            <a:off x="-857644" y="2689922"/>
            <a:ext cx="4723935" cy="46783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472E42A6-4578-4227-B430-88B39E80CE3C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0CB4BE12-AAD7-41B1-AAE2-2619652C95D6}"/>
              </a:ext>
            </a:extLst>
          </p:cNvPr>
          <p:cNvSpPr>
            <a:spLocks noChangeAspect="1"/>
          </p:cNvSpPr>
          <p:nvPr userDrawn="1"/>
        </p:nvSpPr>
        <p:spPr>
          <a:xfrm>
            <a:off x="-933329" y="2648263"/>
            <a:ext cx="4825508" cy="4778978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59">
            <a:extLst>
              <a:ext uri="{FF2B5EF4-FFF2-40B4-BE49-F238E27FC236}">
                <a16:creationId xmlns:a16="http://schemas.microsoft.com/office/drawing/2014/main" id="{8242DCA3-9E4A-4FB7-A86B-533E0F8C8F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90931" y="2871289"/>
            <a:ext cx="4335831" cy="4335831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226814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3712E44-D7EE-4CC0-AC22-36330532A9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8BB3806-A712-4AF9-A724-F6B430C65A82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947285-E7DB-4D8C-8BBB-918B36125350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00AEE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5C055-21A1-4202-86ED-F3FF73DA712A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18" name="Picture Placeholder 149">
            <a:extLst>
              <a:ext uri="{FF2B5EF4-FFF2-40B4-BE49-F238E27FC236}">
                <a16:creationId xmlns:a16="http://schemas.microsoft.com/office/drawing/2014/main" id="{5CE15B17-6DB5-40C0-83BD-507AD5BF65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80147" y="2893006"/>
            <a:ext cx="4335831" cy="4335831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5107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F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AC8B736D-BE55-4CC1-AA19-C0883264D3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4668" y="0"/>
            <a:ext cx="788103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2">
            <a:extLst>
              <a:ext uri="{FF2B5EF4-FFF2-40B4-BE49-F238E27FC236}">
                <a16:creationId xmlns:a16="http://schemas.microsoft.com/office/drawing/2014/main" id="{32358697-E1BE-4BC9-B487-F3AAF76A07C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140" b="99482" l="55885" r="99477">
                        <a14:foregroundMark x1="89974" y1="2073" x2="91718" y2="27047"/>
                        <a14:foregroundMark x1="97384" y1="6943" x2="98131" y2="35469"/>
                        <a14:foregroundMark x1="98954" y1="64870" x2="90759" y2="99689"/>
                        <a14:foregroundMark x1="65475" y1="62280" x2="71752" y2="98342"/>
                        <a14:foregroundMark x1="99477" y1="98342" x2="92589" y2="98964"/>
                        <a14:foregroundMark x1="92589" y1="98964" x2="73147" y2="97409"/>
                        <a14:foregroundMark x1="73147" y1="97409" x2="62772" y2="97409"/>
                        <a14:foregroundMark x1="62772" y1="97409" x2="62249" y2="97824"/>
                        <a14:foregroundMark x1="93287" y1="76580" x2="81779" y2="89741"/>
                        <a14:foregroundMark x1="81779" y1="89741" x2="81430" y2="90052"/>
                        <a14:foregroundMark x1="65126" y1="65389" x2="57018" y2="83938"/>
                        <a14:foregroundMark x1="57018" y1="83938" x2="55972" y2="91399"/>
                        <a14:foregroundMark x1="55972" y1="91399" x2="56234" y2="93782"/>
                        <a14:foregroundMark x1="92851" y1="37409" x2="77855" y2="39275"/>
                        <a14:foregroundMark x1="85615" y1="48601" x2="84743" y2="53161"/>
                        <a14:foregroundMark x1="94159" y1="3212" x2="65737" y2="25596"/>
                        <a14:foregroundMark x1="85615" y1="1140" x2="67568" y2="16166"/>
                        <a14:foregroundMark x1="74106" y1="4456" x2="69137" y2="13368"/>
                        <a14:foregroundMark x1="70793" y1="7668" x2="66434" y2="18342"/>
                        <a14:foregroundMark x1="98169" y1="41347" x2="97472" y2="43212"/>
                        <a14:backgroundMark x1="99420" y1="42340" x2="99477" y2="45699"/>
                        <a14:backgroundMark x1="99303" y1="35440" x2="99414" y2="41966"/>
                        <a14:backgroundMark x1="99477" y1="45699" x2="95728" y2="60000"/>
                        <a14:backgroundMark x1="71578" y1="44870" x2="70445" y2="61658"/>
                        <a14:backgroundMark x1="70445" y1="61658" x2="71055" y2="63005"/>
                        <a14:backgroundMark x1="63644" y1="59482" x2="57890" y2="64663"/>
                        <a14:backgroundMark x1="53531" y1="92642" x2="53705" y2="97306"/>
                        <a14:backgroundMark x1="91020" y1="415" x2="86574" y2="829"/>
                        <a14:backgroundMark x1="83958" y1="0" x2="83173" y2="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1893"/>
          <a:stretch/>
        </p:blipFill>
        <p:spPr bwMode="auto">
          <a:xfrm flipH="1">
            <a:off x="-6030" y="-16126"/>
            <a:ext cx="379131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B4AEC8F3-05D1-4FBF-BE72-97709EA1EAB0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AF443D3-F812-4F86-8B8E-E5816A3E11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Circle: Hollow 57">
              <a:extLst>
                <a:ext uri="{FF2B5EF4-FFF2-40B4-BE49-F238E27FC236}">
                  <a16:creationId xmlns:a16="http://schemas.microsoft.com/office/drawing/2014/main" id="{9D95686D-A19F-4FBB-B1D5-3511D14F37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9" name="Circle: Hollow 58">
              <a:extLst>
                <a:ext uri="{FF2B5EF4-FFF2-40B4-BE49-F238E27FC236}">
                  <a16:creationId xmlns:a16="http://schemas.microsoft.com/office/drawing/2014/main" id="{0BC42117-CDE5-46AC-8D46-B6332B460CB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289C79DA-BCA2-4018-BEFB-181F9216520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Circle: Hollow 60">
              <a:extLst>
                <a:ext uri="{FF2B5EF4-FFF2-40B4-BE49-F238E27FC236}">
                  <a16:creationId xmlns:a16="http://schemas.microsoft.com/office/drawing/2014/main" id="{D0EF23F0-FD20-46AA-AE67-872B404AB78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27180E7E-8326-4795-9C6A-34CDD3858C6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Circle: Hollow 62">
              <a:extLst>
                <a:ext uri="{FF2B5EF4-FFF2-40B4-BE49-F238E27FC236}">
                  <a16:creationId xmlns:a16="http://schemas.microsoft.com/office/drawing/2014/main" id="{7A2CAE88-E9E1-4077-8B53-9B96F596121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205D7D68-BCAA-475C-9132-75C2BA90D0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Circle: Hollow 69">
              <a:extLst>
                <a:ext uri="{FF2B5EF4-FFF2-40B4-BE49-F238E27FC236}">
                  <a16:creationId xmlns:a16="http://schemas.microsoft.com/office/drawing/2014/main" id="{A87B830C-E710-4D36-84CB-310EE9A5DBC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71" name="Circle: Hollow 70">
              <a:extLst>
                <a:ext uri="{FF2B5EF4-FFF2-40B4-BE49-F238E27FC236}">
                  <a16:creationId xmlns:a16="http://schemas.microsoft.com/office/drawing/2014/main" id="{E4239021-43E9-4E39-BB61-34836FF5D4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4E2E866C-1C81-4F83-9ECD-A95CA4EACA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7996A0E6-0698-4B03-9301-CE77ECF355A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423C7B6A-0681-4B1A-8B44-A11B7439F95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803A0765-3ED3-4F89-85B1-D7729A7C40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76" name="Circle: Hollow 75">
              <a:extLst>
                <a:ext uri="{FF2B5EF4-FFF2-40B4-BE49-F238E27FC236}">
                  <a16:creationId xmlns:a16="http://schemas.microsoft.com/office/drawing/2014/main" id="{4BCE93E5-A965-4373-99A7-D17DF7539F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46ADE4A9-D827-4A98-8D6C-8838DD08CD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228C071F-6C60-4B47-AA35-8E40B99D3DD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AE973C1F-8FED-4F0C-AB64-EA956CDA9DE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09376B53-447E-4EF8-B52E-4BAC39A6B3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B065B701-D4C7-4A88-BE4B-2A3128D06C0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A36E6813-6D61-4890-9A81-5F309F6851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DE020CDE-4B09-4F5E-965A-53B2846D5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AC2F2CC2-5529-420E-802F-F4E925BBF73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D047EC91-B556-402C-8514-70DE3338CA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15431908-CAEB-487F-AAC8-7EC86ABB2E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70A783DD-81C3-4A0A-AF3A-82D891E405D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C99D31CB-3C8B-41E7-BEAB-81EE3C479C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276720E2-78DC-4F58-AC67-70B501421F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B9BA35A9-CF0D-4E0B-8E3E-D997CD01A67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97D30F32-E6BF-43FD-9053-EA8B82534C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30B965F0-94B9-4302-9215-DAA8D3A5EAC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F8466486-0388-4E26-9B61-AA12DAF8B5D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074545C7-8F3A-400E-9FCA-2159F6E29D9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78A0446C-8D9E-46A9-8102-8C9F30E180A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344245E-D03F-402E-A49C-6BABDD17938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D1892B87-E656-4A94-A5A5-6EE6E6A31A3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84217071-D59E-46B8-BFFA-AAA62024AB2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80CD4824-C6A6-452F-9229-1A42C666E90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EE7198A6-F01F-42DB-B952-E057D3A469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0493F4AA-9AB1-4B4D-95AE-AC30D0DF1869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Circle: Hollow 101">
              <a:extLst>
                <a:ext uri="{FF2B5EF4-FFF2-40B4-BE49-F238E27FC236}">
                  <a16:creationId xmlns:a16="http://schemas.microsoft.com/office/drawing/2014/main" id="{6EF5040E-82CE-4E1D-877E-3CBD1AD8497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03" name="Circle: Hollow 102">
              <a:extLst>
                <a:ext uri="{FF2B5EF4-FFF2-40B4-BE49-F238E27FC236}">
                  <a16:creationId xmlns:a16="http://schemas.microsoft.com/office/drawing/2014/main" id="{09BEAE28-30DA-4255-9EFE-16682F31BAC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336FA3A-B7AB-099E-F8FD-797CC16368B5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55BA157-5957-0592-C560-683333AE8164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F9A8366-4FB2-C32B-B3A4-012151DA34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2D91402-54BD-3AE2-01D3-76B709F63B6E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4C5BE80-6E4C-0210-B91D-8EA1592169EC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1890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 PAGE_IMAG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FA3418-0396-490C-A419-013921E19A88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2" name="Picture 31" descr="Shape, circle&#10;&#10;Description automatically generated">
            <a:extLst>
              <a:ext uri="{FF2B5EF4-FFF2-40B4-BE49-F238E27FC236}">
                <a16:creationId xmlns:a16="http://schemas.microsoft.com/office/drawing/2014/main" id="{1E14698F-2DFE-4ABC-8776-F961CD13B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6541791" y="0"/>
            <a:ext cx="5632889" cy="558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378D8CD-C3E3-4637-8184-7FC938EE9C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171" y="202752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1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5B6B688A-4321-4967-ADCE-3DD62CCF28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171" y="297930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2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0A46619-F1F2-43A8-85D6-A1D7F402C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170" y="3925397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3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A04A0385-DE7C-4017-A042-7DF11670E5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169" y="4876200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4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D590678-8D03-4720-9986-71EBEAE6C458}"/>
              </a:ext>
            </a:extLst>
          </p:cNvPr>
          <p:cNvSpPr txBox="1"/>
          <p:nvPr userDrawn="1"/>
        </p:nvSpPr>
        <p:spPr>
          <a:xfrm>
            <a:off x="179783" y="192389"/>
            <a:ext cx="45560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EARNING OBJECTIVES</a:t>
            </a:r>
            <a:endParaRPr lang="nl-NL" sz="1200" b="1">
              <a:solidFill>
                <a:srgbClr val="00AEEF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F9277E1-AD60-4D2D-BE69-54968C565961}"/>
              </a:ext>
            </a:extLst>
          </p:cNvPr>
          <p:cNvSpPr txBox="1"/>
          <p:nvPr userDrawn="1"/>
        </p:nvSpPr>
        <p:spPr>
          <a:xfrm>
            <a:off x="512169" y="1425240"/>
            <a:ext cx="71721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800" b="1">
                <a:latin typeface="Ink Free" panose="03080402000500000000" pitchFamily="66" charset="0"/>
              </a:rPr>
              <a:t>By the end of this module you will be able to: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7B0406E-C1BB-6A1F-CB07-3376E948D0BF}"/>
              </a:ext>
            </a:extLst>
          </p:cNvPr>
          <p:cNvSpPr>
            <a:spLocks noChangeAspect="1"/>
          </p:cNvSpPr>
          <p:nvPr userDrawn="1"/>
        </p:nvSpPr>
        <p:spPr>
          <a:xfrm>
            <a:off x="8515354" y="-476505"/>
            <a:ext cx="4200005" cy="41595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Circle: Hollow 2">
            <a:extLst>
              <a:ext uri="{FF2B5EF4-FFF2-40B4-BE49-F238E27FC236}">
                <a16:creationId xmlns:a16="http://schemas.microsoft.com/office/drawing/2014/main" id="{94D745D1-DC55-B4E1-7DAD-4B4B000F3095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250790E5-9E11-4649-E4AC-41D375E1BFC4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7" name="Picture Placeholder 10">
            <a:extLst>
              <a:ext uri="{FF2B5EF4-FFF2-40B4-BE49-F238E27FC236}">
                <a16:creationId xmlns:a16="http://schemas.microsoft.com/office/drawing/2014/main" id="{BF4F2507-8787-C114-465A-45FB837B2E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954" t="17481" r="12474"/>
          <a:stretch/>
        </p:blipFill>
        <p:spPr>
          <a:xfrm>
            <a:off x="8680177" y="-346796"/>
            <a:ext cx="3892823" cy="3892823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82230086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A3E08D-55F6-417B-BF67-99B2DE7696C5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4F53AA36-CC97-4A8B-ACD8-80265041AA77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A492BF7C-70D6-4DC1-9995-A43B597C35CE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D6AE92-C0F6-443F-8FD2-8E18D00F53D0}"/>
              </a:ext>
            </a:extLst>
          </p:cNvPr>
          <p:cNvSpPr>
            <a:spLocks noChangeAspect="1"/>
          </p:cNvSpPr>
          <p:nvPr userDrawn="1"/>
        </p:nvSpPr>
        <p:spPr>
          <a:xfrm>
            <a:off x="-857644" y="2689922"/>
            <a:ext cx="4723935" cy="46783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472E42A6-4578-4227-B430-88B39E80CE3C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0CB4BE12-AAD7-41B1-AAE2-2619652C95D6}"/>
              </a:ext>
            </a:extLst>
          </p:cNvPr>
          <p:cNvSpPr>
            <a:spLocks noChangeAspect="1"/>
          </p:cNvSpPr>
          <p:nvPr userDrawn="1"/>
        </p:nvSpPr>
        <p:spPr>
          <a:xfrm>
            <a:off x="-933329" y="2648263"/>
            <a:ext cx="4825508" cy="4778978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54">
            <a:extLst>
              <a:ext uri="{FF2B5EF4-FFF2-40B4-BE49-F238E27FC236}">
                <a16:creationId xmlns:a16="http://schemas.microsoft.com/office/drawing/2014/main" id="{D251AF0A-27FC-4AA5-8EB4-56BFE85902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85511" y="2869836"/>
            <a:ext cx="4335831" cy="4335831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588813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ACB5B2EF-1D68-4E05-AE2F-47E0F8E46856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FE8B15A-C777-4D84-BBF1-64E186AAB83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BF3B4B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22" name="Picture Placeholder 149" descr="A picture containing person, person, posing&#10;&#10;Description automatically generated">
            <a:extLst>
              <a:ext uri="{FF2B5EF4-FFF2-40B4-BE49-F238E27FC236}">
                <a16:creationId xmlns:a16="http://schemas.microsoft.com/office/drawing/2014/main" id="{FB92EA2E-0D89-4A02-B4F5-4B510E2AD4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21819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706793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A3E08D-55F6-417B-BF67-99B2DE7696C5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4F53AA36-CC97-4A8B-ACD8-80265041AA77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A492BF7C-70D6-4DC1-9995-A43B597C35CE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D6AE92-C0F6-443F-8FD2-8E18D00F53D0}"/>
              </a:ext>
            </a:extLst>
          </p:cNvPr>
          <p:cNvSpPr>
            <a:spLocks noChangeAspect="1"/>
          </p:cNvSpPr>
          <p:nvPr userDrawn="1"/>
        </p:nvSpPr>
        <p:spPr>
          <a:xfrm>
            <a:off x="-857644" y="2689922"/>
            <a:ext cx="4723935" cy="46783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472E42A6-4578-4227-B430-88B39E80CE3C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0CB4BE12-AAD7-41B1-AAE2-2619652C95D6}"/>
              </a:ext>
            </a:extLst>
          </p:cNvPr>
          <p:cNvSpPr>
            <a:spLocks noChangeAspect="1"/>
          </p:cNvSpPr>
          <p:nvPr userDrawn="1"/>
        </p:nvSpPr>
        <p:spPr>
          <a:xfrm>
            <a:off x="-933329" y="2648263"/>
            <a:ext cx="4825508" cy="4778978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26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8DA116DA-B566-414C-8559-712F154835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727403" y="2841752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894322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3712E44-D7EE-4CC0-AC22-36330532A9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8BB3806-A712-4AF9-A724-F6B430C65A82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947285-E7DB-4D8C-8BBB-918B36125350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00AEE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5C055-21A1-4202-86ED-F3FF73DA712A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18" name="Picture Placeholder 139">
            <a:extLst>
              <a:ext uri="{FF2B5EF4-FFF2-40B4-BE49-F238E27FC236}">
                <a16:creationId xmlns:a16="http://schemas.microsoft.com/office/drawing/2014/main" id="{220B9079-263A-4D12-B084-FA6EE37C32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45765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764868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3712E44-D7EE-4CC0-AC22-36330532A9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8BB3806-A712-4AF9-A724-F6B430C65A82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947285-E7DB-4D8C-8BBB-918B36125350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00AEE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5C055-21A1-4202-86ED-F3FF73DA712A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18" name="Picture Placeholder 144">
            <a:extLst>
              <a:ext uri="{FF2B5EF4-FFF2-40B4-BE49-F238E27FC236}">
                <a16:creationId xmlns:a16="http://schemas.microsoft.com/office/drawing/2014/main" id="{5524053A-1D58-42F3-AD3D-D75746CA31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90"/>
          <a:stretch/>
        </p:blipFill>
        <p:spPr>
          <a:xfrm>
            <a:off x="-732624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37785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ACB5B2EF-1D68-4E05-AE2F-47E0F8E46856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FE8B15A-C777-4D84-BBF1-64E186AAB83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BF3B4B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20" name="Picture Placeholder 375">
            <a:extLst>
              <a:ext uri="{FF2B5EF4-FFF2-40B4-BE49-F238E27FC236}">
                <a16:creationId xmlns:a16="http://schemas.microsoft.com/office/drawing/2014/main" id="{296D614F-AECD-4FAA-B7C6-98D384427F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33804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032427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A3E08D-55F6-417B-BF67-99B2DE7696C5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4F53AA36-CC97-4A8B-ACD8-80265041AA77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A492BF7C-70D6-4DC1-9995-A43B597C35CE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D6AE92-C0F6-443F-8FD2-8E18D00F53D0}"/>
              </a:ext>
            </a:extLst>
          </p:cNvPr>
          <p:cNvSpPr>
            <a:spLocks noChangeAspect="1"/>
          </p:cNvSpPr>
          <p:nvPr userDrawn="1"/>
        </p:nvSpPr>
        <p:spPr>
          <a:xfrm>
            <a:off x="-857644" y="2689922"/>
            <a:ext cx="4723935" cy="46783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472E42A6-4578-4227-B430-88B39E80CE3C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0CB4BE12-AAD7-41B1-AAE2-2619652C95D6}"/>
              </a:ext>
            </a:extLst>
          </p:cNvPr>
          <p:cNvSpPr>
            <a:spLocks noChangeAspect="1"/>
          </p:cNvSpPr>
          <p:nvPr userDrawn="1"/>
        </p:nvSpPr>
        <p:spPr>
          <a:xfrm>
            <a:off x="-933329" y="2648263"/>
            <a:ext cx="4825508" cy="4778978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384">
            <a:extLst>
              <a:ext uri="{FF2B5EF4-FFF2-40B4-BE49-F238E27FC236}">
                <a16:creationId xmlns:a16="http://schemas.microsoft.com/office/drawing/2014/main" id="{CCF43AA6-94EE-4D62-B821-C59B9E4DB0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"/>
          <a:stretch/>
        </p:blipFill>
        <p:spPr>
          <a:xfrm>
            <a:off x="-692847" y="2841752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966919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3712E44-D7EE-4CC0-AC22-36330532A9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8BB3806-A712-4AF9-A724-F6B430C65A82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947285-E7DB-4D8C-8BBB-918B36125350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00AEE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5C055-21A1-4202-86ED-F3FF73DA712A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20" name="Picture Placeholder 389">
            <a:extLst>
              <a:ext uri="{FF2B5EF4-FFF2-40B4-BE49-F238E27FC236}">
                <a16:creationId xmlns:a16="http://schemas.microsoft.com/office/drawing/2014/main" id="{A2B1F869-CDAD-44BF-B3F7-41EE5175A9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751170" y="2856579"/>
            <a:ext cx="440877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978529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ACB5B2EF-1D68-4E05-AE2F-47E0F8E46856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FE8B15A-C777-4D84-BBF1-64E186AAB83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BF3B4B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16" name="Picture Placeholder 370">
            <a:extLst>
              <a:ext uri="{FF2B5EF4-FFF2-40B4-BE49-F238E27FC236}">
                <a16:creationId xmlns:a16="http://schemas.microsoft.com/office/drawing/2014/main" id="{F74DDE9A-1E7B-43AB-8753-54052BE9AE5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733804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989940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ACB5B2EF-1D68-4E05-AE2F-47E0F8E46856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FE8B15A-C777-4D84-BBF1-64E186AAB83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BF3B4B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21" name="Picture Placeholder 178" descr="A person standing in front of a wall with graffiti&#10;&#10;Description automatically generated with medium confidence">
            <a:extLst>
              <a:ext uri="{FF2B5EF4-FFF2-40B4-BE49-F238E27FC236}">
                <a16:creationId xmlns:a16="http://schemas.microsoft.com/office/drawing/2014/main" id="{55E774AE-30C6-45DB-9253-374606B84D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44789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041211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 PAGE_IMAG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FA3418-0396-490C-A419-013921E19A88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2" name="Picture 31" descr="Shape, circle&#10;&#10;Description automatically generated">
            <a:extLst>
              <a:ext uri="{FF2B5EF4-FFF2-40B4-BE49-F238E27FC236}">
                <a16:creationId xmlns:a16="http://schemas.microsoft.com/office/drawing/2014/main" id="{1E14698F-2DFE-4ABC-8776-F961CD13B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6541791" y="0"/>
            <a:ext cx="5632889" cy="558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378D8CD-C3E3-4637-8184-7FC938EE9C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4851" y="2608058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1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5B6B688A-4321-4967-ADCE-3DD62CCF28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4851" y="3559838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2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0A46619-F1F2-43A8-85D6-A1D7F402C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4850" y="4505929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3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A04A0385-DE7C-4017-A042-7DF11670E5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4849" y="5456732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4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D590678-8D03-4720-9986-71EBEAE6C458}"/>
              </a:ext>
            </a:extLst>
          </p:cNvPr>
          <p:cNvSpPr txBox="1"/>
          <p:nvPr userDrawn="1"/>
        </p:nvSpPr>
        <p:spPr>
          <a:xfrm>
            <a:off x="179783" y="192389"/>
            <a:ext cx="45560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EARNING OBJECTIVES</a:t>
            </a:r>
            <a:endParaRPr lang="nl-NL" sz="1200" b="1">
              <a:solidFill>
                <a:srgbClr val="00AEEF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F9277E1-AD60-4D2D-BE69-54968C565961}"/>
              </a:ext>
            </a:extLst>
          </p:cNvPr>
          <p:cNvSpPr txBox="1"/>
          <p:nvPr userDrawn="1"/>
        </p:nvSpPr>
        <p:spPr>
          <a:xfrm>
            <a:off x="494849" y="2005772"/>
            <a:ext cx="71721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800" b="1">
                <a:latin typeface="Ink Free" panose="03080402000500000000" pitchFamily="66" charset="0"/>
              </a:rPr>
              <a:t>By the end of this module you will be able to: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3ADD9C8-F505-F387-6A83-94A7167636BD}"/>
              </a:ext>
            </a:extLst>
          </p:cNvPr>
          <p:cNvSpPr>
            <a:spLocks noChangeAspect="1"/>
          </p:cNvSpPr>
          <p:nvPr userDrawn="1"/>
        </p:nvSpPr>
        <p:spPr>
          <a:xfrm>
            <a:off x="8515354" y="-476505"/>
            <a:ext cx="4200005" cy="41595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Circle: Hollow 2">
            <a:extLst>
              <a:ext uri="{FF2B5EF4-FFF2-40B4-BE49-F238E27FC236}">
                <a16:creationId xmlns:a16="http://schemas.microsoft.com/office/drawing/2014/main" id="{38335404-23E4-214B-40CF-0D5E34B8C826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3331DB0F-033C-00F0-0DEA-20406F0797B9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7" name="Picture Placeholder 15" descr="Diagram, venn diagram&#10;&#10;Description automatically generated">
            <a:extLst>
              <a:ext uri="{FF2B5EF4-FFF2-40B4-BE49-F238E27FC236}">
                <a16:creationId xmlns:a16="http://schemas.microsoft.com/office/drawing/2014/main" id="{5E5FB6B2-7168-B6E6-8058-DC88D4C247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414" t="13326" r="11338" b="12427"/>
          <a:stretch/>
        </p:blipFill>
        <p:spPr>
          <a:xfrm>
            <a:off x="8692877" y="-308696"/>
            <a:ext cx="3892823" cy="3892823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45298486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A3E08D-55F6-417B-BF67-99B2DE7696C5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4F53AA36-CC97-4A8B-ACD8-80265041AA77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A492BF7C-70D6-4DC1-9995-A43B597C35CE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D6AE92-C0F6-443F-8FD2-8E18D00F53D0}"/>
              </a:ext>
            </a:extLst>
          </p:cNvPr>
          <p:cNvSpPr>
            <a:spLocks noChangeAspect="1"/>
          </p:cNvSpPr>
          <p:nvPr userDrawn="1"/>
        </p:nvSpPr>
        <p:spPr>
          <a:xfrm>
            <a:off x="-857644" y="2689922"/>
            <a:ext cx="4723935" cy="46783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472E42A6-4578-4227-B430-88B39E80CE3C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0CB4BE12-AAD7-41B1-AAE2-2619652C95D6}"/>
              </a:ext>
            </a:extLst>
          </p:cNvPr>
          <p:cNvSpPr>
            <a:spLocks noChangeAspect="1"/>
          </p:cNvSpPr>
          <p:nvPr userDrawn="1"/>
        </p:nvSpPr>
        <p:spPr>
          <a:xfrm>
            <a:off x="-933329" y="2648263"/>
            <a:ext cx="4825508" cy="4778978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54">
            <a:extLst>
              <a:ext uri="{FF2B5EF4-FFF2-40B4-BE49-F238E27FC236}">
                <a16:creationId xmlns:a16="http://schemas.microsoft.com/office/drawing/2014/main" id="{A017D99F-B36D-43F9-8829-A405312A393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715241" y="2845814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715917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3712E44-D7EE-4CC0-AC22-36330532A9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8BB3806-A712-4AF9-A724-F6B430C65A82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947285-E7DB-4D8C-8BBB-918B36125350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00AEE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5C055-21A1-4202-86ED-F3FF73DA712A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18" name="Picture Placeholder 159">
            <a:extLst>
              <a:ext uri="{FF2B5EF4-FFF2-40B4-BE49-F238E27FC236}">
                <a16:creationId xmlns:a16="http://schemas.microsoft.com/office/drawing/2014/main" id="{97A1E362-812A-410C-89AF-98619B1054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1"/>
          <a:stretch/>
        </p:blipFill>
        <p:spPr>
          <a:xfrm>
            <a:off x="-733065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964733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8B55AA09-3DEA-44C7-880C-2C77E013244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741773FA-B12B-47D6-B17D-358915726A5A}"/>
              </a:ext>
            </a:extLst>
          </p:cNvPr>
          <p:cNvSpPr>
            <a:spLocks noChangeAspect="1"/>
          </p:cNvSpPr>
          <p:nvPr userDrawn="1"/>
        </p:nvSpPr>
        <p:spPr>
          <a:xfrm>
            <a:off x="9524786" y="-493399"/>
            <a:ext cx="3243883" cy="321260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7FBD373-A20F-42B2-B1FE-498185EE3FA4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chemeClr val="tx1">
              <a:lumMod val="50000"/>
              <a:lumOff val="50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6CB8B61-51C7-4238-9D34-DE214F84F36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747160" y="2858080"/>
            <a:ext cx="4392000" cy="4392000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chemeClr val="tx1">
              <a:lumMod val="50000"/>
              <a:lumOff val="50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62614D5-3C75-4361-A719-BE1FAD76AA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</p:spTree>
    <p:extLst>
      <p:ext uri="{BB962C8B-B14F-4D97-AF65-F5344CB8AC3E}">
        <p14:creationId xmlns:p14="http://schemas.microsoft.com/office/powerpoint/2010/main" val="294561802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Y QUESTIONS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-17319" y="2716951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5C9CD84-B7FC-41A4-A340-898AE0C16ED6}"/>
              </a:ext>
            </a:extLst>
          </p:cNvPr>
          <p:cNvSpPr>
            <a:spLocks noChangeAspect="1"/>
          </p:cNvSpPr>
          <p:nvPr userDrawn="1"/>
        </p:nvSpPr>
        <p:spPr>
          <a:xfrm>
            <a:off x="8528055" y="-451105"/>
            <a:ext cx="4171946" cy="41317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2E82F2B6-D24A-416E-A187-4E49DE485402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C4CCA36C-426E-4A63-9A07-DEB4BFCB3FAF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814E762-90C9-4902-873D-9C5CE876CFCF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2" cstate="email">
            <a:grayscl/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0055" r="4759" b="1746"/>
          <a:stretch/>
        </p:blipFill>
        <p:spPr>
          <a:xfrm>
            <a:off x="8671663" y="-308847"/>
            <a:ext cx="3867243" cy="3867243"/>
          </a:xfrm>
          <a:prstGeom prst="ellipse">
            <a:avLst/>
          </a:prstGeom>
          <a:ln w="190500" cap="rnd">
            <a:noFill/>
            <a:prstDash val="solid"/>
          </a:ln>
          <a:effectLst/>
          <a:scene3d>
            <a:camera prst="orthographicFront"/>
            <a:lightRig rig="threePt" dir="t">
              <a:rot lat="0" lon="0" rev="19200000"/>
            </a:lightRig>
          </a:scene3d>
          <a:sp3d extrusionH="25400">
            <a:extrusionClr>
              <a:srgbClr val="000000"/>
            </a:extrusionClr>
          </a:sp3d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60703F2-1E52-4173-B4A7-4503D6E817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7859AF2-3AEB-4D97-AD0A-06675ED678AD}"/>
              </a:ext>
            </a:extLst>
          </p:cNvPr>
          <p:cNvSpPr txBox="1"/>
          <p:nvPr userDrawn="1"/>
        </p:nvSpPr>
        <p:spPr>
          <a:xfrm>
            <a:off x="203199" y="175273"/>
            <a:ext cx="63946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3200" b="1" kern="120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NY QUESTIONS AT THIS STAGE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5CD1B9A-57A9-48A3-9DCB-AA10FF62AC80}"/>
              </a:ext>
            </a:extLst>
          </p:cNvPr>
          <p:cNvSpPr txBox="1"/>
          <p:nvPr userDrawn="1"/>
        </p:nvSpPr>
        <p:spPr>
          <a:xfrm rot="21273716">
            <a:off x="6239566" y="-302106"/>
            <a:ext cx="620931" cy="8956298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576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01258944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VERSATION DISCUSSION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-17319" y="2716951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60703F2-1E52-4173-B4A7-4503D6E817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4731980-C8B3-4B1D-9C60-501336A6F028}"/>
              </a:ext>
            </a:extLst>
          </p:cNvPr>
          <p:cNvSpPr txBox="1"/>
          <p:nvPr userDrawn="1"/>
        </p:nvSpPr>
        <p:spPr>
          <a:xfrm rot="21273716">
            <a:off x="5491102" y="-655948"/>
            <a:ext cx="1209797" cy="994118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620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5327D5A-ACD5-D916-B642-CF1FD3A4A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783" y="0"/>
            <a:ext cx="10515600" cy="96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0ECF9D-499D-FCC9-BCFC-224B7372753B}"/>
              </a:ext>
            </a:extLst>
          </p:cNvPr>
          <p:cNvSpPr txBox="1"/>
          <p:nvPr userDrawn="1"/>
        </p:nvSpPr>
        <p:spPr>
          <a:xfrm rot="2199743">
            <a:off x="8170748" y="-1541592"/>
            <a:ext cx="969427" cy="994118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64000" b="1">
                <a:solidFill>
                  <a:srgbClr val="C00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58599631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CONTENT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-17319" y="2716951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79783" y="0"/>
            <a:ext cx="10515600" cy="96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5C9CD84-B7FC-41A4-A340-898AE0C16ED6}"/>
              </a:ext>
            </a:extLst>
          </p:cNvPr>
          <p:cNvSpPr>
            <a:spLocks noChangeAspect="1"/>
          </p:cNvSpPr>
          <p:nvPr userDrawn="1"/>
        </p:nvSpPr>
        <p:spPr>
          <a:xfrm>
            <a:off x="8528055" y="-451105"/>
            <a:ext cx="4171946" cy="41317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2E82F2B6-D24A-416E-A187-4E49DE485402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C4CCA36C-426E-4A63-9A07-DEB4BFCB3FAF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814E762-90C9-4902-873D-9C5CE876CFCF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2" cstate="email">
            <a:grayscl/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0055" r="4759" b="1746"/>
          <a:stretch/>
        </p:blipFill>
        <p:spPr>
          <a:xfrm>
            <a:off x="8671663" y="-308847"/>
            <a:ext cx="3867243" cy="3867243"/>
          </a:xfrm>
          <a:prstGeom prst="ellipse">
            <a:avLst/>
          </a:prstGeom>
          <a:ln w="190500" cap="rnd">
            <a:noFill/>
            <a:prstDash val="solid"/>
          </a:ln>
          <a:effectLst/>
          <a:scene3d>
            <a:camera prst="orthographicFront"/>
            <a:lightRig rig="threePt" dir="t">
              <a:rot lat="0" lon="0" rev="19200000"/>
            </a:lightRig>
          </a:scene3d>
          <a:sp3d extrusionH="25400">
            <a:extrusionClr>
              <a:srgbClr val="000000"/>
            </a:extrusionClr>
          </a:sp3d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60703F2-1E52-4173-B4A7-4503D6E817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63306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CONTENT PAGE_NO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-17319" y="2716951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79783" y="0"/>
            <a:ext cx="10515600" cy="96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60703F2-1E52-4173-B4A7-4503D6E817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50000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15635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CONTENT PAGE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-17319" y="2716951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79783" y="0"/>
            <a:ext cx="10515600" cy="96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5C9CD84-B7FC-41A4-A340-898AE0C16ED6}"/>
              </a:ext>
            </a:extLst>
          </p:cNvPr>
          <p:cNvSpPr>
            <a:spLocks noChangeAspect="1"/>
          </p:cNvSpPr>
          <p:nvPr userDrawn="1"/>
        </p:nvSpPr>
        <p:spPr>
          <a:xfrm>
            <a:off x="8528055" y="-451105"/>
            <a:ext cx="4171946" cy="41317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2E82F2B6-D24A-416E-A187-4E49DE485402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C4CCA36C-426E-4A63-9A07-DEB4BFCB3FAF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2B1BD734-7379-4346-88DF-5BB68C76BF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50000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642B860-38E4-4810-9833-902063C0812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8654777" y="-346796"/>
            <a:ext cx="3892823" cy="3892823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9563265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F 1">
    <p:bg>
      <p:bgPr>
        <a:gradFill>
          <a:gsLst>
            <a:gs pos="24000">
              <a:schemeClr val="bg1">
                <a:alpha val="0"/>
              </a:schemeClr>
            </a:gs>
            <a:gs pos="100000">
              <a:srgbClr val="D2EEF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6">
            <a:extLst>
              <a:ext uri="{FF2B5EF4-FFF2-40B4-BE49-F238E27FC236}">
                <a16:creationId xmlns:a16="http://schemas.microsoft.com/office/drawing/2014/main" id="{35B8C781-36CE-4DB0-85EE-7F1A5BE160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0024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7CA32A7-65CC-446F-90F1-D5810D05E72C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00EEB8-1F3F-425B-B2F9-94EF253497D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72DBACD-3B29-48FA-BB57-3FF5E11F436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42F7FF86-A528-48C8-BC4F-B0280FC875B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Circle: Hollow 13">
              <a:extLst>
                <a:ext uri="{FF2B5EF4-FFF2-40B4-BE49-F238E27FC236}">
                  <a16:creationId xmlns:a16="http://schemas.microsoft.com/office/drawing/2014/main" id="{0C2E630D-7A77-4391-B763-5D99596A8C9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423A166-77F7-4255-A461-D201E6B7B58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Circle: Hollow 15">
              <a:extLst>
                <a:ext uri="{FF2B5EF4-FFF2-40B4-BE49-F238E27FC236}">
                  <a16:creationId xmlns:a16="http://schemas.microsoft.com/office/drawing/2014/main" id="{F8636B5B-FD40-416C-9A18-B98DE23DDF2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92253AD-A08C-41C2-9746-338111993F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92EDAC14-0032-42B6-9F9E-2D85DB6FD7E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0755191-1DA0-4CF8-8448-69DFB6F1FBC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66018A7-08D0-4D97-BCBA-4C0972B5B7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Circle: Hollow 25">
              <a:extLst>
                <a:ext uri="{FF2B5EF4-FFF2-40B4-BE49-F238E27FC236}">
                  <a16:creationId xmlns:a16="http://schemas.microsoft.com/office/drawing/2014/main" id="{83084BA5-1453-4D45-A000-E26D51CE3CC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CE56E73-296E-4DBE-AD69-4B90D1CCC28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01B19C2-782C-4EF5-84D9-103CC7278F4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27EE673-D7AF-4F70-906F-A89A0EDC5AB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B7E533D-FED4-4225-8963-76EA05B3AA9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1" name="Circle: Hollow 30">
              <a:extLst>
                <a:ext uri="{FF2B5EF4-FFF2-40B4-BE49-F238E27FC236}">
                  <a16:creationId xmlns:a16="http://schemas.microsoft.com/office/drawing/2014/main" id="{94D2EAF9-A3FD-4FEB-AD3F-4AB612C3C37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36D907B9-39BB-48B0-ADA1-4C55F461715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AB1E9B4-C5BC-4D6F-ACF5-55AA3484C9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4F129F0-D9F9-4423-A68E-2F371CC3EB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106732A-72C0-48C5-885E-C6E033A322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EA4A954-AF44-4848-A34A-5FAB301571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7FC9AF0-3EB1-4D9F-9E4C-443485F5D1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E813DEC-9315-478B-8736-0820166CB6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5432A525-008F-4029-95CF-E3F69EC14C3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06F333CF-707E-40A3-BAB3-048F27BF12B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43D06FE-84E3-4BB8-A47C-3B02F62A8AC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B0864EB8-0D02-41B2-9DAD-7968B0E90EE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C785A0AB-A18E-456A-93B4-E082724BEB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A5CB91CE-80F1-439E-B2EB-7DADF2FBC0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680E319-7F05-4888-9FB4-296DCE9C9E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97A3479-E806-4FDD-AC6F-D0BBEF1F11A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186DE44C-BCD9-4CCB-958E-A8D58488F8E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89D49990-909D-42C1-864E-0B4B7C950B8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FB656CE1-1C45-494C-83F3-0DE85AD10B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4AC3108F-EE7B-4D7A-AAD2-58A943325D4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0577402-C60D-47B9-A9A4-29FEF86FDBAE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E7498CB7-5019-4F21-941D-10DE5C7D7E2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867DB938-6E06-473B-9406-513B39E4DBCE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9691D319-AAAF-4E10-AAAB-B222F822EFA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791E099E-7728-4C1F-A1AC-9CF45102A05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62FE81AA-1DDF-44B8-9E3E-B2BD2B5F351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Circle: Hollow 56">
              <a:extLst>
                <a:ext uri="{FF2B5EF4-FFF2-40B4-BE49-F238E27FC236}">
                  <a16:creationId xmlns:a16="http://schemas.microsoft.com/office/drawing/2014/main" id="{FE697FDC-9678-4E01-9132-96BBFBA7E2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8" name="Circle: Hollow 57">
              <a:extLst>
                <a:ext uri="{FF2B5EF4-FFF2-40B4-BE49-F238E27FC236}">
                  <a16:creationId xmlns:a16="http://schemas.microsoft.com/office/drawing/2014/main" id="{C1BCC805-69D9-406E-A4EF-2AB88B7AD5D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AC6EF58-E0B6-98C2-2DE2-7785A3A40306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53F0F95-5043-7E15-8F52-4AAA88A94178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86A0F56-76DD-3925-258E-677FFD5833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C8E1002-BB54-770E-1276-F988CBEBE766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E0AFE34-A6F5-4A57-5835-FB18CC677224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208838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F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2">
            <a:extLst>
              <a:ext uri="{FF2B5EF4-FFF2-40B4-BE49-F238E27FC236}">
                <a16:creationId xmlns:a16="http://schemas.microsoft.com/office/drawing/2014/main" id="{4B875472-0CD0-4D97-A4E1-91E9A8328F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4668" y="0"/>
            <a:ext cx="788103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>
            <a:extLst>
              <a:ext uri="{FF2B5EF4-FFF2-40B4-BE49-F238E27FC236}">
                <a16:creationId xmlns:a16="http://schemas.microsoft.com/office/drawing/2014/main" id="{232F2D46-4570-4AEC-9ED6-5E35E3BAB85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140" b="99482" l="55885" r="99477">
                        <a14:foregroundMark x1="89974" y1="2073" x2="91718" y2="27047"/>
                        <a14:foregroundMark x1="97384" y1="6943" x2="98131" y2="35469"/>
                        <a14:foregroundMark x1="98954" y1="64870" x2="90759" y2="99689"/>
                        <a14:foregroundMark x1="65475" y1="62280" x2="71752" y2="98342"/>
                        <a14:foregroundMark x1="99477" y1="98342" x2="92589" y2="98964"/>
                        <a14:foregroundMark x1="92589" y1="98964" x2="73147" y2="97409"/>
                        <a14:foregroundMark x1="73147" y1="97409" x2="62772" y2="97409"/>
                        <a14:foregroundMark x1="62772" y1="97409" x2="62249" y2="97824"/>
                        <a14:foregroundMark x1="93287" y1="76580" x2="81779" y2="89741"/>
                        <a14:foregroundMark x1="81779" y1="89741" x2="81430" y2="90052"/>
                        <a14:foregroundMark x1="65126" y1="65389" x2="57018" y2="83938"/>
                        <a14:foregroundMark x1="57018" y1="83938" x2="55972" y2="91399"/>
                        <a14:foregroundMark x1="55972" y1="91399" x2="56234" y2="93782"/>
                        <a14:foregroundMark x1="92851" y1="37409" x2="77855" y2="39275"/>
                        <a14:foregroundMark x1="85615" y1="48601" x2="84743" y2="53161"/>
                        <a14:foregroundMark x1="94159" y1="3212" x2="65737" y2="25596"/>
                        <a14:foregroundMark x1="85615" y1="1140" x2="67568" y2="16166"/>
                        <a14:foregroundMark x1="74106" y1="4456" x2="69137" y2="13368"/>
                        <a14:foregroundMark x1="70793" y1="7668" x2="66434" y2="18342"/>
                        <a14:foregroundMark x1="98169" y1="41347" x2="97472" y2="43212"/>
                        <a14:backgroundMark x1="99420" y1="42340" x2="99477" y2="45699"/>
                        <a14:backgroundMark x1="99303" y1="35440" x2="99414" y2="41966"/>
                        <a14:backgroundMark x1="99477" y1="45699" x2="95728" y2="60000"/>
                        <a14:backgroundMark x1="71578" y1="44870" x2="70445" y2="61658"/>
                        <a14:backgroundMark x1="70445" y1="61658" x2="71055" y2="63005"/>
                        <a14:backgroundMark x1="63644" y1="59482" x2="57890" y2="64663"/>
                        <a14:backgroundMark x1="53531" y1="92642" x2="53705" y2="97306"/>
                        <a14:backgroundMark x1="91020" y1="415" x2="86574" y2="829"/>
                        <a14:backgroundMark x1="83958" y1="0" x2="83173" y2="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1893"/>
          <a:stretch/>
        </p:blipFill>
        <p:spPr bwMode="auto">
          <a:xfrm flipH="1">
            <a:off x="-6030" y="-16126"/>
            <a:ext cx="379131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1C47F234-0A60-4960-850E-D7781A59071D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9517E1E-13C9-41DE-B8B6-85208D9852AE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7EDEBF5-B318-4F20-98E0-A5EEDF1165F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99ED2D3C-D048-4639-AECA-73D9C3948E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8EB2903-AA1F-42AD-B0A9-D6274F815D1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4199C2E-807F-43A8-A499-EBE88A24A0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6398FC5B-6E56-4C97-AEC8-01592F57DB5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685FE09-4D20-4C04-B53A-DA88BFC9EB4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D589A8C9-F558-45E8-AC82-B54687BE66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C883584-BFCD-40AD-8EFA-D2A8A62C7B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C6F2F031-BA0D-460B-A758-60915EAEC07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65FF7D9-FD14-4844-B7A8-AF564567DB9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DDB206D4-1889-484D-807B-796F58382B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B0EDFE87-AF38-4993-8346-49BF237346C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C00934C-7580-4B89-86A6-EE5836A863F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62A043CB-D9FE-47AB-93F7-CCB2A0B731A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FB56B01D-4300-4DEA-8ED7-63CE4DDFB2B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0009705-0F62-42E0-8505-1AEE053BE78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664632D-B114-4CE7-8938-54B4D2F6A5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5C86EC49-10A3-4174-BD7B-1B420B1A9A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53E8A9B-81B2-4BEE-879A-C296B59A326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09970AF-51F0-43A9-B6C7-5AE8834895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A1D494F-33C3-485D-A5FE-80939935685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71143BF-A24E-4ED5-9D8D-599F220F14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F6484BD-887D-4FF0-9DD5-0A01BF62A75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06482A0-147A-4950-8C53-BAC1E52172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2749C75-A67C-4720-AB92-DC49143EEC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7919612C-6DBE-4CE3-B77B-2B7B319851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708FE6B-B0C6-4AD7-9444-2BD3F93A361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BCFC0A7-853C-495B-9D68-EA009544765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A257126C-3FEB-4719-A85E-BB9B6E08B7B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A26391D-B704-4736-9086-3AFB6EE2C8D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3D732B-79E6-4292-8812-4FF89620B7E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0C8A1EE-A5AC-437F-A736-A9BC03F6457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550BEEA3-3B8A-4ECA-935D-32D25E87EFB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8DACAAD8-2D35-4D45-B1C2-345DFD060D9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C01AD63C-45AD-4EC1-9665-AB4855AFDC1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5729DBDB-C379-4BA1-AE43-B2A644932BA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7C087-52BC-4EFC-BD09-20152F47ED9E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0107CC9-94EB-4B97-B1C6-E75EDABBE6C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6B275410-3950-451A-8F58-0AD448F97BA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9DE0AEFE-063C-43D2-BC75-96E8F09953DB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3F872ED9-D0B8-4E00-A97F-2945B3CDC4B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8B0131FC-FE78-4B3B-8273-515AC1331A4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DFD624A-9C50-239E-C273-9C5585DE0231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035C2A9-E0F4-3FAA-01E6-CB8DB7126CE4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87080A8-F1FD-BF82-2AEC-79D6D48719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B43514C-C56E-2BAC-1F73-915EFFDC1197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2B74FA2-3C93-FCBB-B1EE-FA70FE16AF76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73135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 PAGE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FAD29E6-DFE9-4673-920C-6E26545088E6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50D9795-89E4-442A-AB07-DB9973DB0C26}"/>
              </a:ext>
            </a:extLst>
          </p:cNvPr>
          <p:cNvSpPr txBox="1"/>
          <p:nvPr userDrawn="1"/>
        </p:nvSpPr>
        <p:spPr>
          <a:xfrm>
            <a:off x="179783" y="192389"/>
            <a:ext cx="45560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EARNING OBJECTIVES</a:t>
            </a:r>
            <a:endParaRPr lang="nl-NL" sz="1200" b="1">
              <a:solidFill>
                <a:srgbClr val="00AEEF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43B43F8-9408-4DE6-ADB1-0F55458A9A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171" y="202752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1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4772D6F-1FC4-4476-A44A-08C36474BF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171" y="297930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2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512809E2-9DA5-447E-955E-34FB70D95F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170" y="3925397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3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7A3AD81-254E-4701-8E10-052F58E25B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169" y="4876200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0FA61AE-BB1F-440B-B9B9-EEF289294A6B}"/>
              </a:ext>
            </a:extLst>
          </p:cNvPr>
          <p:cNvSpPr txBox="1"/>
          <p:nvPr userDrawn="1"/>
        </p:nvSpPr>
        <p:spPr>
          <a:xfrm>
            <a:off x="512169" y="1425240"/>
            <a:ext cx="71721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800" b="1">
                <a:latin typeface="Ink Free" panose="03080402000500000000" pitchFamily="66" charset="0"/>
              </a:rPr>
              <a:t>By the end of this module you will be able to:</a:t>
            </a:r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2B1BD734-7379-4346-88DF-5BB68C76BF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6541791" y="0"/>
            <a:ext cx="5632889" cy="558800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11CD8C8C-63CF-4943-89D3-B5BCA0F16C98}"/>
              </a:ext>
            </a:extLst>
          </p:cNvPr>
          <p:cNvSpPr>
            <a:spLocks noChangeAspect="1"/>
          </p:cNvSpPr>
          <p:nvPr userDrawn="1"/>
        </p:nvSpPr>
        <p:spPr>
          <a:xfrm>
            <a:off x="8515354" y="-476505"/>
            <a:ext cx="4200005" cy="41595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Circle: Hollow 5">
            <a:extLst>
              <a:ext uri="{FF2B5EF4-FFF2-40B4-BE49-F238E27FC236}">
                <a16:creationId xmlns:a16="http://schemas.microsoft.com/office/drawing/2014/main" id="{77FBCCC6-2047-406D-B33D-317698474BB6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12D982B6-0289-439C-A43F-7FF6B3744AD9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FEB8FEBE-B61F-4667-AB15-3E01E9EFF369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8654777" y="-346796"/>
            <a:ext cx="3892823" cy="3892823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5558993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F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4">
            <a:extLst>
              <a:ext uri="{FF2B5EF4-FFF2-40B4-BE49-F238E27FC236}">
                <a16:creationId xmlns:a16="http://schemas.microsoft.com/office/drawing/2014/main" id="{42CD170D-E2D3-4EAE-96C3-BEDCB4AAD04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-868" y="0"/>
            <a:ext cx="813763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>
            <a:extLst>
              <a:ext uri="{FF2B5EF4-FFF2-40B4-BE49-F238E27FC236}">
                <a16:creationId xmlns:a16="http://schemas.microsoft.com/office/drawing/2014/main" id="{3DEB0242-D4DB-4D9A-B54E-93F2FAB9C25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90" b="99792" l="32727" r="70579">
                        <a14:foregroundMark x1="55455" y1="50780" x2="50661" y2="51821"/>
                        <a14:foregroundMark x1="67360" y1="47043" x2="67646" y2="54115"/>
                        <a14:foregroundMark x1="66281" y1="20291" x2="67356" y2="46928"/>
                        <a14:foregroundMark x1="68043" y1="65556" x2="66116" y2="72633"/>
                        <a14:foregroundMark x1="66116" y1="72633" x2="63554" y2="71072"/>
                        <a14:foregroundMark x1="59091" y1="59729" x2="50909" y2="99792"/>
                        <a14:foregroundMark x1="64463" y1="19459" x2="60496" y2="29553"/>
                        <a14:foregroundMark x1="66446" y1="20499" x2="70165" y2="26015"/>
                        <a14:foregroundMark x1="70165" y1="26015" x2="70430" y2="29683"/>
                        <a14:foregroundMark x1="64215" y1="19979" x2="52810" y2="23413"/>
                        <a14:foregroundMark x1="60331" y1="18835" x2="50992" y2="24246"/>
                        <a14:foregroundMark x1="59008" y1="19043" x2="52397" y2="23205"/>
                        <a14:foregroundMark x1="52397" y1="23205" x2="51736" y2="24142"/>
                        <a14:foregroundMark x1="43554" y1="68574" x2="36033" y2="94381"/>
                        <a14:foregroundMark x1="36033" y1="94381" x2="32727" y2="98855"/>
                        <a14:foregroundMark x1="38017" y1="69823" x2="33802" y2="92612"/>
                        <a14:foregroundMark x1="46694" y1="70968" x2="43140" y2="77419"/>
                        <a14:foregroundMark x1="64711" y1="51405" x2="65289" y2="59105"/>
                        <a14:foregroundMark x1="65537" y1="67430" x2="58264" y2="99584"/>
                        <a14:foregroundMark x1="70579" y1="26223" x2="67603" y2="21956"/>
                        <a14:foregroundMark x1="70248" y1="25702" x2="67603" y2="21748"/>
                        <a14:foregroundMark x1="51322" y1="24454" x2="47686" y2="30385"/>
                        <a14:foregroundMark x1="47686" y1="30385" x2="47686" y2="30385"/>
                        <a14:foregroundMark x1="50992" y1="24454" x2="47934" y2="29969"/>
                        <a14:backgroundMark x1="71240" y1="29865" x2="68760" y2="47242"/>
                        <a14:backgroundMark x1="68760" y1="47242" x2="69256" y2="54943"/>
                        <a14:backgroundMark x1="69256" y1="54943" x2="68760" y2="57024"/>
                        <a14:backgroundMark x1="67851" y1="54110" x2="68017" y2="655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877" r="28609"/>
          <a:stretch/>
        </p:blipFill>
        <p:spPr bwMode="auto">
          <a:xfrm flipH="1">
            <a:off x="1850719" y="-10556"/>
            <a:ext cx="3693747" cy="6893955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1FB02DD8-058B-40C6-B85E-3CF1B28296F6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23768C3-800A-4409-8A50-B68E694CF72F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60F467B-DBA3-4A1F-8AD4-5F15E2DFB4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9BA5727F-8EA2-4B25-8A65-17396D89591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C4EFF58C-098D-4DBE-B150-A05A1498C1B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0BBBEE4-A3A2-4329-950B-E56D6573E2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359FDD4-E223-47C9-A07A-069F94AE457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C66F4E3-040F-4AC6-981D-826451AD70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975A1043-2145-48D9-B59A-70A2CA7200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837C9E58-08F8-48ED-B14C-41F09A690E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B27AEB0B-8C69-45A7-8FCC-E4436C3ACFE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FE473A9D-7737-4C3D-BF62-2CC9899935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72F77BD8-6C6D-4E33-853C-E1CC361B766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082B40D-7D10-4932-B7B3-E5F4A4DA78A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6B40ACD-DEF8-400E-AAE5-7DFB71DB12C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1975E9C-8933-4AC0-B32D-789842EF651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E1FCECF0-1B3C-4E66-9D49-E93E797165B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A4E41CA-DCCD-49B7-A252-3F77F7609F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7F863B20-88D1-4546-9708-F283FC1CB7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85FE9C95-360F-49F8-8CAB-F096E7D575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8A2A2F1-2783-441E-BF62-F28790B54C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7E1B94F-F5D8-456B-AFFC-6D6B8014E3A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91E486A-D8DB-4D08-8B6D-E5D433A9C84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9EB3962-50F1-47E2-9165-6D7EDC08335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C1028C9-8170-408E-936B-10C6B65714A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74C448A1-5EDE-49EE-BEFD-A9B9AFA8DD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530ED0F-61D5-49BC-8FBF-CBFBBE474EA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B2D74C5-FD12-4BD1-9A70-CE2E9AF5749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131AF2FB-B1A2-4EB2-B097-FEEA42B50FD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75E928A-8E92-47DA-B73D-12C8D94A21F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FDF5F2D-3989-446F-9236-DAFFCEC240A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0A654F5-A607-4D4C-BCDC-9DE8832480E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58FE8A3D-594F-4662-A898-B16D8E2185C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69244482-D526-4CF3-ADB6-BDE0A92D944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9B0CB5A7-8B3B-4448-A88B-D02B55C3E40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FB2F645-B9B9-4F9F-8819-462990AEA9F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ED603EC3-9019-4421-8CD1-23F744B100D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D0A948F2-77D6-4B6D-A6F7-A9FA7089EE6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C9E5563-46BE-4893-92CD-2C370B9856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FDC529F-B302-44D0-88B6-F81B35711EC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EF83611F-74B7-499E-BCF8-EB10A3851F6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9503EBE-2E0A-4FDA-A592-83AB7B2B191B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Circle: Hollow 53">
              <a:extLst>
                <a:ext uri="{FF2B5EF4-FFF2-40B4-BE49-F238E27FC236}">
                  <a16:creationId xmlns:a16="http://schemas.microsoft.com/office/drawing/2014/main" id="{7FE96ADE-012C-4B97-BD80-4522B43E7E7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5" name="Circle: Hollow 54">
              <a:extLst>
                <a:ext uri="{FF2B5EF4-FFF2-40B4-BE49-F238E27FC236}">
                  <a16:creationId xmlns:a16="http://schemas.microsoft.com/office/drawing/2014/main" id="{92B86EB3-2A92-4BD0-9195-8BE56F188DA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9AF3AFB-319D-A348-F72E-3CACFEA189B4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0C936D7F-0772-828F-7EFE-669607E47DC0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708304D-64CE-280E-E954-88B98DFA0BC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1D985C8-FCB3-5C0C-6FCE-43B6CAB42BC5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39FAD4B-5D72-8A50-B311-2EF1859D2B44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83833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6261AAFF-27D6-4C8A-89BA-4AAB5B14A5E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4658"/>
          <a:stretch/>
        </p:blipFill>
        <p:spPr bwMode="auto">
          <a:xfrm>
            <a:off x="0" y="0"/>
            <a:ext cx="698131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D09818E-4E55-BE6E-ABC2-88BEE9862CFD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80CA6D0-E556-7C01-2336-3742DEDD1639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B239D16-B987-0317-A7FD-7A90048084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55D3627-3279-AF71-9AEA-4BFDE45AA0F8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DB005BD-37D0-EE84-03BB-F4DE2D0F4308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659963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10">
            <a:extLst>
              <a:ext uri="{FF2B5EF4-FFF2-40B4-BE49-F238E27FC236}">
                <a16:creationId xmlns:a16="http://schemas.microsoft.com/office/drawing/2014/main" id="{E573F0F9-CA34-4471-AB56-0F3FDE313E9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4560"/>
          <a:stretch/>
        </p:blipFill>
        <p:spPr bwMode="auto">
          <a:xfrm>
            <a:off x="238" y="2606"/>
            <a:ext cx="72103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8653C90-4474-7E65-7F34-8E34454B500C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1956E47-9D64-3FDA-3B99-69F646A2173C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DB30BF6-5DE6-83E5-8B06-3511D26D22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7AC5B09-52C1-523D-2CAC-009A60CA76D6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7FF60D1-28FA-8A9D-CA15-EBC1EA02091D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041557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S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9207E32E-B2C1-401E-91ED-289434AFCAA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7947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>
            <a:extLst>
              <a:ext uri="{FF2B5EF4-FFF2-40B4-BE49-F238E27FC236}">
                <a16:creationId xmlns:a16="http://schemas.microsoft.com/office/drawing/2014/main" id="{3B0D3A44-932D-4331-9E10-E770625FF8D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589" b="99761" l="0" r="43004">
                        <a14:foregroundMark x1="10914" y1="33971" x2="93" y2="58373"/>
                        <a14:foregroundMark x1="8209" y1="4306" x2="11567" y2="22249"/>
                        <a14:foregroundMark x1="11567" y1="22249" x2="11567" y2="22249"/>
                        <a14:foregroundMark x1="9515" y1="30144" x2="840" y2="49163"/>
                        <a14:foregroundMark x1="840" y1="49163" x2="653" y2="49282"/>
                        <a14:foregroundMark x1="6716" y1="81100" x2="38340" y2="96172"/>
                        <a14:foregroundMark x1="38340" y1="96172" x2="43190" y2="96890"/>
                        <a14:foregroundMark x1="3731" y1="81220" x2="35261" y2="87679"/>
                        <a14:foregroundMark x1="35261" y1="87679" x2="40299" y2="90311"/>
                        <a14:foregroundMark x1="41698" y1="95335" x2="43097" y2="98804"/>
                        <a14:foregroundMark x1="466" y1="94498" x2="33955" y2="96890"/>
                        <a14:foregroundMark x1="6996" y1="83612" x2="24813" y2="96890"/>
                        <a14:foregroundMark x1="29757" y1="98565" x2="37780" y2="99880"/>
                        <a14:foregroundMark x1="8116" y1="30981" x2="2332" y2="36842"/>
                        <a14:foregroundMark x1="15858" y1="41388" x2="19869" y2="49761"/>
                        <a14:foregroundMark x1="7090" y1="29067" x2="2519" y2="36483"/>
                        <a14:foregroundMark x1="2519" y1="36483" x2="2425" y2="36483"/>
                        <a14:foregroundMark x1="7183" y1="4904" x2="7463" y2="12321"/>
                        <a14:foregroundMark x1="9888" y1="3589" x2="10261" y2="7656"/>
                        <a14:foregroundMark x1="21549" y1="56699" x2="21642" y2="58254"/>
                        <a14:foregroundMark x1="27791" y1="80190" x2="28731" y2="80263"/>
                        <a14:foregroundMark x1="25653" y1="80024" x2="26429" y2="80084"/>
                        <a14:foregroundMark x1="26213" y1="79187" x2="26679" y2="79187"/>
                        <a14:foregroundMark x1="41643" y1="89136" x2="42631" y2="93660"/>
                        <a14:foregroundMark x1="33165" y1="84485" x2="34795" y2="85646"/>
                        <a14:foregroundMark x1="34235" y1="84211" x2="34235" y2="84211"/>
                        <a14:foregroundMark x1="34422" y1="84330" x2="34422" y2="84330"/>
                        <a14:foregroundMark x1="34608" y1="84330" x2="34608" y2="84330"/>
                        <a14:foregroundMark x1="33606" y1="84042" x2="34235" y2="84330"/>
                        <a14:backgroundMark x1="24347" y1="61005" x2="34142" y2="77512"/>
                        <a14:backgroundMark x1="34142" y1="77512" x2="35634" y2="77033"/>
                        <a14:backgroundMark x1="24907" y1="73923" x2="32649" y2="78110"/>
                        <a14:backgroundMark x1="32649" y1="78110" x2="33022" y2="78589"/>
                        <a14:backgroundMark x1="27266" y1="78004" x2="28731" y2="78230"/>
                        <a14:backgroundMark x1="26399" y1="77871" x2="26833" y2="77938"/>
                        <a14:backgroundMark x1="36332" y1="83997" x2="36660" y2="83971"/>
                        <a14:backgroundMark x1="6437" y1="24402" x2="373" y2="30861"/>
                        <a14:backgroundMark x1="373" y1="30861" x2="2146" y2="31579"/>
                        <a14:backgroundMark x1="560" y1="35048" x2="560" y2="36244"/>
                        <a14:backgroundMark x1="1119" y1="36244" x2="746" y2="37201"/>
                        <a14:backgroundMark x1="36474" y1="77632" x2="39086" y2="83373"/>
                        <a14:backgroundMark x1="41604" y1="86005" x2="42227" y2="87364"/>
                        <a14:backgroundMark x1="42257" y1="87321" x2="42537" y2="88876"/>
                        <a14:backgroundMark x1="33396" y1="81818" x2="40299" y2="82177"/>
                        <a14:backgroundMark x1="35443" y1="83852" x2="37407" y2="83852"/>
                        <a14:backgroundMark x1="33209" y1="81699" x2="33209" y2="81699"/>
                        <a14:backgroundMark x1="32929" y1="81699" x2="32929" y2="81699"/>
                        <a14:backgroundMark x1="32649" y1="81699" x2="32649" y2="81699"/>
                        <a14:backgroundMark x1="34422" y1="83732" x2="34422" y2="83732"/>
                        <a14:backgroundMark x1="31250" y1="80383" x2="32369" y2="82177"/>
                        <a14:backgroundMark x1="31903" y1="81699" x2="33675" y2="83971"/>
                        <a14:backgroundMark x1="27612" y1="78349" x2="28638" y2="789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65" r="55360"/>
          <a:stretch/>
        </p:blipFill>
        <p:spPr bwMode="auto">
          <a:xfrm>
            <a:off x="-27525" y="175886"/>
            <a:ext cx="4020928" cy="6707992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5E231F0-FA4A-88AD-36CB-49AE6301B0B2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DD68F2B-7439-A783-26CA-50207FB0F2A7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31A7C8D-9546-382C-76A4-C2E01C840D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A95DA1D-A6A6-CFED-6C38-DD560518677C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A10E84D-D6CA-1037-5F3A-8EC5C7CD5ED5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438103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S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20ADC257-02FB-4A7B-B271-AE9B32D1B3C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681" y="0"/>
            <a:ext cx="80756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>
            <a:extLst>
              <a:ext uri="{FF2B5EF4-FFF2-40B4-BE49-F238E27FC236}">
                <a16:creationId xmlns:a16="http://schemas.microsoft.com/office/drawing/2014/main" id="{31C27CDD-E521-4D44-885E-AB87A77D426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531" b="98732" l="180" r="51706">
                        <a14:foregroundMark x1="21364" y1="13531" x2="15889" y2="37209"/>
                        <a14:foregroundMark x1="26391" y1="16490" x2="36266" y2="42495"/>
                        <a14:foregroundMark x1="36266" y1="42495" x2="36355" y2="43658"/>
                        <a14:foregroundMark x1="359" y1="29598" x2="15081" y2="30233"/>
                        <a14:foregroundMark x1="10682" y1="26321" x2="9246" y2="30550"/>
                        <a14:foregroundMark x1="21095" y1="29810" x2="24417" y2="36469"/>
                        <a14:foregroundMark x1="808" y1="65751" x2="3501" y2="98837"/>
                        <a14:foregroundMark x1="1077" y1="96617" x2="1077" y2="96617"/>
                        <a14:foregroundMark x1="19300" y1="91438" x2="41023" y2="93763"/>
                        <a14:foregroundMark x1="41023" y1="93763" x2="45781" y2="97252"/>
                        <a14:foregroundMark x1="27828" y1="97252" x2="38959" y2="97357"/>
                        <a14:foregroundMark x1="19659" y1="92600" x2="45601" y2="73467"/>
                        <a14:foregroundMark x1="45601" y1="73467" x2="50718" y2="66808"/>
                        <a14:foregroundMark x1="50718" y1="66808" x2="50987" y2="65751"/>
                        <a14:foregroundMark x1="48115" y1="73362" x2="44844" y2="82321"/>
                        <a14:foregroundMark x1="49372" y1="72622" x2="48333" y2="77592"/>
                        <a14:foregroundMark x1="49192" y1="75370" x2="49124" y2="76188"/>
                        <a14:foregroundMark x1="6732" y1="24630" x2="5386" y2="29493"/>
                        <a14:foregroundMark x1="359" y1="28330" x2="7361" y2="28858"/>
                        <a14:foregroundMark x1="31598" y1="76321" x2="36445" y2="71987"/>
                        <a14:foregroundMark x1="36445" y1="71987" x2="36445" y2="71987"/>
                        <a14:foregroundMark x1="51706" y1="65328" x2="51706" y2="65328"/>
                        <a14:foregroundMark x1="2693" y1="57082" x2="808" y2="66702"/>
                        <a14:foregroundMark x1="628" y1="57822" x2="1257" y2="64482"/>
                        <a14:foregroundMark x1="36715" y1="71036" x2="36715" y2="72727"/>
                        <a14:foregroundMark x1="29623" y1="44715" x2="29533" y2="46300"/>
                        <a14:foregroundMark x1="47038" y1="79070" x2="46409" y2="84567"/>
                        <a14:foregroundMark x1="45871" y1="84249" x2="40305" y2="86892"/>
                        <a14:foregroundMark x1="41293" y1="86469" x2="39677" y2="89218"/>
                        <a14:foregroundMark x1="48115" y1="79281" x2="48115" y2="79493"/>
                        <a14:foregroundMark x1="47127" y1="79493" x2="48115" y2="82030"/>
                        <a14:backgroundMark x1="16338" y1="69027" x2="45961" y2="57400"/>
                        <a14:backgroundMark x1="42255" y1="87987" x2="44704" y2="87421"/>
                        <a14:backgroundMark x1="16068" y1="66702" x2="34111" y2="60359"/>
                        <a14:backgroundMark x1="20916" y1="62579" x2="31329" y2="55074"/>
                        <a14:backgroundMark x1="31329" y1="55074" x2="36804" y2="46300"/>
                        <a14:backgroundMark x1="14632" y1="60571" x2="17594" y2="64482"/>
                        <a14:backgroundMark x1="18851" y1="73679" x2="23160" y2="78753"/>
                        <a14:backgroundMark x1="48474" y1="77907" x2="48474" y2="77907"/>
                        <a14:backgroundMark x1="48025" y1="77907" x2="49551" y2="78436"/>
                        <a14:backgroundMark x1="47756" y1="78013" x2="49192" y2="77484"/>
                        <a14:backgroundMark x1="48384" y1="77590" x2="48419" y2="7883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969" r="45115"/>
          <a:stretch/>
        </p:blipFill>
        <p:spPr bwMode="auto">
          <a:xfrm>
            <a:off x="-9526" y="820852"/>
            <a:ext cx="4429125" cy="6046674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1BCEA24-573B-84F3-C6CD-D5B936DFE685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F58EEE3-A070-4E2A-0295-CD0D9836D893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E165A2C-EA09-1D2A-E5F8-53618376C0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214BED0-318D-3190-E29D-5E0B08C50053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FDC3925-720A-9C25-F959-9DD26104CE56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492402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S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4">
            <a:extLst>
              <a:ext uri="{FF2B5EF4-FFF2-40B4-BE49-F238E27FC236}">
                <a16:creationId xmlns:a16="http://schemas.microsoft.com/office/drawing/2014/main" id="{FA03A50D-6AE3-4A1A-82A4-F1160A10ADA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2" y="0"/>
            <a:ext cx="700241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241875E-C0A6-FDB6-7E7A-BCCDCF64BE28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CA51A62-0D3B-56AB-081E-FEF3501B4BBE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700B065-122F-8466-3FA4-FD4C72865A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9595AFC-9EBE-4324-4C7B-29A4D63EAC4C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694A2BA-65FD-BC0F-7DE3-54DA32D8A5B0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274728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S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1FD565F1-CE52-423C-837B-CE26808A59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3489" y="0"/>
            <a:ext cx="841789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">
            <a:extLst>
              <a:ext uri="{FF2B5EF4-FFF2-40B4-BE49-F238E27FC236}">
                <a16:creationId xmlns:a16="http://schemas.microsoft.com/office/drawing/2014/main" id="{DAA12FF9-FC73-42F4-A8C0-06B425D68C2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68" b="98928" l="29966" r="98485">
                        <a14:foregroundMark x1="58670" y1="21651" x2="60606" y2="30975"/>
                        <a14:foregroundMark x1="60606" y1="30975" x2="61195" y2="31940"/>
                        <a14:foregroundMark x1="62121" y1="32476" x2="67677" y2="50589"/>
                        <a14:foregroundMark x1="60859" y1="32797" x2="60774" y2="36549"/>
                        <a14:foregroundMark x1="59343" y1="34834" x2="59343" y2="34834"/>
                        <a14:foregroundMark x1="60185" y1="36013" x2="60185" y2="36013"/>
                        <a14:foregroundMark x1="70792" y1="86884" x2="70519" y2="87509"/>
                        <a14:foregroundMark x1="88300" y1="46838" x2="70840" y2="86774"/>
                        <a14:foregroundMark x1="71676" y1="88909" x2="75000" y2="88103"/>
                        <a14:foregroundMark x1="82660" y1="45766" x2="93182" y2="89496"/>
                        <a14:foregroundMark x1="96549" y1="48982" x2="92424" y2="84995"/>
                        <a14:foregroundMark x1="92424" y1="84995" x2="93687" y2="96677"/>
                        <a14:foregroundMark x1="93687" y1="96677" x2="95034" y2="98821"/>
                        <a14:foregroundMark x1="98401" y1="50375" x2="98485" y2="99035"/>
                        <a14:foregroundMark x1="71465" y1="10825" x2="81987" y2="60986"/>
                        <a14:foregroundMark x1="76936" y1="13076" x2="81734" y2="52840"/>
                        <a14:foregroundMark x1="83053" y1="32690" x2="83169" y2="33332"/>
                        <a14:foregroundMark x1="79798" y1="14684" x2="83053" y2="32690"/>
                        <a14:foregroundMark x1="67593" y1="11040" x2="76347" y2="60986"/>
                        <a14:foregroundMark x1="69192" y1="41050" x2="68098" y2="43087"/>
                        <a14:foregroundMark x1="39899" y1="85102" x2="29966" y2="87567"/>
                        <a14:backgroundMark x1="54293" y1="15541" x2="47391" y2="78778"/>
                        <a14:backgroundMark x1="54882" y1="26367" x2="59512" y2="71919"/>
                        <a14:backgroundMark x1="70034" y1="51661" x2="60774" y2="65380"/>
                        <a14:backgroundMark x1="83670" y1="40943" x2="83670" y2="40943"/>
                        <a14:backgroundMark x1="83586" y1="42122" x2="83586" y2="35906"/>
                        <a14:backgroundMark x1="83165" y1="33333" x2="85101" y2="43194"/>
                        <a14:backgroundMark x1="83249" y1="32690" x2="83249" y2="32690"/>
                        <a14:backgroundMark x1="83249" y1="33226" x2="83249" y2="33226"/>
                        <a14:backgroundMark x1="70455" y1="87460" x2="64057" y2="99250"/>
                        <a14:backgroundMark x1="57660" y1="93783" x2="56566" y2="94105"/>
                        <a14:backgroundMark x1="71633" y1="88639" x2="71633" y2="88639"/>
                        <a14:backgroundMark x1="71886" y1="89603" x2="71128" y2="87996"/>
                        <a14:backgroundMark x1="72054" y1="88853" x2="72054" y2="88853"/>
                        <a14:backgroundMark x1="71970" y1="89175" x2="71970" y2="891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8235"/>
          <a:stretch/>
        </p:blipFill>
        <p:spPr bwMode="auto">
          <a:xfrm flipH="1">
            <a:off x="57" y="0"/>
            <a:ext cx="60410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260B85A-B068-55C3-0F9F-804E3B0E66E7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BA8A18C-DBDF-8415-407D-3EBE64933836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96A78FB-306F-5EF8-4C45-D799D36A2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0911514-5F0B-5AC2-D7EE-AD97526F68D5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410779D-F218-8FD2-B405-6D1BF44936C6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1433125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S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B7E2BD9D-D657-4CE8-842A-767172F34A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31968" y="0"/>
            <a:ext cx="728432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>
            <a:extLst>
              <a:ext uri="{FF2B5EF4-FFF2-40B4-BE49-F238E27FC236}">
                <a16:creationId xmlns:a16="http://schemas.microsoft.com/office/drawing/2014/main" id="{F7FBFF91-A105-41A9-866A-189BD0AE5F5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36" b="99466" l="65302" r="96520">
                        <a14:foregroundMark x1="96622" y1="59188" x2="96520" y2="61111"/>
                        <a14:foregroundMark x1="96622" y1="54701" x2="95906" y2="56944"/>
                        <a14:foregroundMark x1="82600" y1="24573" x2="80348" y2="27457"/>
                        <a14:foregroundMark x1="84749" y1="22436" x2="90276" y2="24038"/>
                        <a14:foregroundMark x1="67451" y1="63034" x2="65404" y2="64103"/>
                        <a14:foregroundMark x1="94063" y1="77350" x2="95906" y2="99466"/>
                        <a14:foregroundMark x1="78506" y1="83120" x2="73900" y2="98504"/>
                        <a14:foregroundMark x1="87206" y1="22650" x2="87206" y2="22650"/>
                        <a14:foregroundMark x1="87206" y1="22329" x2="85466" y2="22222"/>
                        <a14:backgroundMark x1="72979" y1="91239" x2="71341" y2="99573"/>
                        <a14:backgroundMark x1="85670" y1="21902" x2="85670" y2="219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474"/>
          <a:stretch/>
        </p:blipFill>
        <p:spPr bwMode="auto">
          <a:xfrm flipH="1">
            <a:off x="-35859" y="-46506"/>
            <a:ext cx="2680288" cy="690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4FD89B2-DD69-CD80-92E1-F3C97A09B244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7F315C5-7D4C-45E6-C73A-C3509514155D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F27C863-A57B-0F5D-2AB0-65D1AB3A30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441CDEF-1A62-FD69-F584-2669C4B271BB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A18EE09-4A67-0A3F-07CC-F38B32B30414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8062765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W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B84BBC7B-39A7-4D33-8578-775F6C133E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-1"/>
            <a:ext cx="7130921" cy="6864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7314F35-CA4E-A459-61CC-CE48442B23DE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A641166-C2DD-C946-70A1-DC0072F3DA81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0C4DFCE-E590-CF15-22F6-D0086C0C26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94636C2-3757-1915-8601-45C75A4540AC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3B84EC9-8BFE-A864-6517-1277436C7B9B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1906903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W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">
            <a:extLst>
              <a:ext uri="{FF2B5EF4-FFF2-40B4-BE49-F238E27FC236}">
                <a16:creationId xmlns:a16="http://schemas.microsoft.com/office/drawing/2014/main" id="{18DE8AAD-FEFC-4530-86CB-BEBAEEEFC7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392" y="494278"/>
            <a:ext cx="7282925" cy="6363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FFC93946-E9C1-47E2-BDD7-231CD60BB7C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299" b="99485" l="0" r="45405">
                        <a14:foregroundMark x1="17568" y1="3299" x2="24775" y2="15979"/>
                        <a14:foregroundMark x1="9550" y1="38454" x2="23604" y2="78144"/>
                        <a14:foregroundMark x1="23604" y1="78144" x2="37748" y2="99485"/>
                        <a14:foregroundMark x1="36757" y1="38041" x2="1081" y2="93299"/>
                        <a14:foregroundMark x1="7387" y1="39897" x2="631" y2="43402"/>
                        <a14:foregroundMark x1="631" y1="43402" x2="0" y2="44948"/>
                        <a14:foregroundMark x1="40360" y1="48454" x2="45405" y2="65464"/>
                        <a14:foregroundMark x1="34595" y1="70722" x2="35766" y2="82784"/>
                        <a14:foregroundMark x1="9730" y1="94742" x2="13423" y2="98866"/>
                        <a14:foregroundMark x1="13784" y1="14845" x2="23153" y2="22062"/>
                        <a14:foregroundMark x1="21712" y1="15567" x2="23243" y2="22371"/>
                        <a14:foregroundMark x1="12613" y1="14845" x2="15495" y2="21856"/>
                        <a14:foregroundMark x1="9009" y1="18557" x2="9550" y2="20412"/>
                        <a14:foregroundMark x1="10270" y1="23711" x2="10541" y2="24948"/>
                        <a14:foregroundMark x1="10028" y1="25361" x2="10090" y2="26495"/>
                        <a14:foregroundMark x1="10000" y1="24845" x2="10028" y2="25361"/>
                        <a14:foregroundMark x1="10541" y1="27010" x2="11622" y2="26701"/>
                        <a14:foregroundMark x1="25225" y1="24845" x2="25676" y2="26289"/>
                        <a14:foregroundMark x1="25315" y1="26082" x2="25045" y2="27320"/>
                        <a14:foregroundMark x1="11351" y1="25258" x2="11351" y2="25258"/>
                        <a14:foregroundMark x1="12162" y1="34845" x2="12162" y2="34845"/>
                        <a14:foregroundMark x1="12703" y1="34536" x2="12703" y2="34536"/>
                        <a14:foregroundMark x1="10360" y1="37835" x2="10360" y2="37835"/>
                        <a14:foregroundMark x1="27658" y1="36392" x2="27658" y2="36392"/>
                        <a14:backgroundMark x1="31171" y1="26392" x2="42342" y2="31959"/>
                        <a14:backgroundMark x1="30090" y1="35258" x2="30090" y2="35258"/>
                        <a14:backgroundMark x1="33153" y1="35670" x2="36757" y2="36495"/>
                        <a14:backgroundMark x1="25045" y1="26186" x2="25045" y2="26186"/>
                        <a14:backgroundMark x1="9820" y1="23711" x2="9820" y2="23711"/>
                        <a14:backgroundMark x1="10901" y1="25361" x2="10901" y2="25361"/>
                        <a14:backgroundMark x1="10721" y1="24845" x2="10721" y2="24845"/>
                        <a14:backgroundMark x1="12072" y1="34845" x2="12072" y2="3484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65" r="53566"/>
          <a:stretch/>
        </p:blipFill>
        <p:spPr bwMode="auto">
          <a:xfrm>
            <a:off x="-9046" y="691342"/>
            <a:ext cx="3368018" cy="6175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3E162FC-FC98-0225-7057-79012385DA89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0F374ED-767B-34B0-FCB8-8AA59E3C602A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5AA6FC1-6DA0-189B-7E73-A42EE0E865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DFCFC2E-6A14-E574-40FB-059943D96D32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6D0B4DD-2364-3540-2EE1-F4B9635F399C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09432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JOURNEY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C2FBE1E5-51E3-4916-BD9B-6CE59EF4F0E8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2" name="Picture 31" descr="Shape, circle&#10;&#10;Description automatically generated">
            <a:extLst>
              <a:ext uri="{FF2B5EF4-FFF2-40B4-BE49-F238E27FC236}">
                <a16:creationId xmlns:a16="http://schemas.microsoft.com/office/drawing/2014/main" id="{1E14698F-2DFE-4ABC-8776-F961CD13B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36" t="10732"/>
          <a:stretch/>
        </p:blipFill>
        <p:spPr>
          <a:xfrm rot="10800000" flipV="1">
            <a:off x="7687124" y="0"/>
            <a:ext cx="4498458" cy="439874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AD590678-8D03-4720-9986-71EBEAE6C458}"/>
              </a:ext>
            </a:extLst>
          </p:cNvPr>
          <p:cNvSpPr txBox="1"/>
          <p:nvPr userDrawn="1"/>
        </p:nvSpPr>
        <p:spPr>
          <a:xfrm>
            <a:off x="179783" y="192389"/>
            <a:ext cx="56813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ODAYS LEARNING JOURNEY</a:t>
            </a:r>
            <a:endParaRPr lang="nl-NL" sz="1200" b="1">
              <a:solidFill>
                <a:srgbClr val="00AEEF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80A71FC-30BD-EA5F-BEF6-95522CD41EDF}"/>
              </a:ext>
            </a:extLst>
          </p:cNvPr>
          <p:cNvSpPr>
            <a:spLocks noChangeAspect="1"/>
          </p:cNvSpPr>
          <p:nvPr userDrawn="1"/>
        </p:nvSpPr>
        <p:spPr>
          <a:xfrm>
            <a:off x="6850914" y="3344332"/>
            <a:ext cx="2141102" cy="21411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E297E58B-A9F7-CC74-3904-C7D2E658D738}"/>
              </a:ext>
            </a:extLst>
          </p:cNvPr>
          <p:cNvSpPr>
            <a:spLocks noChangeAspect="1"/>
          </p:cNvSpPr>
          <p:nvPr userDrawn="1"/>
        </p:nvSpPr>
        <p:spPr>
          <a:xfrm>
            <a:off x="1337099" y="1033230"/>
            <a:ext cx="2141102" cy="21411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4A7B7D2-EB9C-374B-87A5-895EE2DCE2CF}"/>
              </a:ext>
            </a:extLst>
          </p:cNvPr>
          <p:cNvSpPr>
            <a:spLocks noChangeAspect="1"/>
          </p:cNvSpPr>
          <p:nvPr userDrawn="1"/>
        </p:nvSpPr>
        <p:spPr>
          <a:xfrm>
            <a:off x="9815484" y="3530889"/>
            <a:ext cx="2141102" cy="21411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81D0B7D-DE59-8540-E2D9-5BFA48C64DA1}"/>
              </a:ext>
            </a:extLst>
          </p:cNvPr>
          <p:cNvSpPr>
            <a:spLocks noChangeAspect="1"/>
          </p:cNvSpPr>
          <p:nvPr userDrawn="1"/>
        </p:nvSpPr>
        <p:spPr>
          <a:xfrm>
            <a:off x="1744124" y="4351780"/>
            <a:ext cx="2141102" cy="21411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A7CA9AD-58D0-E302-A74A-7CB7E6B9AF62}"/>
              </a:ext>
            </a:extLst>
          </p:cNvPr>
          <p:cNvSpPr>
            <a:spLocks noChangeAspect="1"/>
          </p:cNvSpPr>
          <p:nvPr userDrawn="1"/>
        </p:nvSpPr>
        <p:spPr>
          <a:xfrm>
            <a:off x="4830332" y="909935"/>
            <a:ext cx="2141102" cy="21411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A7B1646-CB6A-49BC-BAC8-7FBCBF7501E0}"/>
              </a:ext>
            </a:extLst>
          </p:cNvPr>
          <p:cNvSpPr>
            <a:spLocks noChangeAspect="1"/>
          </p:cNvSpPr>
          <p:nvPr userDrawn="1"/>
        </p:nvSpPr>
        <p:spPr>
          <a:xfrm>
            <a:off x="5148535" y="3911810"/>
            <a:ext cx="295185" cy="292339"/>
          </a:xfrm>
          <a:prstGeom prst="ellipse">
            <a:avLst/>
          </a:prstGeom>
          <a:solidFill>
            <a:srgbClr val="BF3B4B">
              <a:alpha val="5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287ABBBB-A57D-4A54-BAD2-B01717BC5AC4}"/>
              </a:ext>
            </a:extLst>
          </p:cNvPr>
          <p:cNvSpPr>
            <a:spLocks noChangeAspect="1"/>
          </p:cNvSpPr>
          <p:nvPr userDrawn="1"/>
        </p:nvSpPr>
        <p:spPr>
          <a:xfrm>
            <a:off x="7609007" y="5642599"/>
            <a:ext cx="288593" cy="28581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4C26FED-6380-41EC-A08A-BEFD6C5AF9A0}"/>
              </a:ext>
            </a:extLst>
          </p:cNvPr>
          <p:cNvSpPr>
            <a:spLocks noChangeAspect="1"/>
          </p:cNvSpPr>
          <p:nvPr userDrawn="1"/>
        </p:nvSpPr>
        <p:spPr>
          <a:xfrm>
            <a:off x="-129602" y="3693578"/>
            <a:ext cx="386136" cy="382412"/>
          </a:xfrm>
          <a:prstGeom prst="ellipse">
            <a:avLst/>
          </a:prstGeom>
          <a:solidFill>
            <a:srgbClr val="FFC000">
              <a:alpha val="5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CF0A2AB-9AF1-4C86-94DF-62626354E3A4}"/>
              </a:ext>
            </a:extLst>
          </p:cNvPr>
          <p:cNvSpPr>
            <a:spLocks noChangeAspect="1"/>
          </p:cNvSpPr>
          <p:nvPr userDrawn="1"/>
        </p:nvSpPr>
        <p:spPr>
          <a:xfrm>
            <a:off x="5679153" y="5184275"/>
            <a:ext cx="175952" cy="174255"/>
          </a:xfrm>
          <a:prstGeom prst="ellipse">
            <a:avLst/>
          </a:prstGeom>
          <a:solidFill>
            <a:srgbClr val="A3C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354EF95-C5D8-4FDB-A961-F82D4B26B737}"/>
              </a:ext>
            </a:extLst>
          </p:cNvPr>
          <p:cNvSpPr>
            <a:spLocks noChangeAspect="1"/>
          </p:cNvSpPr>
          <p:nvPr userDrawn="1"/>
        </p:nvSpPr>
        <p:spPr>
          <a:xfrm>
            <a:off x="8582306" y="5772209"/>
            <a:ext cx="175952" cy="174255"/>
          </a:xfrm>
          <a:prstGeom prst="ellipse">
            <a:avLst/>
          </a:prstGeom>
          <a:solidFill>
            <a:srgbClr val="A3C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5E61EA8-4AAC-475E-A3A2-5D9E0D3F4431}"/>
              </a:ext>
            </a:extLst>
          </p:cNvPr>
          <p:cNvSpPr>
            <a:spLocks noChangeAspect="1"/>
          </p:cNvSpPr>
          <p:nvPr userDrawn="1"/>
        </p:nvSpPr>
        <p:spPr>
          <a:xfrm>
            <a:off x="1940667" y="4068732"/>
            <a:ext cx="175952" cy="174255"/>
          </a:xfrm>
          <a:prstGeom prst="ellipse">
            <a:avLst/>
          </a:prstGeom>
          <a:solidFill>
            <a:srgbClr val="7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E7232A1-128D-4D8B-B0F2-518ABEC354E4}"/>
              </a:ext>
            </a:extLst>
          </p:cNvPr>
          <p:cNvSpPr>
            <a:spLocks noChangeAspect="1"/>
          </p:cNvSpPr>
          <p:nvPr userDrawn="1"/>
        </p:nvSpPr>
        <p:spPr>
          <a:xfrm>
            <a:off x="8151040" y="56808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A4DD1CE-5504-4377-A3FD-162E2DECF1B5}"/>
              </a:ext>
            </a:extLst>
          </p:cNvPr>
          <p:cNvSpPr>
            <a:spLocks noChangeAspect="1"/>
          </p:cNvSpPr>
          <p:nvPr userDrawn="1"/>
        </p:nvSpPr>
        <p:spPr>
          <a:xfrm>
            <a:off x="5373882" y="4329050"/>
            <a:ext cx="320614" cy="317523"/>
          </a:xfrm>
          <a:prstGeom prst="ellipse">
            <a:avLst/>
          </a:prstGeom>
          <a:solidFill>
            <a:srgbClr val="A3C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4C37A8C-9C13-403D-98A5-ED3EBCC2A3EB}"/>
              </a:ext>
            </a:extLst>
          </p:cNvPr>
          <p:cNvSpPr>
            <a:spLocks noChangeAspect="1"/>
          </p:cNvSpPr>
          <p:nvPr userDrawn="1"/>
        </p:nvSpPr>
        <p:spPr>
          <a:xfrm>
            <a:off x="881781" y="4055682"/>
            <a:ext cx="175952" cy="174255"/>
          </a:xfrm>
          <a:prstGeom prst="ellipse">
            <a:avLst/>
          </a:prstGeom>
          <a:solidFill>
            <a:srgbClr val="BF3B4B">
              <a:alpha val="5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5C9D10F-2D43-4D07-BEB8-A18337211313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6185123" y="5680825"/>
            <a:ext cx="92953" cy="920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1C23BE8-A85B-4D04-A303-F22692644051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572748" y="3407770"/>
            <a:ext cx="133411" cy="132124"/>
          </a:xfrm>
          <a:prstGeom prst="ellipse">
            <a:avLst/>
          </a:prstGeom>
          <a:solidFill>
            <a:srgbClr val="BF3B4B">
              <a:alpha val="5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15935F59-7540-4EB1-9F1A-A8A38EAF3EFF}"/>
              </a:ext>
            </a:extLst>
          </p:cNvPr>
          <p:cNvSpPr>
            <a:spLocks noChangeAspect="1"/>
          </p:cNvSpPr>
          <p:nvPr userDrawn="1"/>
        </p:nvSpPr>
        <p:spPr>
          <a:xfrm>
            <a:off x="4423847" y="4413406"/>
            <a:ext cx="86693" cy="85857"/>
          </a:xfrm>
          <a:prstGeom prst="ellipse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AE96ABC9-943B-494C-BDD3-29D11BFD2FCD}"/>
              </a:ext>
            </a:extLst>
          </p:cNvPr>
          <p:cNvSpPr>
            <a:spLocks noChangeAspect="1"/>
          </p:cNvSpPr>
          <p:nvPr userDrawn="1"/>
        </p:nvSpPr>
        <p:spPr>
          <a:xfrm>
            <a:off x="153405" y="3500266"/>
            <a:ext cx="89560" cy="8869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1940E72F-F248-42F2-A038-151EFC63B08F}"/>
              </a:ext>
            </a:extLst>
          </p:cNvPr>
          <p:cNvSpPr>
            <a:spLocks noChangeAspect="1"/>
          </p:cNvSpPr>
          <p:nvPr userDrawn="1"/>
        </p:nvSpPr>
        <p:spPr>
          <a:xfrm>
            <a:off x="997312" y="3575526"/>
            <a:ext cx="207999" cy="205994"/>
          </a:xfrm>
          <a:prstGeom prst="ellipse">
            <a:avLst/>
          </a:prstGeom>
          <a:solidFill>
            <a:srgbClr val="7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2798883-BFFF-4991-9CAA-00CB1E41ABA2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4313165" y="4207318"/>
            <a:ext cx="92953" cy="920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2D2C5879-3C55-4DC0-B03C-2430D0C5D706}"/>
              </a:ext>
            </a:extLst>
          </p:cNvPr>
          <p:cNvSpPr>
            <a:spLocks noChangeAspect="1"/>
          </p:cNvSpPr>
          <p:nvPr userDrawn="1"/>
        </p:nvSpPr>
        <p:spPr>
          <a:xfrm>
            <a:off x="5934479" y="5633665"/>
            <a:ext cx="97931" cy="96987"/>
          </a:xfrm>
          <a:prstGeom prst="ellipse">
            <a:avLst/>
          </a:prstGeom>
          <a:solidFill>
            <a:srgbClr val="A3C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42B63977-035E-46C4-AC03-909EE08B0910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9227772" y="5767280"/>
            <a:ext cx="92953" cy="920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33313B44-0106-48DD-9E07-D2E149359D3F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6543364" y="5740455"/>
            <a:ext cx="92953" cy="9205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66D5D31B-C202-4A74-94A2-3B66200FE5C1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751085" y="4397898"/>
            <a:ext cx="92953" cy="9205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5AC990D-42E9-4702-BE40-2980E3869393}"/>
              </a:ext>
            </a:extLst>
          </p:cNvPr>
          <p:cNvSpPr>
            <a:spLocks noChangeAspect="1"/>
          </p:cNvSpPr>
          <p:nvPr userDrawn="1"/>
        </p:nvSpPr>
        <p:spPr>
          <a:xfrm>
            <a:off x="5919967" y="5307367"/>
            <a:ext cx="179675" cy="17794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EED895DA-BB9E-41E5-849F-1E1219C5ADB8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742694" y="4185726"/>
            <a:ext cx="92953" cy="92057"/>
          </a:xfrm>
          <a:prstGeom prst="ellipse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EF7759F-047A-476B-881B-E1E25C0EB9D2}"/>
              </a:ext>
            </a:extLst>
          </p:cNvPr>
          <p:cNvSpPr>
            <a:spLocks noChangeAspect="1"/>
          </p:cNvSpPr>
          <p:nvPr userDrawn="1"/>
        </p:nvSpPr>
        <p:spPr>
          <a:xfrm>
            <a:off x="7956645" y="5841600"/>
            <a:ext cx="116477" cy="115354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D230B41B-193B-48F2-9BFE-09D1C6306E5B}"/>
              </a:ext>
            </a:extLst>
          </p:cNvPr>
          <p:cNvSpPr>
            <a:spLocks noChangeAspect="1"/>
          </p:cNvSpPr>
          <p:nvPr userDrawn="1"/>
        </p:nvSpPr>
        <p:spPr>
          <a:xfrm>
            <a:off x="8971469" y="5973751"/>
            <a:ext cx="88290" cy="87439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4CFA64B8-EE13-40EB-B93E-18A8E9FA30F0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1188684" y="4322480"/>
            <a:ext cx="288592" cy="285810"/>
          </a:xfrm>
          <a:prstGeom prst="ellipse">
            <a:avLst/>
          </a:prstGeom>
          <a:solidFill>
            <a:schemeClr val="accent4">
              <a:lumMod val="7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0" name="Circle: Hollow 59">
            <a:extLst>
              <a:ext uri="{FF2B5EF4-FFF2-40B4-BE49-F238E27FC236}">
                <a16:creationId xmlns:a16="http://schemas.microsoft.com/office/drawing/2014/main" id="{DC338880-A006-4A14-B205-694EE9C91695}"/>
              </a:ext>
            </a:extLst>
          </p:cNvPr>
          <p:cNvSpPr>
            <a:spLocks noChangeAspect="1"/>
          </p:cNvSpPr>
          <p:nvPr userDrawn="1"/>
        </p:nvSpPr>
        <p:spPr>
          <a:xfrm>
            <a:off x="2275709" y="3466904"/>
            <a:ext cx="1662996" cy="1646960"/>
          </a:xfrm>
          <a:prstGeom prst="donut">
            <a:avLst>
              <a:gd name="adj" fmla="val 5617"/>
            </a:avLst>
          </a:prstGeom>
          <a:solidFill>
            <a:srgbClr val="BF3B4B">
              <a:alpha val="82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61" name="Circle: Hollow 60">
            <a:extLst>
              <a:ext uri="{FF2B5EF4-FFF2-40B4-BE49-F238E27FC236}">
                <a16:creationId xmlns:a16="http://schemas.microsoft.com/office/drawing/2014/main" id="{4BC2AB74-B2BB-499C-8696-DE5C2C43E3CF}"/>
              </a:ext>
            </a:extLst>
          </p:cNvPr>
          <p:cNvSpPr>
            <a:spLocks noChangeAspect="1"/>
          </p:cNvSpPr>
          <p:nvPr userDrawn="1"/>
        </p:nvSpPr>
        <p:spPr>
          <a:xfrm>
            <a:off x="2467800" y="3648310"/>
            <a:ext cx="1291859" cy="1279402"/>
          </a:xfrm>
          <a:prstGeom prst="donut">
            <a:avLst>
              <a:gd name="adj" fmla="val 15338"/>
            </a:avLst>
          </a:prstGeom>
          <a:solidFill>
            <a:srgbClr val="BF3B4B">
              <a:alpha val="42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FCA0FFD6-6573-4CD8-8321-B2DFFE62BE1E}"/>
              </a:ext>
            </a:extLst>
          </p:cNvPr>
          <p:cNvSpPr>
            <a:spLocks noChangeAspect="1"/>
          </p:cNvSpPr>
          <p:nvPr userDrawn="1"/>
        </p:nvSpPr>
        <p:spPr>
          <a:xfrm>
            <a:off x="636112" y="2249118"/>
            <a:ext cx="1148993" cy="1137914"/>
          </a:xfrm>
          <a:prstGeom prst="ellipse">
            <a:avLst/>
          </a:prstGeom>
          <a:gradFill flip="none" rotWithShape="1">
            <a:gsLst>
              <a:gs pos="0">
                <a:srgbClr val="00AEEF">
                  <a:alpha val="17000"/>
                </a:srgbClr>
              </a:gs>
              <a:gs pos="65000">
                <a:srgbClr val="A3C7E7"/>
              </a:gs>
            </a:gsLst>
            <a:lin ang="18900000" scaled="1"/>
            <a:tileRect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3" name="Circle: Hollow 62">
            <a:extLst>
              <a:ext uri="{FF2B5EF4-FFF2-40B4-BE49-F238E27FC236}">
                <a16:creationId xmlns:a16="http://schemas.microsoft.com/office/drawing/2014/main" id="{A56E40A5-706D-4626-ACA4-D99B453E739F}"/>
              </a:ext>
            </a:extLst>
          </p:cNvPr>
          <p:cNvSpPr>
            <a:spLocks noChangeAspect="1"/>
          </p:cNvSpPr>
          <p:nvPr userDrawn="1"/>
        </p:nvSpPr>
        <p:spPr>
          <a:xfrm>
            <a:off x="414665" y="2028787"/>
            <a:ext cx="1599456" cy="1584033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B5BD4833-9D9B-4F72-961A-AD68F7A957B7}"/>
              </a:ext>
            </a:extLst>
          </p:cNvPr>
          <p:cNvSpPr>
            <a:spLocks noChangeAspect="1"/>
          </p:cNvSpPr>
          <p:nvPr userDrawn="1"/>
        </p:nvSpPr>
        <p:spPr>
          <a:xfrm>
            <a:off x="9719751" y="5154940"/>
            <a:ext cx="814714" cy="806857"/>
          </a:xfrm>
          <a:prstGeom prst="ellipse">
            <a:avLst/>
          </a:prstGeom>
          <a:gradFill>
            <a:gsLst>
              <a:gs pos="18000">
                <a:srgbClr val="FFC000">
                  <a:alpha val="28000"/>
                </a:srgbClr>
              </a:gs>
              <a:gs pos="73000">
                <a:srgbClr val="BF3B4B">
                  <a:alpha val="94000"/>
                </a:srgbClr>
              </a:gs>
            </a:gsLst>
            <a:lin ang="81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67" name="Circle: Hollow 66">
            <a:extLst>
              <a:ext uri="{FF2B5EF4-FFF2-40B4-BE49-F238E27FC236}">
                <a16:creationId xmlns:a16="http://schemas.microsoft.com/office/drawing/2014/main" id="{8DDE5A79-B066-4343-9D26-F43545FFE17C}"/>
              </a:ext>
            </a:extLst>
          </p:cNvPr>
          <p:cNvSpPr>
            <a:spLocks noChangeAspect="1"/>
          </p:cNvSpPr>
          <p:nvPr userDrawn="1"/>
        </p:nvSpPr>
        <p:spPr>
          <a:xfrm>
            <a:off x="9450979" y="4887551"/>
            <a:ext cx="1347636" cy="1334641"/>
          </a:xfrm>
          <a:prstGeom prst="donut">
            <a:avLst>
              <a:gd name="adj" fmla="val 5617"/>
            </a:avLst>
          </a:prstGeom>
          <a:gradFill>
            <a:gsLst>
              <a:gs pos="18000">
                <a:srgbClr val="FFC000">
                  <a:alpha val="28000"/>
                </a:srgbClr>
              </a:gs>
              <a:gs pos="53000">
                <a:srgbClr val="BF3B4B">
                  <a:alpha val="59000"/>
                </a:srgbClr>
              </a:gs>
            </a:gsLst>
            <a:lin ang="81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9BFD5C5-51D6-4B5D-811E-39A20A057922}"/>
              </a:ext>
            </a:extLst>
          </p:cNvPr>
          <p:cNvSpPr>
            <a:spLocks noChangeAspect="1"/>
          </p:cNvSpPr>
          <p:nvPr userDrawn="1"/>
        </p:nvSpPr>
        <p:spPr>
          <a:xfrm>
            <a:off x="6778694" y="4972500"/>
            <a:ext cx="677600" cy="671066"/>
          </a:xfrm>
          <a:prstGeom prst="ellipse">
            <a:avLst/>
          </a:prstGeom>
          <a:solidFill>
            <a:srgbClr val="FFC000">
              <a:alpha val="62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9" name="Circle: Hollow 68">
            <a:extLst>
              <a:ext uri="{FF2B5EF4-FFF2-40B4-BE49-F238E27FC236}">
                <a16:creationId xmlns:a16="http://schemas.microsoft.com/office/drawing/2014/main" id="{568C17CA-755F-446C-9CC4-F4E7C1514384}"/>
              </a:ext>
            </a:extLst>
          </p:cNvPr>
          <p:cNvSpPr>
            <a:spLocks noChangeAspect="1"/>
          </p:cNvSpPr>
          <p:nvPr userDrawn="1"/>
        </p:nvSpPr>
        <p:spPr>
          <a:xfrm>
            <a:off x="6491797" y="4713475"/>
            <a:ext cx="1223945" cy="1212142"/>
          </a:xfrm>
          <a:prstGeom prst="donut">
            <a:avLst>
              <a:gd name="adj" fmla="val 5617"/>
            </a:avLst>
          </a:prstGeom>
          <a:solidFill>
            <a:srgbClr val="FFC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70" name="Text Placeholder 5">
            <a:extLst>
              <a:ext uri="{FF2B5EF4-FFF2-40B4-BE49-F238E27FC236}">
                <a16:creationId xmlns:a16="http://schemas.microsoft.com/office/drawing/2014/main" id="{02D6D773-13E3-4565-9D85-FEFF002438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830989" y="5039925"/>
            <a:ext cx="1900351" cy="65402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2000" b="1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section title</a:t>
            </a:r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C0D67C9E-7AF7-488D-B988-1AF373BD7E5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395631" y="1279200"/>
            <a:ext cx="1939546" cy="65402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2000" b="1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section title</a:t>
            </a:r>
          </a:p>
        </p:txBody>
      </p: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3CFEE98C-0151-4635-B499-268B69AEE7D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965492" y="3636359"/>
            <a:ext cx="1871857" cy="65402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2000" b="1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section title</a:t>
            </a:r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0E5F35A7-B8DB-4125-A90F-A5B21BC860C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005318" y="3780312"/>
            <a:ext cx="1736030" cy="65402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2000" b="1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section title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37AD8ADE-46E3-47CC-8E0C-18998F618CDC}"/>
              </a:ext>
            </a:extLst>
          </p:cNvPr>
          <p:cNvSpPr>
            <a:spLocks noChangeAspect="1"/>
          </p:cNvSpPr>
          <p:nvPr userDrawn="1"/>
        </p:nvSpPr>
        <p:spPr>
          <a:xfrm>
            <a:off x="4018910" y="4136699"/>
            <a:ext cx="175952" cy="174255"/>
          </a:xfrm>
          <a:prstGeom prst="ellipse">
            <a:avLst/>
          </a:prstGeom>
          <a:solidFill>
            <a:srgbClr val="A3C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1E4BA902-2F35-4DC4-9085-CC337F5C25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27558" y="1768061"/>
            <a:ext cx="2702699" cy="110337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3600" b="1">
                <a:solidFill>
                  <a:srgbClr val="00AEEF"/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Duration HH:MM</a:t>
            </a:r>
          </a:p>
        </p:txBody>
      </p:sp>
      <p:pic>
        <p:nvPicPr>
          <p:cNvPr id="79" name="Picture 2">
            <a:extLst>
              <a:ext uri="{FF2B5EF4-FFF2-40B4-BE49-F238E27FC236}">
                <a16:creationId xmlns:a16="http://schemas.microsoft.com/office/drawing/2014/main" id="{7D47235C-7BEA-4D47-B34A-A486AFAA16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4867" y="1124796"/>
            <a:ext cx="586413" cy="585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Oval 79">
            <a:extLst>
              <a:ext uri="{FF2B5EF4-FFF2-40B4-BE49-F238E27FC236}">
                <a16:creationId xmlns:a16="http://schemas.microsoft.com/office/drawing/2014/main" id="{568C1C1B-B5FA-4475-AE08-16084E9B8472}"/>
              </a:ext>
            </a:extLst>
          </p:cNvPr>
          <p:cNvSpPr>
            <a:spLocks noChangeAspect="1"/>
          </p:cNvSpPr>
          <p:nvPr userDrawn="1"/>
        </p:nvSpPr>
        <p:spPr>
          <a:xfrm>
            <a:off x="326434" y="3496174"/>
            <a:ext cx="88290" cy="87439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9485EC79-8030-4D5F-A6F0-192640D9BA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2029" y="2164649"/>
            <a:ext cx="1435056" cy="132805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4400" b="1">
                <a:solidFill>
                  <a:srgbClr val="0070C0"/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Add #</a:t>
            </a:r>
          </a:p>
        </p:txBody>
      </p:sp>
      <p:sp>
        <p:nvSpPr>
          <p:cNvPr id="83" name="Text Placeholder 5">
            <a:extLst>
              <a:ext uri="{FF2B5EF4-FFF2-40B4-BE49-F238E27FC236}">
                <a16:creationId xmlns:a16="http://schemas.microsoft.com/office/drawing/2014/main" id="{4A5BD4DB-2C4D-43E8-839A-EE36B9219A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02201" y="3619981"/>
            <a:ext cx="1435056" cy="132805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4400" b="1">
                <a:solidFill>
                  <a:srgbClr val="C00000"/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Add #</a:t>
            </a:r>
          </a:p>
        </p:txBody>
      </p:sp>
      <p:sp>
        <p:nvSpPr>
          <p:cNvPr id="84" name="Text Placeholder 5">
            <a:extLst>
              <a:ext uri="{FF2B5EF4-FFF2-40B4-BE49-F238E27FC236}">
                <a16:creationId xmlns:a16="http://schemas.microsoft.com/office/drawing/2014/main" id="{90B95753-9A76-4A4A-A0DA-7B8CA935D42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61861" y="4659400"/>
            <a:ext cx="1435056" cy="1328056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>
            <a:lvl1pPr marL="0" indent="0" algn="ctr">
              <a:buNone/>
              <a:defRPr sz="4400" b="1">
                <a:solidFill>
                  <a:schemeClr val="accent4">
                    <a:lumMod val="75000"/>
                  </a:schemeClr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Add #</a:t>
            </a:r>
          </a:p>
        </p:txBody>
      </p:sp>
      <p:sp>
        <p:nvSpPr>
          <p:cNvPr id="85" name="Text Placeholder 5">
            <a:extLst>
              <a:ext uri="{FF2B5EF4-FFF2-40B4-BE49-F238E27FC236}">
                <a16:creationId xmlns:a16="http://schemas.microsoft.com/office/drawing/2014/main" id="{764C3636-BD60-405C-B3C7-F9DBA0A59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7269" y="4908932"/>
            <a:ext cx="1435056" cy="132805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4400" b="1">
                <a:solidFill>
                  <a:srgbClr val="C00000"/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Add #</a:t>
            </a:r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3DFBE54F-D8B9-4592-AB47-6B7F9B7D7088}"/>
              </a:ext>
            </a:extLst>
          </p:cNvPr>
          <p:cNvSpPr>
            <a:spLocks noChangeAspect="1"/>
          </p:cNvSpPr>
          <p:nvPr userDrawn="1"/>
        </p:nvSpPr>
        <p:spPr>
          <a:xfrm>
            <a:off x="4762143" y="2378246"/>
            <a:ext cx="1363155" cy="1350010"/>
          </a:xfrm>
          <a:prstGeom prst="donut">
            <a:avLst>
              <a:gd name="adj" fmla="val 9461"/>
            </a:avLst>
          </a:prstGeom>
          <a:solidFill>
            <a:schemeClr val="tx1">
              <a:lumMod val="50000"/>
              <a:lumOff val="50000"/>
              <a:alpha val="39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92EC2A0B-AA98-468B-A44B-EFAEC6418092}"/>
              </a:ext>
            </a:extLst>
          </p:cNvPr>
          <p:cNvSpPr>
            <a:spLocks noChangeAspect="1"/>
          </p:cNvSpPr>
          <p:nvPr userDrawn="1"/>
        </p:nvSpPr>
        <p:spPr>
          <a:xfrm>
            <a:off x="4616754" y="2227557"/>
            <a:ext cx="1662996" cy="1646960"/>
          </a:xfrm>
          <a:prstGeom prst="donut">
            <a:avLst>
              <a:gd name="adj" fmla="val 5081"/>
            </a:avLst>
          </a:prstGeom>
          <a:solidFill>
            <a:schemeClr val="tx1">
              <a:lumMod val="50000"/>
              <a:lumOff val="50000"/>
              <a:alpha val="73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82" name="Text Placeholder 5">
            <a:extLst>
              <a:ext uri="{FF2B5EF4-FFF2-40B4-BE49-F238E27FC236}">
                <a16:creationId xmlns:a16="http://schemas.microsoft.com/office/drawing/2014/main" id="{114060D3-034B-47E3-A288-BC5418B411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9143" y="2360399"/>
            <a:ext cx="1435056" cy="132805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4400" b="1">
                <a:solidFill>
                  <a:schemeClr val="tx1">
                    <a:lumMod val="65000"/>
                    <a:lumOff val="35000"/>
                  </a:schemeClr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Add #</a:t>
            </a:r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A869EE34-9FB5-43CA-948A-BE260AC92CB7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885575" y="1264725"/>
            <a:ext cx="1969123" cy="65402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2000" b="1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section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6D190E9-05D1-8D86-AABA-E2FECC28200D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5304075" y="4849284"/>
            <a:ext cx="288592" cy="285810"/>
          </a:xfrm>
          <a:prstGeom prst="ellipse">
            <a:avLst/>
          </a:prstGeom>
          <a:solidFill>
            <a:schemeClr val="accent4">
              <a:lumMod val="7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AA10849-912F-1D90-70B5-00E5BBC4B968}"/>
              </a:ext>
            </a:extLst>
          </p:cNvPr>
          <p:cNvSpPr>
            <a:spLocks noChangeAspect="1"/>
          </p:cNvSpPr>
          <p:nvPr userDrawn="1"/>
        </p:nvSpPr>
        <p:spPr>
          <a:xfrm>
            <a:off x="4636220" y="4194997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C1811C5-8E70-3DFF-6002-5F88B7D28F2A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4919539" y="4004343"/>
            <a:ext cx="92953" cy="920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526963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W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">
            <a:extLst>
              <a:ext uri="{FF2B5EF4-FFF2-40B4-BE49-F238E27FC236}">
                <a16:creationId xmlns:a16="http://schemas.microsoft.com/office/drawing/2014/main" id="{28B3ECE0-8905-43FD-8F36-C1CFE1BA27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501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79D23DAE-CA4D-43DB-81D3-233899ABDF9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9127" b="99688" l="96" r="38182">
                        <a14:foregroundMark x1="10622" y1="19127" x2="18182" y2="28586"/>
                        <a14:foregroundMark x1="17432" y1="19975" x2="22070" y2="29665"/>
                        <a14:foregroundMark x1="12057" y1="25572" x2="96" y2="49688"/>
                        <a14:foregroundMark x1="13110" y1="29210" x2="13397" y2="33472"/>
                        <a14:foregroundMark x1="27870" y1="30497" x2="24593" y2="74428"/>
                        <a14:foregroundMark x1="24593" y1="74428" x2="24593" y2="74428"/>
                        <a14:foregroundMark x1="31770" y1="48649" x2="33876" y2="63825"/>
                        <a14:foregroundMark x1="33876" y1="63825" x2="33493" y2="67048"/>
                        <a14:foregroundMark x1="29569" y1="58316" x2="28134" y2="69335"/>
                        <a14:foregroundMark x1="28134" y1="68295" x2="24880" y2="78067"/>
                        <a14:foregroundMark x1="24306" y1="71830" x2="23062" y2="88150"/>
                        <a14:foregroundMark x1="23062" y1="88150" x2="25167" y2="92827"/>
                        <a14:foregroundMark x1="11005" y1="84304" x2="6603" y2="96258"/>
                        <a14:foregroundMark x1="6603" y1="96258" x2="3158" y2="99792"/>
                        <a14:foregroundMark x1="4498" y1="81809" x2="3158" y2="96778"/>
                        <a14:foregroundMark x1="3158" y1="96778" x2="2871" y2="97505"/>
                        <a14:foregroundMark x1="9856" y1="94699" x2="19426" y2="98441"/>
                        <a14:foregroundMark x1="23349" y1="90333" x2="26411" y2="99896"/>
                        <a14:foregroundMark x1="24976" y1="92620" x2="28134" y2="99272"/>
                        <a14:foregroundMark x1="28134" y1="99272" x2="28134" y2="99272"/>
                        <a14:foregroundMark x1="27560" y1="85655" x2="27560" y2="85655"/>
                        <a14:foregroundMark x1="26603" y1="93555" x2="29187" y2="99896"/>
                        <a14:foregroundMark x1="34737" y1="33992" x2="38086" y2="35863"/>
                        <a14:foregroundMark x1="38182" y1="33160" x2="37608" y2="35551"/>
                        <a14:foregroundMark x1="36364" y1="32744" x2="37321" y2="33160"/>
                        <a14:foregroundMark x1="28038" y1="83992" x2="28038" y2="83992"/>
                        <a14:foregroundMark x1="28325" y1="68295" x2="31579" y2="72661"/>
                        <a14:backgroundMark x1="4402" y1="19751" x2="4211" y2="26403"/>
                        <a14:backgroundMark x1="15311" y1="18711" x2="17608" y2="19751"/>
                        <a14:backgroundMark x1="26316" y1="26299" x2="26603" y2="28690"/>
                        <a14:backgroundMark x1="26411" y1="27131" x2="23158" y2="30977"/>
                        <a14:backgroundMark x1="27368" y1="29210" x2="30144" y2="28690"/>
                        <a14:backgroundMark x1="20861" y1="34927" x2="20861" y2="34927"/>
                        <a14:backgroundMark x1="22105" y1="31913" x2="22105" y2="31913"/>
                        <a14:backgroundMark x1="4211" y1="30353" x2="4211" y2="30353"/>
                        <a14:backgroundMark x1="4306" y1="27651" x2="4306" y2="27651"/>
                        <a14:backgroundMark x1="4976" y1="25364" x2="4976" y2="2702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576" r="59636"/>
          <a:stretch/>
        </p:blipFill>
        <p:spPr bwMode="auto">
          <a:xfrm>
            <a:off x="0" y="1205379"/>
            <a:ext cx="3007187" cy="5652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DF90080-DB4A-FE56-8692-4AF3071BD9A1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4A5C905-ACF6-6FB8-7B1A-90D45595D950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AE5D801-9A6E-6C53-5957-A04F7598CF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81402B6-FC38-6B7D-94B6-E8F1E9AF3A59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30BD92D-8A0B-AE01-DB71-1714438AA7CE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966391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OTH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">
            <a:extLst>
              <a:ext uri="{FF2B5EF4-FFF2-40B4-BE49-F238E27FC236}">
                <a16:creationId xmlns:a16="http://schemas.microsoft.com/office/drawing/2014/main" id="{C902C83D-4C13-410D-8053-A68EDCD3CE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8" y="-1"/>
            <a:ext cx="7961613" cy="6862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592CC03-F46D-D2E0-6304-A0F42105D797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842D401-8CD7-717F-C666-0298B81451D6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FDE997D-3EC0-EBE9-8638-1F95A399DA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8610B1E-8A4D-A92B-626A-EB50E9B56B54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B7CCFE4-1E97-A8F9-2704-0097445291F8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8432578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OTH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4C09028A-120A-4A2D-A0F6-8C6E56A3B36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6787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>
            <a:extLst>
              <a:ext uri="{FF2B5EF4-FFF2-40B4-BE49-F238E27FC236}">
                <a16:creationId xmlns:a16="http://schemas.microsoft.com/office/drawing/2014/main" id="{B13AD673-57C3-4D5B-8979-8AD868B5A0F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0144" b="82297" l="107" r="62073">
                        <a14:foregroundMark x1="107" y1="47608" x2="1709" y2="56459"/>
                        <a14:foregroundMark x1="12738" y1="64682" x2="43590" y2="75957"/>
                        <a14:foregroundMark x1="2350" y1="60885" x2="4250" y2="61579"/>
                        <a14:foregroundMark x1="43590" y1="75957" x2="56517" y2="78230"/>
                        <a14:foregroundMark x1="5401" y1="64408" x2="13248" y2="82297"/>
                        <a14:foregroundMark x1="37607" y1="30263" x2="39957" y2="35526"/>
                        <a14:foregroundMark x1="58761" y1="38517" x2="58226" y2="41986"/>
                        <a14:foregroundMark x1="58994" y1="48565" x2="58974" y2="49880"/>
                        <a14:foregroundMark x1="59025" y1="46522" x2="59019" y2="46890"/>
                        <a14:foregroundMark x1="59081" y1="42823" x2="59062" y2="44106"/>
                        <a14:foregroundMark x1="60897" y1="52273" x2="60897" y2="58732"/>
                        <a14:foregroundMark x1="62073" y1="66148" x2="55769" y2="75239"/>
                        <a14:foregroundMark x1="55769" y1="75239" x2="55342" y2="75598"/>
                        <a14:foregroundMark x1="19017" y1="60287" x2="26068" y2="60526"/>
                        <a14:foregroundMark x1="26068" y1="60526" x2="35043" y2="60167"/>
                        <a14:foregroundMark x1="35043" y1="60167" x2="35470" y2="60048"/>
                        <a14:backgroundMark x1="3526" y1="48565" x2="6197" y2="57536"/>
                        <a14:backgroundMark x1="50962" y1="54067" x2="50855" y2="64952"/>
                        <a14:backgroundMark x1="50855" y1="64952" x2="50855" y2="64952"/>
                        <a14:backgroundMark x1="58761" y1="44019" x2="58226" y2="46292"/>
                        <a14:backgroundMark x1="58761" y1="46651" x2="58761" y2="46651"/>
                        <a14:backgroundMark x1="58761" y1="46890" x2="58761" y2="48565"/>
                        <a14:backgroundMark x1="534" y1="62919" x2="2350" y2="64833"/>
                        <a14:backgroundMark x1="4487" y1="63278" x2="5662" y2="64115"/>
                        <a14:backgroundMark x1="4060" y1="62560" x2="5342" y2="62679"/>
                        <a14:backgroundMark x1="5449" y1="64593" x2="5449" y2="64593"/>
                        <a14:backgroundMark x1="5983" y1="62201" x2="5449" y2="64474"/>
                        <a14:backgroundMark x1="6624" y1="62560" x2="11432" y2="63995"/>
                        <a14:backgroundMark x1="12714" y1="62201" x2="13782" y2="63995"/>
                        <a14:backgroundMark x1="14850" y1="63038" x2="20513" y2="63158"/>
                        <a14:backgroundMark x1="17968" y1="62097" x2="19444" y2="62201"/>
                        <a14:backgroundMark x1="21304" y1="62105" x2="21154" y2="62440"/>
                        <a14:backgroundMark x1="22543" y1="62081" x2="23397" y2="62799"/>
                        <a14:backgroundMark x1="26380" y1="62202" x2="26923" y2="63158"/>
                        <a14:backgroundMark x1="25852" y1="62259" x2="27671" y2="63278"/>
                        <a14:backgroundMark x1="29292" y1="62086" x2="30449" y2="62919"/>
                        <a14:backgroundMark x1="33883" y1="62253" x2="35363" y2="63038"/>
                        <a14:backgroundMark x1="34081" y1="63278" x2="35256" y2="63278"/>
                        <a14:backgroundMark x1="31554" y1="61996" x2="32372" y2="63278"/>
                        <a14:backgroundMark x1="31410" y1="62560" x2="31303" y2="63278"/>
                        <a14:backgroundMark x1="29382" y1="58705" x2="27671" y2="58254"/>
                        <a14:backgroundMark x1="38034" y1="57656" x2="36218" y2="58134"/>
                        <a14:backgroundMark x1="33120" y1="57416" x2="33120" y2="57416"/>
                        <a14:backgroundMark x1="47543" y1="65789" x2="48825" y2="68301"/>
                        <a14:backgroundMark x1="60791" y1="66148" x2="60791" y2="66148"/>
                        <a14:backgroundMark x1="40705" y1="65909" x2="41667" y2="674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9007" r="33283" b="16293"/>
          <a:stretch/>
        </p:blipFill>
        <p:spPr bwMode="auto">
          <a:xfrm>
            <a:off x="1" y="1989252"/>
            <a:ext cx="5123072" cy="3751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DF824A6-FBEA-290C-A96E-FD40202A68B4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18F7E67-1EF1-0707-0D52-E2A81F6AC4CE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4FB020C-49F0-06EF-75BB-452D653994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53B586C-BC90-C2C8-EC83-B28CC39F48C9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BC22EA8-1665-B18B-578C-EB8EEAF89854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019357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OTH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AC757853-035A-45B5-8E0E-9B9016F39C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827" y="0"/>
            <a:ext cx="69770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>
            <a:extLst>
              <a:ext uri="{FF2B5EF4-FFF2-40B4-BE49-F238E27FC236}">
                <a16:creationId xmlns:a16="http://schemas.microsoft.com/office/drawing/2014/main" id="{17A2D106-0FD4-4D4C-9B41-4C91A2F166F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9826" b="99187" l="685" r="58904">
                        <a14:foregroundMark x1="15868" y1="49826" x2="16438" y2="51684"/>
                        <a14:foregroundMark x1="4680" y1="79559" x2="1027" y2="94774"/>
                        <a14:foregroundMark x1="8562" y1="96516" x2="31279" y2="99419"/>
                        <a14:foregroundMark x1="31279" y1="99419" x2="39612" y2="98490"/>
                        <a14:foregroundMark x1="45662" y1="98490" x2="47831" y2="98839"/>
                        <a14:foregroundMark x1="15639" y1="52846" x2="15639" y2="52846"/>
                        <a14:foregroundMark x1="18151" y1="50871" x2="18151" y2="50871"/>
                        <a14:foregroundMark x1="18151" y1="50871" x2="16553" y2="51916"/>
                        <a14:foregroundMark x1="55708" y1="54239" x2="55936" y2="61324"/>
                        <a14:foregroundMark x1="55936" y1="61324" x2="55936" y2="61324"/>
                        <a14:foregroundMark x1="57306" y1="57027" x2="58904" y2="61208"/>
                        <a14:backgroundMark x1="9247" y1="51336" x2="8904" y2="67131"/>
                        <a14:backgroundMark x1="26826" y1="53891" x2="42352" y2="66434"/>
                        <a14:backgroundMark x1="28653" y1="71429" x2="36644" y2="73055"/>
                        <a14:backgroundMark x1="28082" y1="71196" x2="28082" y2="7119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8125" r="49980" b="-1"/>
          <a:stretch/>
        </p:blipFill>
        <p:spPr bwMode="auto">
          <a:xfrm>
            <a:off x="-11668" y="3295973"/>
            <a:ext cx="3489895" cy="3557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105230" y="240788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3E7CB7B-0F5B-E77D-B244-2B45F8A773EA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339AAE4-66A6-E340-EC0F-923ABFCF2B47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ACE6598-033F-A226-5518-FFC2E42E96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BC65522-C242-81E5-F1B6-1D74944FD4CE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3A3EB70-925F-CE8C-8E77-216FA76981CE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91854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11">
            <a:extLst>
              <a:ext uri="{FF2B5EF4-FFF2-40B4-BE49-F238E27FC236}">
                <a16:creationId xmlns:a16="http://schemas.microsoft.com/office/drawing/2014/main" id="{1B34DE5A-A590-4BC7-967E-C466D1AB8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12"/>
          <a:stretch/>
        </p:blipFill>
        <p:spPr>
          <a:xfrm>
            <a:off x="-207754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58372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FFC000"/>
              </a:gs>
              <a:gs pos="94000">
                <a:srgbClr val="FFC000">
                  <a:alpha val="41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AA316804-1769-4051-BE67-10D3164B8E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1528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01859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F8480B8-80C3-43B8-A629-C680F60D2ED5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/>
              </a:gs>
              <a:gs pos="94000">
                <a:srgbClr val="00AEEF">
                  <a:alpha val="4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6" name="Picture Placeholder 16">
            <a:extLst>
              <a:ext uri="{FF2B5EF4-FFF2-40B4-BE49-F238E27FC236}">
                <a16:creationId xmlns:a16="http://schemas.microsoft.com/office/drawing/2014/main" id="{9B943C83-6792-468C-8670-C042E6FB9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5854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80687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F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21">
            <a:extLst>
              <a:ext uri="{FF2B5EF4-FFF2-40B4-BE49-F238E27FC236}">
                <a16:creationId xmlns:a16="http://schemas.microsoft.com/office/drawing/2014/main" id="{43FDDFA6-320F-420A-AC82-CAC91807A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9"/>
          <a:stretch/>
        </p:blipFill>
        <p:spPr>
          <a:xfrm>
            <a:off x="-271254" y="-294381"/>
            <a:ext cx="4732119" cy="4732119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813096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23" descr="A picture containing person&#10;&#10;Description automatically generated">
            <a:extLst>
              <a:ext uri="{FF2B5EF4-FFF2-40B4-BE49-F238E27FC236}">
                <a16:creationId xmlns:a16="http://schemas.microsoft.com/office/drawing/2014/main" id="{7F16EA21-8B87-469D-A3E8-3FEA074A8D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1"/>
          <a:stretch/>
        </p:blipFill>
        <p:spPr>
          <a:xfrm>
            <a:off x="-251886" y="-279239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65523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FFC000"/>
              </a:gs>
              <a:gs pos="94000">
                <a:srgbClr val="FFC000">
                  <a:alpha val="41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8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610F21B1-7101-45F6-AA38-752ED285B1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5379" y="-284856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8345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F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4">
            <a:extLst>
              <a:ext uri="{FF2B5EF4-FFF2-40B4-BE49-F238E27FC236}">
                <a16:creationId xmlns:a16="http://schemas.microsoft.com/office/drawing/2014/main" id="{96BE2E8B-4F21-448D-9169-41CC70C477A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-868" y="0"/>
            <a:ext cx="813763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">
            <a:extLst>
              <a:ext uri="{FF2B5EF4-FFF2-40B4-BE49-F238E27FC236}">
                <a16:creationId xmlns:a16="http://schemas.microsoft.com/office/drawing/2014/main" id="{E163D1F5-C5BA-4FF9-8B26-A03AA203D29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90" b="99792" l="32727" r="70579">
                        <a14:foregroundMark x1="55455" y1="50780" x2="50661" y2="51821"/>
                        <a14:foregroundMark x1="67360" y1="47043" x2="67646" y2="54115"/>
                        <a14:foregroundMark x1="66281" y1="20291" x2="67356" y2="46928"/>
                        <a14:foregroundMark x1="68043" y1="65556" x2="66116" y2="72633"/>
                        <a14:foregroundMark x1="66116" y1="72633" x2="63554" y2="71072"/>
                        <a14:foregroundMark x1="59091" y1="59729" x2="50909" y2="99792"/>
                        <a14:foregroundMark x1="64463" y1="19459" x2="60496" y2="29553"/>
                        <a14:foregroundMark x1="66446" y1="20499" x2="70165" y2="26015"/>
                        <a14:foregroundMark x1="70165" y1="26015" x2="70430" y2="29683"/>
                        <a14:foregroundMark x1="64215" y1="19979" x2="52810" y2="23413"/>
                        <a14:foregroundMark x1="60331" y1="18835" x2="50992" y2="24246"/>
                        <a14:foregroundMark x1="59008" y1="19043" x2="52397" y2="23205"/>
                        <a14:foregroundMark x1="52397" y1="23205" x2="51736" y2="24142"/>
                        <a14:foregroundMark x1="43554" y1="68574" x2="36033" y2="94381"/>
                        <a14:foregroundMark x1="36033" y1="94381" x2="32727" y2="98855"/>
                        <a14:foregroundMark x1="38017" y1="69823" x2="33802" y2="92612"/>
                        <a14:foregroundMark x1="46694" y1="70968" x2="43140" y2="77419"/>
                        <a14:foregroundMark x1="64711" y1="51405" x2="65289" y2="59105"/>
                        <a14:foregroundMark x1="65537" y1="67430" x2="58264" y2="99584"/>
                        <a14:foregroundMark x1="70579" y1="26223" x2="67603" y2="21956"/>
                        <a14:foregroundMark x1="70248" y1="25702" x2="67603" y2="21748"/>
                        <a14:foregroundMark x1="51322" y1="24454" x2="47686" y2="30385"/>
                        <a14:foregroundMark x1="47686" y1="30385" x2="47686" y2="30385"/>
                        <a14:foregroundMark x1="50992" y1="24454" x2="47934" y2="29969"/>
                        <a14:backgroundMark x1="71240" y1="29865" x2="68760" y2="47242"/>
                        <a14:backgroundMark x1="68760" y1="47242" x2="69256" y2="54943"/>
                        <a14:backgroundMark x1="69256" y1="54943" x2="68760" y2="57024"/>
                        <a14:backgroundMark x1="67851" y1="54110" x2="68017" y2="655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877" r="28609"/>
          <a:stretch/>
        </p:blipFill>
        <p:spPr bwMode="auto">
          <a:xfrm flipH="1">
            <a:off x="1850719" y="-10556"/>
            <a:ext cx="3693747" cy="6893955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04323F2-1941-4F49-92D8-0EDDF6EDBD9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837035D-5F63-4BD9-9B64-04B7DB5F7F3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Circle: Hollow 13">
              <a:extLst>
                <a:ext uri="{FF2B5EF4-FFF2-40B4-BE49-F238E27FC236}">
                  <a16:creationId xmlns:a16="http://schemas.microsoft.com/office/drawing/2014/main" id="{E3DE8605-1CD3-4052-B0DA-BEFA96AA159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FED25739-38B4-4110-9C53-DA5DCDE3B9F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1F20A66-6C99-4916-8816-F167107725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74C7EDC0-EBCE-4E3A-9D16-C443CA7804B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B977C1F6-60A7-4B1B-9B31-DDE34B0B2F0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B510FB1A-C3B2-4CF5-8B2C-BBFB32FCFA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766107F-7B2A-4F22-A601-9C16F5B246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Circle: Hollow 20">
              <a:extLst>
                <a:ext uri="{FF2B5EF4-FFF2-40B4-BE49-F238E27FC236}">
                  <a16:creationId xmlns:a16="http://schemas.microsoft.com/office/drawing/2014/main" id="{EA64F1F5-B827-4EA5-8933-E799B8E47C2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2" name="Circle: Hollow 21">
              <a:extLst>
                <a:ext uri="{FF2B5EF4-FFF2-40B4-BE49-F238E27FC236}">
                  <a16:creationId xmlns:a16="http://schemas.microsoft.com/office/drawing/2014/main" id="{126DA8CC-2FAC-4DF8-971C-2E34B29CB1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6323C646-80F1-4602-AF8A-86A0673FCE7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D443EF24-E818-47BF-B8CF-6146C4DE698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8496846-3226-4DAD-A0D5-7D8EF98CA34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9C359CD-B1AF-454E-9332-15F4BC62967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7" name="Circle: Hollow 26">
              <a:extLst>
                <a:ext uri="{FF2B5EF4-FFF2-40B4-BE49-F238E27FC236}">
                  <a16:creationId xmlns:a16="http://schemas.microsoft.com/office/drawing/2014/main" id="{880AD3B9-F91A-486B-86B6-CAD8EAA4304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8A7D310-3144-4D73-89B9-504A0D7A25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AE2BFF1-642E-4793-93E5-D89D6AED52E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DBD37EEF-F4C0-4062-9F31-DDF51B0450F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C866BA0-A3D8-4195-919B-8111B82EA0F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E8B01D4-3BE6-404D-865E-34AC3CBED0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92553F8-8827-418A-8D3A-834DCD9F22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5BE81F47-731F-428A-8ACC-50DA1EDD0FC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60E52D23-97A4-4275-8E22-44A3E492E0F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425FB51-11B9-4DD8-958D-FBFB22BFC0B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7E26436-FC86-482A-A140-A3786CAC5AE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E28B611-2B90-4E9E-A804-9B799DAE96E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8BD5ED52-6BF2-4195-A6B2-DE80F38E092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6C2FEF86-6B99-44C8-BE8D-CE15F48C8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0382D9A-89BF-4090-86B5-346755BC8F4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B31359F2-D4BA-4B7F-8F88-47D020CC3E1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86FB5339-6178-417C-BAFD-AB5606A35A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4A6D78A-A307-44EE-B5BD-F305D59F32D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12192DCC-0F5E-4193-A87B-74A0D413E47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BB951C-002A-4272-A19E-7C8E633051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3547E64B-4174-4EE0-9189-D6362E41C78B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CC08A981-C9F9-435A-903D-E7619E0950B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D2AD646A-2E19-4579-9412-3377DD2A4A6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DFDA3CB9-8E7E-4580-AE92-5A5EA2DD1D2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22ECC116-6CBE-46B5-997C-AFD811BFE2A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80833912-207A-4794-82C3-302AD41A3C2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Circle: Hollow 52">
              <a:extLst>
                <a:ext uri="{FF2B5EF4-FFF2-40B4-BE49-F238E27FC236}">
                  <a16:creationId xmlns:a16="http://schemas.microsoft.com/office/drawing/2014/main" id="{35A6ABC5-1F91-4587-9A4D-12549EBDC0C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4" name="Circle: Hollow 53">
              <a:extLst>
                <a:ext uri="{FF2B5EF4-FFF2-40B4-BE49-F238E27FC236}">
                  <a16:creationId xmlns:a16="http://schemas.microsoft.com/office/drawing/2014/main" id="{5BCD3E4E-188B-4795-BFEF-2E97AE3CF88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9799027-6EA8-CB4C-1EFC-C58C27850773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4293A89-71EC-11A8-DC72-89EBA25A9F30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3FC4284-68E5-5774-C4A2-1E481795AC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2465156-EEE5-35D6-D909-4402260305D0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FC16B14-1EC2-1ECD-8AEB-E85A43593582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05252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F8480B8-80C3-43B8-A629-C680F60D2ED5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/>
              </a:gs>
              <a:gs pos="94000">
                <a:srgbClr val="00AEEF">
                  <a:alpha val="4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13" descr="A person sitting on the ground&#10;&#10;Description automatically generated with medium confidence">
            <a:extLst>
              <a:ext uri="{FF2B5EF4-FFF2-40B4-BE49-F238E27FC236}">
                <a16:creationId xmlns:a16="http://schemas.microsoft.com/office/drawing/2014/main" id="{673F2E3E-A5AB-4A07-87D1-393D6A6DFF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1878" y="-284856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55165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FFC000"/>
              </a:gs>
              <a:gs pos="94000">
                <a:srgbClr val="FFC000">
                  <a:alpha val="41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18" descr="A couple of women sitting on a bench&#10;&#10;Description automatically generated with low confidence">
            <a:extLst>
              <a:ext uri="{FF2B5EF4-FFF2-40B4-BE49-F238E27FC236}">
                <a16:creationId xmlns:a16="http://schemas.microsoft.com/office/drawing/2014/main" id="{491A181A-B572-41EC-BE10-4C83F9B82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70560" y="-311270"/>
            <a:ext cx="4754940" cy="4765898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97191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42" descr="A person stands next to a horse&#10;&#10;Description automatically generated with medium confidence">
            <a:extLst>
              <a:ext uri="{FF2B5EF4-FFF2-40B4-BE49-F238E27FC236}">
                <a16:creationId xmlns:a16="http://schemas.microsoft.com/office/drawing/2014/main" id="{FC6D0D84-00D1-4A8B-9C12-4DD55673B0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8554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16109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FFC000"/>
              </a:gs>
              <a:gs pos="94000">
                <a:srgbClr val="FFC000">
                  <a:alpha val="41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27">
            <a:extLst>
              <a:ext uri="{FF2B5EF4-FFF2-40B4-BE49-F238E27FC236}">
                <a16:creationId xmlns:a16="http://schemas.microsoft.com/office/drawing/2014/main" id="{5A6E0A02-9478-4350-A40E-F036FFA0C8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51878" y="-29039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10740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F8480B8-80C3-43B8-A629-C680F60D2ED5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/>
              </a:gs>
              <a:gs pos="94000">
                <a:srgbClr val="00AEEF">
                  <a:alpha val="4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7" name="Picture Placeholder 37" descr="A person wearing a garment&#10;&#10;Description automatically generated with low confidence">
            <a:extLst>
              <a:ext uri="{FF2B5EF4-FFF2-40B4-BE49-F238E27FC236}">
                <a16:creationId xmlns:a16="http://schemas.microsoft.com/office/drawing/2014/main" id="{6B3B84B2-BAE5-4993-9656-323A4F0FD2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8242" y="-2816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392210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F8480B8-80C3-43B8-A629-C680F60D2ED5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/>
              </a:gs>
              <a:gs pos="94000">
                <a:srgbClr val="00AEEF">
                  <a:alpha val="4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32" descr="A picture containing person, trouser&#10;&#10;Description automatically generated">
            <a:extLst>
              <a:ext uri="{FF2B5EF4-FFF2-40B4-BE49-F238E27FC236}">
                <a16:creationId xmlns:a16="http://schemas.microsoft.com/office/drawing/2014/main" id="{AAE251DD-C72A-4799-894C-96C6CF0B18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9"/>
          <a:stretch/>
        </p:blipFill>
        <p:spPr>
          <a:xfrm>
            <a:off x="-233154" y="-282556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96743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195">
            <a:extLst>
              <a:ext uri="{FF2B5EF4-FFF2-40B4-BE49-F238E27FC236}">
                <a16:creationId xmlns:a16="http://schemas.microsoft.com/office/drawing/2014/main" id="{1C2CC4FD-AA5C-43E0-8F84-4374716073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4495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81160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FFC000"/>
              </a:gs>
              <a:gs pos="94000">
                <a:srgbClr val="FFC000">
                  <a:alpha val="41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209">
            <a:extLst>
              <a:ext uri="{FF2B5EF4-FFF2-40B4-BE49-F238E27FC236}">
                <a16:creationId xmlns:a16="http://schemas.microsoft.com/office/drawing/2014/main" id="{5E0BD08A-6854-4CC0-B24F-F237076F3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8554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900499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F8480B8-80C3-43B8-A629-C680F60D2ED5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/>
              </a:gs>
              <a:gs pos="94000">
                <a:srgbClr val="00AEEF">
                  <a:alpha val="4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190">
            <a:extLst>
              <a:ext uri="{FF2B5EF4-FFF2-40B4-BE49-F238E27FC236}">
                <a16:creationId xmlns:a16="http://schemas.microsoft.com/office/drawing/2014/main" id="{B8DDE6F2-9F9B-41F2-B2A3-6DC9E6FA12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58554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81270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204">
            <a:extLst>
              <a:ext uri="{FF2B5EF4-FFF2-40B4-BE49-F238E27FC236}">
                <a16:creationId xmlns:a16="http://schemas.microsoft.com/office/drawing/2014/main" id="{78B21EA6-36D0-435A-9C96-0841F750F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1528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96902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79C00F28-B628-41DD-8234-BA7516F71C9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4658"/>
          <a:stretch/>
        </p:blipFill>
        <p:spPr bwMode="auto">
          <a:xfrm>
            <a:off x="0" y="0"/>
            <a:ext cx="698131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2F3D023-E23A-4E03-84C8-69F0966B73B0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B8030D7-615E-4293-82C1-DE20FE117CE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CCD9D61-099D-45E0-99F3-8F5C167D7F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Circle: Hollow 13">
              <a:extLst>
                <a:ext uri="{FF2B5EF4-FFF2-40B4-BE49-F238E27FC236}">
                  <a16:creationId xmlns:a16="http://schemas.microsoft.com/office/drawing/2014/main" id="{659F2B10-1E06-40C6-9E26-2720F4D5D9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BBF4286-8421-44F4-AEC4-5077219CFB7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Circle: Hollow 15">
              <a:extLst>
                <a:ext uri="{FF2B5EF4-FFF2-40B4-BE49-F238E27FC236}">
                  <a16:creationId xmlns:a16="http://schemas.microsoft.com/office/drawing/2014/main" id="{EFED5782-2621-4512-8A45-DE47726246A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F583398-3426-42D1-815C-310F9ABFE4B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80BE6341-C3C8-4F53-963D-F29934F22E3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19D7686-861A-4A07-84AC-8988F088414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08D9A70A-59D0-46D3-9D08-3634FD7F17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Circle: Hollow 20">
              <a:extLst>
                <a:ext uri="{FF2B5EF4-FFF2-40B4-BE49-F238E27FC236}">
                  <a16:creationId xmlns:a16="http://schemas.microsoft.com/office/drawing/2014/main" id="{84BDDEE6-33B5-4006-8C17-BDB035DD01A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358D785-F1B4-4DD5-94EB-3235FA7F687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08EE7F6-076F-4D93-AD7D-A61B733B7E0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EFA4C30-62D4-477A-A6DB-02750BA0A1F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CA33E31B-D6EC-4253-8C29-24EE33940D2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6" name="Circle: Hollow 25">
              <a:extLst>
                <a:ext uri="{FF2B5EF4-FFF2-40B4-BE49-F238E27FC236}">
                  <a16:creationId xmlns:a16="http://schemas.microsoft.com/office/drawing/2014/main" id="{D738AF29-7576-4D48-8709-6DA0929506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733DC169-90EC-4BF0-B7DD-90E78BF8F2B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148F100-A352-4849-B456-2937885CCB9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540FF2B-C7CD-4698-9697-56EE132D71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62772A6-E0A1-4381-BAA9-90C0927A94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7156ED00-4FAC-431E-AC3B-E27166E85A3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347B9F0-2CDB-42E7-9878-B83E2E90BF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E949F0D-B1E8-4F39-AF33-CE1331BCAAB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5C686CBE-7764-4AC6-B24B-45A23BFD3EE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C1C87805-910C-413A-95AE-5BFF2867812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44C93A3-C08C-484B-A04F-47F7D5DF5A1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E0F4B9F9-B2D4-44BA-B93F-BDB266263FF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0441CCC0-63A0-4E6C-A75C-E7C19ACD7D8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FDE5369-3494-44C3-AD82-73F7F55558A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1675B0AF-342F-4567-AF36-EE408405D012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B70EB615-D6DD-4F90-BB25-13D4183CB92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10635603-06E9-47E7-A4B4-9338D68F6B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92FDEA22-6AB8-4599-8BF8-939E903AD06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DF884DE7-D691-4DC8-840F-9AC707FABEA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D9B360CA-B082-4DB8-B91D-7F27636A941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5C21C763-24B4-43A8-8E34-E475A34FE82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9FC415E4-06EB-4B1F-98A5-3EAC7E70123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7C7325B8-C8BD-4107-A7B6-DB468D0781E1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42CFF533-113C-454B-BA3B-D668F5DB6C4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29653B6-1785-4649-8F48-97DE2B192C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C889914-18C6-4DE7-8EC2-F62CB29F2059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AFAB4A5F-1A4C-4048-9DC6-697664180D6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3" name="Circle: Hollow 52">
              <a:extLst>
                <a:ext uri="{FF2B5EF4-FFF2-40B4-BE49-F238E27FC236}">
                  <a16:creationId xmlns:a16="http://schemas.microsoft.com/office/drawing/2014/main" id="{70CA7F9B-063D-46CC-86B7-A13247F54C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BDA8CAD-F8DF-A5C9-844F-4119211BBAC6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B5FB3D7-407F-FE5C-33E6-C64639680857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A2FAC38-C6E7-D9A1-FCEA-521886C4120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96C571D-757E-6332-BC7D-23240F5143FA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1C014F6-D802-D01A-B253-7D966C6075FC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37249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50915DD-5EE5-49E3-8AC8-C442BCE6948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48828" y="-299292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77917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FFC000"/>
              </a:gs>
              <a:gs pos="94000">
                <a:srgbClr val="FFC000">
                  <a:alpha val="41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17">
            <a:extLst>
              <a:ext uri="{FF2B5EF4-FFF2-40B4-BE49-F238E27FC236}">
                <a16:creationId xmlns:a16="http://schemas.microsoft.com/office/drawing/2014/main" id="{4CDEE063-EA26-468A-AFDA-44D797D69B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56214" y="-28803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80221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F8480B8-80C3-43B8-A629-C680F60D2ED5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/>
              </a:gs>
              <a:gs pos="94000">
                <a:srgbClr val="00AEEF">
                  <a:alpha val="4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13">
            <a:extLst>
              <a:ext uri="{FF2B5EF4-FFF2-40B4-BE49-F238E27FC236}">
                <a16:creationId xmlns:a16="http://schemas.microsoft.com/office/drawing/2014/main" id="{77E1F9EE-A329-483E-8900-3AECA7CA9EF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45854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90408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6FD64248-CA7C-43DF-8841-6CBDF67BBA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937CCF2B-AE90-4BCD-9D59-A4373A3ACC6D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69000"/>
                </a:schemeClr>
              </a:gs>
              <a:gs pos="63000">
                <a:schemeClr val="bg1">
                  <a:lumMod val="65000"/>
                  <a:alpha val="47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FE98D32E-5A0E-479F-82DC-AD357EC126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553C083-E55A-4094-8B49-FECA80473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DE30343A-8BB0-43F9-922D-7031CC16589B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71254" y="-294381"/>
            <a:ext cx="4732119" cy="4732119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576235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NO IMAG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FF037FB-6F29-464F-B02A-E8152D1056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534800E-A18B-4128-B4E9-8D8C6446D900}"/>
              </a:ext>
            </a:extLst>
          </p:cNvPr>
          <p:cNvSpPr/>
          <p:nvPr userDrawn="1"/>
        </p:nvSpPr>
        <p:spPr>
          <a:xfrm>
            <a:off x="797778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164AEC0-E358-4EB4-AB5A-6690F3791865}"/>
              </a:ext>
            </a:extLst>
          </p:cNvPr>
          <p:cNvSpPr/>
          <p:nvPr userDrawn="1"/>
        </p:nvSpPr>
        <p:spPr>
          <a:xfrm>
            <a:off x="7146328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3032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3984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493502" y="17572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FCBA749-C4B2-47AC-9C03-3197F3AFCEA7}"/>
              </a:ext>
            </a:extLst>
          </p:cNvPr>
          <p:cNvSpPr/>
          <p:nvPr userDrawn="1"/>
        </p:nvSpPr>
        <p:spPr>
          <a:xfrm>
            <a:off x="3962995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F0F26E2-6984-497F-8C8D-A3D6BEA48D1F}"/>
              </a:ext>
            </a:extLst>
          </p:cNvPr>
          <p:cNvSpPr>
            <a:spLocks noChangeAspect="1"/>
          </p:cNvSpPr>
          <p:nvPr userDrawn="1"/>
        </p:nvSpPr>
        <p:spPr>
          <a:xfrm>
            <a:off x="9805968" y="3941728"/>
            <a:ext cx="1397331" cy="1383857"/>
          </a:xfrm>
          <a:prstGeom prst="ellipse">
            <a:avLst/>
          </a:prstGeom>
          <a:gradFill flip="none" rotWithShape="1">
            <a:gsLst>
              <a:gs pos="0">
                <a:srgbClr val="00AEEF">
                  <a:alpha val="17000"/>
                </a:srgbClr>
              </a:gs>
              <a:gs pos="65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5A7EBCD1-E692-4D90-ACF4-D8EE45581A6E}"/>
              </a:ext>
            </a:extLst>
          </p:cNvPr>
          <p:cNvSpPr>
            <a:spLocks noChangeAspect="1"/>
          </p:cNvSpPr>
          <p:nvPr userDrawn="1"/>
        </p:nvSpPr>
        <p:spPr>
          <a:xfrm>
            <a:off x="9464100" y="3596277"/>
            <a:ext cx="2081068" cy="2061001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70B96ED-B0F5-471C-B4A4-CA83B23B03F9}"/>
              </a:ext>
            </a:extLst>
          </p:cNvPr>
          <p:cNvSpPr>
            <a:spLocks noChangeAspect="1"/>
          </p:cNvSpPr>
          <p:nvPr userDrawn="1"/>
        </p:nvSpPr>
        <p:spPr>
          <a:xfrm>
            <a:off x="9034255" y="4793407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71F4BA5-F1C8-464D-A35E-C600990EED94}"/>
              </a:ext>
            </a:extLst>
          </p:cNvPr>
          <p:cNvSpPr>
            <a:spLocks noChangeAspect="1"/>
          </p:cNvSpPr>
          <p:nvPr userDrawn="1"/>
        </p:nvSpPr>
        <p:spPr>
          <a:xfrm>
            <a:off x="9447509" y="5325585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15F4E2-B545-FD97-393A-4926FD53FC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4506" y="2158097"/>
            <a:ext cx="8137980" cy="4218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73917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NO IMAG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FF037FB-6F29-464F-B02A-E8152D1056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534800E-A18B-4128-B4E9-8D8C6446D900}"/>
              </a:ext>
            </a:extLst>
          </p:cNvPr>
          <p:cNvSpPr/>
          <p:nvPr userDrawn="1"/>
        </p:nvSpPr>
        <p:spPr>
          <a:xfrm>
            <a:off x="797778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FCBA749-C4B2-47AC-9C03-3197F3AFCEA7}"/>
              </a:ext>
            </a:extLst>
          </p:cNvPr>
          <p:cNvSpPr/>
          <p:nvPr userDrawn="1"/>
        </p:nvSpPr>
        <p:spPr>
          <a:xfrm>
            <a:off x="3962995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3032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3984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493502" y="17572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164AEC0-E358-4EB4-AB5A-6690F3791865}"/>
              </a:ext>
            </a:extLst>
          </p:cNvPr>
          <p:cNvSpPr/>
          <p:nvPr userDrawn="1"/>
        </p:nvSpPr>
        <p:spPr>
          <a:xfrm>
            <a:off x="7146328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F4B32B3B-A5F6-4E29-BB11-FAD5271B3BCA}"/>
              </a:ext>
            </a:extLst>
          </p:cNvPr>
          <p:cNvSpPr>
            <a:spLocks noChangeAspect="1"/>
          </p:cNvSpPr>
          <p:nvPr userDrawn="1"/>
        </p:nvSpPr>
        <p:spPr>
          <a:xfrm>
            <a:off x="9805968" y="3941728"/>
            <a:ext cx="1397331" cy="1383857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75000"/>
                  <a:alpha val="96000"/>
                </a:schemeClr>
              </a:gs>
              <a:gs pos="65000">
                <a:srgbClr val="FFC000">
                  <a:alpha val="62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6" name="Circle: Hollow 65">
            <a:extLst>
              <a:ext uri="{FF2B5EF4-FFF2-40B4-BE49-F238E27FC236}">
                <a16:creationId xmlns:a16="http://schemas.microsoft.com/office/drawing/2014/main" id="{841022AF-BF8D-4CD1-B085-8A7B4547899A}"/>
              </a:ext>
            </a:extLst>
          </p:cNvPr>
          <p:cNvSpPr>
            <a:spLocks noChangeAspect="1"/>
          </p:cNvSpPr>
          <p:nvPr userDrawn="1"/>
        </p:nvSpPr>
        <p:spPr>
          <a:xfrm>
            <a:off x="9464100" y="3596277"/>
            <a:ext cx="2081068" cy="2061001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chemeClr val="accent4">
                  <a:lumMod val="75000"/>
                  <a:alpha val="96000"/>
                </a:schemeClr>
              </a:gs>
              <a:gs pos="65000">
                <a:srgbClr val="FFC000">
                  <a:alpha val="62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614CB323-962F-4480-9FA2-E59FDE853C95}"/>
              </a:ext>
            </a:extLst>
          </p:cNvPr>
          <p:cNvSpPr>
            <a:spLocks noChangeAspect="1"/>
          </p:cNvSpPr>
          <p:nvPr userDrawn="1"/>
        </p:nvSpPr>
        <p:spPr>
          <a:xfrm>
            <a:off x="9034255" y="4793407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93271725-8EAA-4D8B-8B10-F2593AB294D3}"/>
              </a:ext>
            </a:extLst>
          </p:cNvPr>
          <p:cNvSpPr>
            <a:spLocks noChangeAspect="1"/>
          </p:cNvSpPr>
          <p:nvPr userDrawn="1"/>
        </p:nvSpPr>
        <p:spPr>
          <a:xfrm>
            <a:off x="9447509" y="5325585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BB481BD-BB54-9B3A-73A4-00A7BA0193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4506" y="2158097"/>
            <a:ext cx="8137980" cy="4218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1873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NO IMAG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FF037FB-6F29-464F-B02A-E8152D1056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FCBA749-C4B2-47AC-9C03-3197F3AFCEA7}"/>
              </a:ext>
            </a:extLst>
          </p:cNvPr>
          <p:cNvSpPr/>
          <p:nvPr userDrawn="1"/>
        </p:nvSpPr>
        <p:spPr>
          <a:xfrm>
            <a:off x="3962995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164AEC0-E358-4EB4-AB5A-6690F3791865}"/>
              </a:ext>
            </a:extLst>
          </p:cNvPr>
          <p:cNvSpPr/>
          <p:nvPr userDrawn="1"/>
        </p:nvSpPr>
        <p:spPr>
          <a:xfrm>
            <a:off x="7146328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3032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3984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493502" y="17572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534800E-A18B-4128-B4E9-8D8C6446D900}"/>
              </a:ext>
            </a:extLst>
          </p:cNvPr>
          <p:cNvSpPr/>
          <p:nvPr userDrawn="1"/>
        </p:nvSpPr>
        <p:spPr>
          <a:xfrm>
            <a:off x="797778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F4B32B3B-A5F6-4E29-BB11-FAD5271B3BCA}"/>
              </a:ext>
            </a:extLst>
          </p:cNvPr>
          <p:cNvSpPr>
            <a:spLocks noChangeAspect="1"/>
          </p:cNvSpPr>
          <p:nvPr userDrawn="1"/>
        </p:nvSpPr>
        <p:spPr>
          <a:xfrm>
            <a:off x="9805968" y="3941728"/>
            <a:ext cx="1397331" cy="1383857"/>
          </a:xfrm>
          <a:prstGeom prst="ellipse">
            <a:avLst/>
          </a:prstGeom>
          <a:gradFill flip="none" rotWithShape="1">
            <a:gsLst>
              <a:gs pos="0">
                <a:srgbClr val="BF3B4B">
                  <a:alpha val="89000"/>
                </a:srgbClr>
              </a:gs>
              <a:gs pos="65000">
                <a:srgbClr val="BF3B4B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6" name="Circle: Hollow 65">
            <a:extLst>
              <a:ext uri="{FF2B5EF4-FFF2-40B4-BE49-F238E27FC236}">
                <a16:creationId xmlns:a16="http://schemas.microsoft.com/office/drawing/2014/main" id="{841022AF-BF8D-4CD1-B085-8A7B4547899A}"/>
              </a:ext>
            </a:extLst>
          </p:cNvPr>
          <p:cNvSpPr>
            <a:spLocks noChangeAspect="1"/>
          </p:cNvSpPr>
          <p:nvPr userDrawn="1"/>
        </p:nvSpPr>
        <p:spPr>
          <a:xfrm>
            <a:off x="9464100" y="3596277"/>
            <a:ext cx="2081068" cy="2061001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rgbClr val="BF3B4B">
                  <a:alpha val="89000"/>
                </a:srgbClr>
              </a:gs>
              <a:gs pos="65000">
                <a:srgbClr val="BF3B4B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614CB323-962F-4480-9FA2-E59FDE853C95}"/>
              </a:ext>
            </a:extLst>
          </p:cNvPr>
          <p:cNvSpPr>
            <a:spLocks noChangeAspect="1"/>
          </p:cNvSpPr>
          <p:nvPr userDrawn="1"/>
        </p:nvSpPr>
        <p:spPr>
          <a:xfrm>
            <a:off x="9034255" y="4793407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93271725-8EAA-4D8B-8B10-F2593AB294D3}"/>
              </a:ext>
            </a:extLst>
          </p:cNvPr>
          <p:cNvSpPr>
            <a:spLocks noChangeAspect="1"/>
          </p:cNvSpPr>
          <p:nvPr userDrawn="1"/>
        </p:nvSpPr>
        <p:spPr>
          <a:xfrm>
            <a:off x="9447509" y="5325585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0950B34-B371-3240-6705-E890F24F2B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4506" y="2158097"/>
            <a:ext cx="8137980" cy="4218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71552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NO IMAG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3367314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2769284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3473073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2769284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3570281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2769283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BBA2604-BE15-4B2A-903F-5A925BB80784}"/>
              </a:ext>
            </a:extLst>
          </p:cNvPr>
          <p:cNvSpPr>
            <a:spLocks noChangeAspect="1"/>
          </p:cNvSpPr>
          <p:nvPr userDrawn="1"/>
        </p:nvSpPr>
        <p:spPr>
          <a:xfrm>
            <a:off x="10248656" y="515909"/>
            <a:ext cx="1223086" cy="1211292"/>
          </a:xfrm>
          <a:prstGeom prst="ellipse">
            <a:avLst/>
          </a:prstGeom>
          <a:gradFill flip="none" rotWithShape="1">
            <a:gsLst>
              <a:gs pos="0">
                <a:srgbClr val="BF3B4B">
                  <a:alpha val="89000"/>
                </a:srgbClr>
              </a:gs>
              <a:gs pos="65000">
                <a:srgbClr val="BF3B4B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1FDA2510-B9CB-48AD-B6A5-484F1EF4C9AB}"/>
              </a:ext>
            </a:extLst>
          </p:cNvPr>
          <p:cNvSpPr>
            <a:spLocks noChangeAspect="1"/>
          </p:cNvSpPr>
          <p:nvPr userDrawn="1"/>
        </p:nvSpPr>
        <p:spPr>
          <a:xfrm>
            <a:off x="9899853" y="170458"/>
            <a:ext cx="1913758" cy="1895304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rgbClr val="BF3B4B">
                  <a:alpha val="89000"/>
                </a:srgbClr>
              </a:gs>
              <a:gs pos="65000">
                <a:srgbClr val="BF3B4B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21267DC-010D-438A-9044-BC46C9AA999A}"/>
              </a:ext>
            </a:extLst>
          </p:cNvPr>
          <p:cNvSpPr>
            <a:spLocks noChangeAspect="1"/>
          </p:cNvSpPr>
          <p:nvPr userDrawn="1"/>
        </p:nvSpPr>
        <p:spPr>
          <a:xfrm>
            <a:off x="11528795" y="1909836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9216B03-6D3D-48E1-9C23-736A84702DD0}"/>
              </a:ext>
            </a:extLst>
          </p:cNvPr>
          <p:cNvSpPr>
            <a:spLocks noChangeAspect="1"/>
          </p:cNvSpPr>
          <p:nvPr userDrawn="1"/>
        </p:nvSpPr>
        <p:spPr>
          <a:xfrm>
            <a:off x="11392969" y="2511468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026C96E-99AB-FD6B-9F9C-600A3651E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54020" y="2127267"/>
            <a:ext cx="7278170" cy="41076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1060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NO IMAGE 5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3367314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2769284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3473073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2769283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3570281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2769284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BBA2604-BE15-4B2A-903F-5A925BB80784}"/>
              </a:ext>
            </a:extLst>
          </p:cNvPr>
          <p:cNvSpPr>
            <a:spLocks noChangeAspect="1"/>
          </p:cNvSpPr>
          <p:nvPr userDrawn="1"/>
        </p:nvSpPr>
        <p:spPr>
          <a:xfrm>
            <a:off x="10248656" y="515909"/>
            <a:ext cx="1223086" cy="1211292"/>
          </a:xfrm>
          <a:prstGeom prst="ellipse">
            <a:avLst/>
          </a:prstGeom>
          <a:gradFill flip="none" rotWithShape="1">
            <a:gsLst>
              <a:gs pos="0">
                <a:srgbClr val="00AEEF"/>
              </a:gs>
              <a:gs pos="65000">
                <a:srgbClr val="00AEEF">
                  <a:alpha val="3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1FDA2510-B9CB-48AD-B6A5-484F1EF4C9AB}"/>
              </a:ext>
            </a:extLst>
          </p:cNvPr>
          <p:cNvSpPr>
            <a:spLocks noChangeAspect="1"/>
          </p:cNvSpPr>
          <p:nvPr userDrawn="1"/>
        </p:nvSpPr>
        <p:spPr>
          <a:xfrm>
            <a:off x="9899853" y="170458"/>
            <a:ext cx="1913758" cy="1895304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rgbClr val="00AEEF"/>
              </a:gs>
              <a:gs pos="65000">
                <a:srgbClr val="00AEEF">
                  <a:alpha val="3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21267DC-010D-438A-9044-BC46C9AA999A}"/>
              </a:ext>
            </a:extLst>
          </p:cNvPr>
          <p:cNvSpPr>
            <a:spLocks noChangeAspect="1"/>
          </p:cNvSpPr>
          <p:nvPr userDrawn="1"/>
        </p:nvSpPr>
        <p:spPr>
          <a:xfrm>
            <a:off x="11528795" y="1909836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9216B03-6D3D-48E1-9C23-736A84702DD0}"/>
              </a:ext>
            </a:extLst>
          </p:cNvPr>
          <p:cNvSpPr>
            <a:spLocks noChangeAspect="1"/>
          </p:cNvSpPr>
          <p:nvPr userDrawn="1"/>
        </p:nvSpPr>
        <p:spPr>
          <a:xfrm>
            <a:off x="11392969" y="2511468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13A0ACC-3E9B-649F-1858-3D9872BA83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54020" y="2127267"/>
            <a:ext cx="7278170" cy="41076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351815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NO IMAGE 6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3367314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2769284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3473073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2769283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3570281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2769284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BBA2604-BE15-4B2A-903F-5A925BB80784}"/>
              </a:ext>
            </a:extLst>
          </p:cNvPr>
          <p:cNvSpPr>
            <a:spLocks noChangeAspect="1"/>
          </p:cNvSpPr>
          <p:nvPr userDrawn="1"/>
        </p:nvSpPr>
        <p:spPr>
          <a:xfrm>
            <a:off x="10248656" y="515909"/>
            <a:ext cx="1223086" cy="1211292"/>
          </a:xfrm>
          <a:prstGeom prst="ellipse">
            <a:avLst/>
          </a:prstGeom>
          <a:gradFill flip="none" rotWithShape="1">
            <a:gsLst>
              <a:gs pos="0">
                <a:srgbClr val="FFC000"/>
              </a:gs>
              <a:gs pos="65000">
                <a:srgbClr val="FFC000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1FDA2510-B9CB-48AD-B6A5-484F1EF4C9AB}"/>
              </a:ext>
            </a:extLst>
          </p:cNvPr>
          <p:cNvSpPr>
            <a:spLocks noChangeAspect="1"/>
          </p:cNvSpPr>
          <p:nvPr userDrawn="1"/>
        </p:nvSpPr>
        <p:spPr>
          <a:xfrm>
            <a:off x="9899853" y="170458"/>
            <a:ext cx="1913758" cy="1895304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rgbClr val="FFC000"/>
              </a:gs>
              <a:gs pos="65000">
                <a:srgbClr val="FFC000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21267DC-010D-438A-9044-BC46C9AA999A}"/>
              </a:ext>
            </a:extLst>
          </p:cNvPr>
          <p:cNvSpPr>
            <a:spLocks noChangeAspect="1"/>
          </p:cNvSpPr>
          <p:nvPr userDrawn="1"/>
        </p:nvSpPr>
        <p:spPr>
          <a:xfrm>
            <a:off x="11528795" y="1909836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9216B03-6D3D-48E1-9C23-736A84702DD0}"/>
              </a:ext>
            </a:extLst>
          </p:cNvPr>
          <p:cNvSpPr>
            <a:spLocks noChangeAspect="1"/>
          </p:cNvSpPr>
          <p:nvPr userDrawn="1"/>
        </p:nvSpPr>
        <p:spPr>
          <a:xfrm>
            <a:off x="11392969" y="2511468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791E81C-4F52-B240-C8AB-4EA96DFDE1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54020" y="2127267"/>
            <a:ext cx="7278170" cy="41076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1098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>
            <a:extLst>
              <a:ext uri="{FF2B5EF4-FFF2-40B4-BE49-F238E27FC236}">
                <a16:creationId xmlns:a16="http://schemas.microsoft.com/office/drawing/2014/main" id="{BD4363AE-205A-4819-9F31-7F4B9BB0442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4560"/>
          <a:stretch/>
        </p:blipFill>
        <p:spPr bwMode="auto">
          <a:xfrm>
            <a:off x="238" y="2606"/>
            <a:ext cx="72103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B80E6E3-50FB-46B8-AD03-DCC07D5F9F1E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39936F59-E4A5-4FB7-BC48-4531FE3120E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8CAC6223-6465-4B73-B076-732D2542BB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Circle: Hollow 15">
              <a:extLst>
                <a:ext uri="{FF2B5EF4-FFF2-40B4-BE49-F238E27FC236}">
                  <a16:creationId xmlns:a16="http://schemas.microsoft.com/office/drawing/2014/main" id="{09A64407-DA70-426D-9DE9-893E4C2C55B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9135213-2D18-4C9E-8A5A-E3648F00984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301C6B40-0608-45DE-9D3E-CCD296A868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E097154-4802-4956-94E4-73576F79F3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E07354F7-D16A-41DB-8123-E6BD66208B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E5860-2384-4691-A332-336D14B7753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Circle: Hollow 21">
              <a:extLst>
                <a:ext uri="{FF2B5EF4-FFF2-40B4-BE49-F238E27FC236}">
                  <a16:creationId xmlns:a16="http://schemas.microsoft.com/office/drawing/2014/main" id="{78D9816B-4A28-449A-ADA9-D558D0CB407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AFD0F331-48F6-436C-9A37-F51AC87A80F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FE248FA4-8FB4-467B-BB2C-7C67EFD0B1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D3EC2D2-43E2-401F-852E-D345530D7C9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3B85795-F1B1-4510-9132-9D4DFBF2E8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8C9B3BC-CA00-4779-B18A-D72E3C812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8" name="Circle: Hollow 27">
              <a:extLst>
                <a:ext uri="{FF2B5EF4-FFF2-40B4-BE49-F238E27FC236}">
                  <a16:creationId xmlns:a16="http://schemas.microsoft.com/office/drawing/2014/main" id="{6BF1DDA1-7E8F-4038-AA49-AEF5F3EB20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C9C9628-975D-44E1-B4E9-B9C1E06BAD7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D7AB84A7-C46E-45A6-A3A2-8C6B3F0763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3FD32A33-F548-4165-B771-B22BA770B3C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F49CFC8-0A0A-478C-AE8F-7FE9913520A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A36B006-A498-49BC-8B0A-B04BE0FC8E6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EBB3FFC-F938-466A-AB4F-C64A8E768D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A7A245F7-C427-44A3-8AA8-C01FF2D6E8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079C50A-77F3-4841-A27A-56720E450F82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48D491-0B4D-4801-AE29-672EF1331D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310ABB2-8829-4081-954C-060F795C62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A1BF5D2-17DB-4295-8864-BD6F8D834B1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626B1BD-8353-473E-A336-1B2C3789D04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63F954E1-B24D-4548-ADC7-5FC3AE57394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63F5DAF-F9FC-47E9-8231-BC562926E6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CF12651-1CFD-4D64-A02D-7BDA3B1378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B80B87C1-F227-462F-8141-B0F5FA70BD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D1A8BD0D-0305-4A56-9205-DC3A60093B9E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82487647-FE03-4EFA-8362-CB3F6587751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A7DB594D-AACD-4ED5-8C10-D459DE7E823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8063840-D79F-4781-9CBA-3A1EE0A309B6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29F05C63-EFD7-4553-929F-B4959C647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D7EC30B2-403C-4C56-8374-3C7B667F8B1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69CA3825-947B-4D5C-A285-B4B4B4DD31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90EC4918-17F4-4239-B224-FB846D2A2E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02975C8-1248-4552-8C21-C14E89D62A4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Circle: Hollow 53">
              <a:extLst>
                <a:ext uri="{FF2B5EF4-FFF2-40B4-BE49-F238E27FC236}">
                  <a16:creationId xmlns:a16="http://schemas.microsoft.com/office/drawing/2014/main" id="{9484B860-5E7E-4B39-A421-8407DBF1A86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5" name="Circle: Hollow 54">
              <a:extLst>
                <a:ext uri="{FF2B5EF4-FFF2-40B4-BE49-F238E27FC236}">
                  <a16:creationId xmlns:a16="http://schemas.microsoft.com/office/drawing/2014/main" id="{97F2434B-BDBA-423B-B5E9-09CAE81FD8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4A3DC74-168B-4A1A-BFED-B729AC6D5DC3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4374F82-90CE-79D0-6D60-DD6AA4E7D159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FAC3D44-4F90-EBDF-E558-CC0E4D3D13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EAF24F3-BC55-0DF4-4DF6-A260E44D246F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9DBD154-EA3B-CE41-C255-A8F5C6195D2F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96722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GRAPHIC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6" name="Picture 5" descr="Shape, circle&#10;&#10;Description automatically generated">
            <a:extLst>
              <a:ext uri="{FF2B5EF4-FFF2-40B4-BE49-F238E27FC236}">
                <a16:creationId xmlns:a16="http://schemas.microsoft.com/office/drawing/2014/main" id="{9B4A9C0C-8128-4278-8F17-3A28A9BE9B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937BD5F-D00C-48F7-D1B0-FAA010F678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0220" y="1222391"/>
            <a:ext cx="7278170" cy="51498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593238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GRAPHIC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6" name="Picture 5" descr="Shape, circle&#10;&#10;Description automatically generated">
            <a:extLst>
              <a:ext uri="{FF2B5EF4-FFF2-40B4-BE49-F238E27FC236}">
                <a16:creationId xmlns:a16="http://schemas.microsoft.com/office/drawing/2014/main" id="{234D69AB-77EA-4E18-ABFF-964A35289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76470E1-2AEC-0F04-914F-E9A393FF43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19649" y="1205999"/>
            <a:ext cx="7093565" cy="51498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76346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GRAPHIC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6" name="Picture 5" descr="Shape, circle&#10;&#10;Description automatically generated">
            <a:extLst>
              <a:ext uri="{FF2B5EF4-FFF2-40B4-BE49-F238E27FC236}">
                <a16:creationId xmlns:a16="http://schemas.microsoft.com/office/drawing/2014/main" id="{4F2927DF-669F-41E1-8C02-02B43DD1EC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269C74B-8F89-E9E6-9CE2-00B465C29C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0220" y="1222391"/>
            <a:ext cx="8518980" cy="51498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08754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527ACFC-E9FE-1558-E465-A92BD98940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0220" y="1222391"/>
            <a:ext cx="11433630" cy="51498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65110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A43FC2C-FD82-05B4-D3AB-F8D4CC587C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0220" y="1222391"/>
            <a:ext cx="11433630" cy="51498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23785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F7F2160B-645D-4E1B-B845-460D16D0474A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44149">
            <a:off x="8774753" y="3117530"/>
            <a:ext cx="3050745" cy="3050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4159078-6CDF-010F-DA35-619DCA0324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00641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3776A9-6127-48AE-9C72-E31814659BD4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B8A2D7-0929-4125-9B8D-CEB46C7D3EDF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5" name="Picture Placeholder 18">
            <a:extLst>
              <a:ext uri="{FF2B5EF4-FFF2-40B4-BE49-F238E27FC236}">
                <a16:creationId xmlns:a16="http://schemas.microsoft.com/office/drawing/2014/main" id="{1B8F02F8-EEDB-4CCC-9C11-A6782DFAEA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6918" y="307137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10CB9AC-BF4B-30FB-DACF-4484E3E38A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64567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A8C6FC33-890B-4699-989C-4ED1262EFB5F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84D672E0-4238-4B77-B14F-1563300BBE02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AB849C-CC41-470A-8FA5-AA561F76F84E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BAF3EA-0715-4594-BB55-9A49834DF666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Placeholder 33">
            <a:extLst>
              <a:ext uri="{FF2B5EF4-FFF2-40B4-BE49-F238E27FC236}">
                <a16:creationId xmlns:a16="http://schemas.microsoft.com/office/drawing/2014/main" id="{67022DBB-02B9-4128-AFCD-1D44975BC0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7846" y="307574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2AB014F-6B1D-71C2-11E4-A2D00E7577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46986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F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7" name="Picture Placeholder 38">
            <a:extLst>
              <a:ext uri="{FF2B5EF4-FFF2-40B4-BE49-F238E27FC236}">
                <a16:creationId xmlns:a16="http://schemas.microsoft.com/office/drawing/2014/main" id="{5DFCF5F3-7711-4726-AA2B-5F73058D7D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6918" y="306304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23A8EE1-BE14-2563-6E24-107DFBEA6A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232643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9" name="Picture Placeholder 52" descr="Two women sitting on a ledge&#10;&#10;Description automatically generated with low confidence">
            <a:extLst>
              <a:ext uri="{FF2B5EF4-FFF2-40B4-BE49-F238E27FC236}">
                <a16:creationId xmlns:a16="http://schemas.microsoft.com/office/drawing/2014/main" id="{181CDFF3-3268-4B33-AEE6-4AC936C4DD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44856" y="3074551"/>
            <a:ext cx="3128359" cy="3139647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89ABD07-1726-8151-2899-4507D080B6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6137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S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F0762832-CA68-4593-A467-AC9D115B36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7947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8264F0AE-C14B-49B4-B2DA-9F7D1027D5B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589" b="99761" l="0" r="43004">
                        <a14:foregroundMark x1="10914" y1="33971" x2="93" y2="58373"/>
                        <a14:foregroundMark x1="8209" y1="4306" x2="11567" y2="22249"/>
                        <a14:foregroundMark x1="11567" y1="22249" x2="11567" y2="22249"/>
                        <a14:foregroundMark x1="9515" y1="30144" x2="840" y2="49163"/>
                        <a14:foregroundMark x1="840" y1="49163" x2="653" y2="49282"/>
                        <a14:foregroundMark x1="6716" y1="81100" x2="38340" y2="96172"/>
                        <a14:foregroundMark x1="38340" y1="96172" x2="43190" y2="96890"/>
                        <a14:foregroundMark x1="3731" y1="81220" x2="35261" y2="87679"/>
                        <a14:foregroundMark x1="35261" y1="87679" x2="40299" y2="90311"/>
                        <a14:foregroundMark x1="41698" y1="95335" x2="43097" y2="98804"/>
                        <a14:foregroundMark x1="466" y1="94498" x2="33955" y2="96890"/>
                        <a14:foregroundMark x1="6996" y1="83612" x2="24813" y2="96890"/>
                        <a14:foregroundMark x1="29757" y1="98565" x2="37780" y2="99880"/>
                        <a14:foregroundMark x1="8116" y1="30981" x2="2332" y2="36842"/>
                        <a14:foregroundMark x1="15858" y1="41388" x2="19869" y2="49761"/>
                        <a14:foregroundMark x1="7090" y1="29067" x2="2519" y2="36483"/>
                        <a14:foregroundMark x1="2519" y1="36483" x2="2425" y2="36483"/>
                        <a14:foregroundMark x1="7183" y1="4904" x2="7463" y2="12321"/>
                        <a14:foregroundMark x1="9888" y1="3589" x2="10261" y2="7656"/>
                        <a14:foregroundMark x1="21549" y1="56699" x2="21642" y2="58254"/>
                        <a14:foregroundMark x1="27791" y1="80190" x2="28731" y2="80263"/>
                        <a14:foregroundMark x1="25653" y1="80024" x2="26429" y2="80084"/>
                        <a14:foregroundMark x1="26213" y1="79187" x2="26679" y2="79187"/>
                        <a14:foregroundMark x1="41643" y1="89136" x2="42631" y2="93660"/>
                        <a14:foregroundMark x1="33165" y1="84485" x2="34795" y2="85646"/>
                        <a14:foregroundMark x1="34235" y1="84211" x2="34235" y2="84211"/>
                        <a14:foregroundMark x1="34422" y1="84330" x2="34422" y2="84330"/>
                        <a14:foregroundMark x1="34608" y1="84330" x2="34608" y2="84330"/>
                        <a14:foregroundMark x1="33606" y1="84042" x2="34235" y2="84330"/>
                        <a14:backgroundMark x1="24347" y1="61005" x2="34142" y2="77512"/>
                        <a14:backgroundMark x1="34142" y1="77512" x2="35634" y2="77033"/>
                        <a14:backgroundMark x1="24907" y1="73923" x2="32649" y2="78110"/>
                        <a14:backgroundMark x1="32649" y1="78110" x2="33022" y2="78589"/>
                        <a14:backgroundMark x1="27266" y1="78004" x2="28731" y2="78230"/>
                        <a14:backgroundMark x1="26399" y1="77871" x2="26833" y2="77938"/>
                        <a14:backgroundMark x1="36332" y1="83997" x2="36660" y2="83971"/>
                        <a14:backgroundMark x1="6437" y1="24402" x2="373" y2="30861"/>
                        <a14:backgroundMark x1="373" y1="30861" x2="2146" y2="31579"/>
                        <a14:backgroundMark x1="560" y1="35048" x2="560" y2="36244"/>
                        <a14:backgroundMark x1="1119" y1="36244" x2="746" y2="37201"/>
                        <a14:backgroundMark x1="36474" y1="77632" x2="39086" y2="83373"/>
                        <a14:backgroundMark x1="41604" y1="86005" x2="42227" y2="87364"/>
                        <a14:backgroundMark x1="42257" y1="87321" x2="42537" y2="88876"/>
                        <a14:backgroundMark x1="33396" y1="81818" x2="40299" y2="82177"/>
                        <a14:backgroundMark x1="35443" y1="83852" x2="37407" y2="83852"/>
                        <a14:backgroundMark x1="33209" y1="81699" x2="33209" y2="81699"/>
                        <a14:backgroundMark x1="32929" y1="81699" x2="32929" y2="81699"/>
                        <a14:backgroundMark x1="32649" y1="81699" x2="32649" y2="81699"/>
                        <a14:backgroundMark x1="34422" y1="83732" x2="34422" y2="83732"/>
                        <a14:backgroundMark x1="31250" y1="80383" x2="32369" y2="82177"/>
                        <a14:backgroundMark x1="31903" y1="81699" x2="33675" y2="83971"/>
                        <a14:backgroundMark x1="27612" y1="78349" x2="28638" y2="789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65" r="55360"/>
          <a:stretch/>
        </p:blipFill>
        <p:spPr bwMode="auto">
          <a:xfrm>
            <a:off x="-27525" y="175886"/>
            <a:ext cx="4020928" cy="6707992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69F55C0-EC6D-44B3-BB82-E96A09B3420D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FCA5E31-9580-496F-9E42-1E6F2E07DAC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D9C47CBD-8D33-405D-BC70-B694229714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862EA350-F82E-4D4C-BA13-0794D9500EF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580316D-5DF0-40B5-A3A6-88A87098D0F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964DE458-7348-424D-BA0B-DB2033B3D8D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996E8319-087F-4D1A-AC1D-37C5993747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40D1CC14-1DFE-4C16-809F-B47B5942D5F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5C80524-C697-4410-9D7A-6F117A5F42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E5DDAF0C-3AFC-46BF-9F33-8199FA60A7F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90E3AB26-4D87-42FF-97FB-5EE9DF934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16E59A0E-54D9-484E-BDE9-532798001B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02106AF-E792-4E14-9E72-A5BF55858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F48818E-1D3B-4F50-8868-77EFFF642D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06DF11D-511A-44B8-9EA4-538E51C5CF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A8BCBF9B-A739-486F-AE59-ABE12AE02BB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8E0AB5A-674C-4DE7-93C2-D6BEC62566B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2611CDE5-2616-4304-9622-97E6956492D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2AEE9CC-82AC-42ED-A5E3-1C1FBB598E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5B07C61-CA3C-4B06-BB3B-252F04600D1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1CC1F13-2300-4736-BD4E-CD50123F340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E2B2A1C-13C0-4A0F-AA7F-40CBF328EF6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0E9E105-E9DF-4541-B2CA-211978A177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9882D4D8-D8CC-400A-A7EB-C0D59FEE4D8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7166D34E-8AE8-4558-B308-0690644A3D2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020417FC-C19B-4FF8-AB1B-5739B92BE92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297E7573-727A-400A-9837-0622D270900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186FDA2-140B-4619-8E3A-ADE0E4ACC3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916BE292-FFE3-4054-B1F8-459151E35DF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AA0C3C8A-737F-48D0-A8E6-F3C2DA9F5C4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2F83213A-1DCA-4D45-B441-286FDD94D2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114399FE-68D5-4F78-94C0-CA2108EBA1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66196BB2-B1EB-4BD8-ACAA-839CF157F03B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646F30E-3B43-46A7-AC2D-95D5C2C5805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ACA778B9-DC94-4CD3-9E19-72EC312FE49E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01896B74-8927-4082-B2BA-829CC59DEBD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85DB2747-744C-4272-8285-BCDCA1D76FB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AEDBC75-BAF7-4810-92F3-73941FCA715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47C0EB01-0544-4C72-9B46-42B7697626A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5DF00221-B9A0-4B7D-A3CA-FA773C05FD5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1828083-BA49-4A75-AE2E-36F0CAD7EBC6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7C3BBF84-0C85-4B2F-B83D-0B97A4E4B9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EACF7882-0404-49EE-B918-3B315360A18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917B1DB-CCDE-DE6B-ABF8-E9142ED4EF16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85E0731-6B29-DFB5-F662-4E0D385C283C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A51A370-2F57-ACA3-154F-D301CEFF85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901161B-ADC7-D676-59B1-5922FF83B3E2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33707B1-1802-C139-D6E6-4C65BDD62AC2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287433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3776A9-6127-48AE-9C72-E31814659BD4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B8A2D7-0929-4125-9B8D-CEB46C7D3EDF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8" name="Picture Placeholder 43" descr="A picture containing person, standing&#10;&#10;Description automatically generated">
            <a:extLst>
              <a:ext uri="{FF2B5EF4-FFF2-40B4-BE49-F238E27FC236}">
                <a16:creationId xmlns:a16="http://schemas.microsoft.com/office/drawing/2014/main" id="{BA62350B-7699-46E2-AB6F-FE0A3F40300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1878" y="307509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1EB42F1-4420-8399-8994-E993323136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451496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A8C6FC33-890B-4699-989C-4ED1262EFB5F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84D672E0-4238-4B77-B14F-1563300BBE02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AB849C-CC41-470A-8FA5-AA561F76F84E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BAF3EA-0715-4594-BB55-9A49834DF666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0" name="Picture Placeholder 38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C6E6FF14-ED78-422E-B481-6A622439F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0319" y="3074560"/>
            <a:ext cx="3155207" cy="313750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B5DBB84-24DD-979B-6EB9-CEA1B8C121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74056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3776A9-6127-48AE-9C72-E31814659BD4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B8A2D7-0929-4125-9B8D-CEB46C7D3EDF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5" name="Picture Placeholder 32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835F987A-9F04-4897-8887-BD9A338358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58449" y="3077213"/>
            <a:ext cx="3105809" cy="3126242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194C44E-6E77-02F5-20BF-2D8C23E175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77986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8" name="Picture Placeholder 59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E525F203-3657-4C12-9D51-52D87FF803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59794" y="3087698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6EC2350-4846-AB3C-44EA-FBCABC6C87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20302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3776A9-6127-48AE-9C72-E31814659BD4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B8A2D7-0929-4125-9B8D-CEB46C7D3EDF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6" name="Picture Placeholder 64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7599E71C-A1DF-4DCA-92C8-644EF5AED2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45569" y="3068198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91D0594B-00A5-9C3E-4043-8959009122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56327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A8C6FC33-890B-4699-989C-4ED1262EFB5F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84D672E0-4238-4B77-B14F-1563300BBE02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AB849C-CC41-470A-8FA5-AA561F76F84E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BAF3EA-0715-4594-BB55-9A49834DF666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0" name="Picture Placeholder 54" descr="A person holding a ball&#10;&#10;Description automatically generated with medium confidence">
            <a:extLst>
              <a:ext uri="{FF2B5EF4-FFF2-40B4-BE49-F238E27FC236}">
                <a16:creationId xmlns:a16="http://schemas.microsoft.com/office/drawing/2014/main" id="{2A1BE4E1-E7A7-41CC-BB61-12289933AD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18629" y="3105203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BEFCC6B-682F-9B69-04B4-25F95A2CB7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1686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A8C6FC33-890B-4699-989C-4ED1262EFB5F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84D672E0-4238-4B77-B14F-1563300BBE02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AB849C-CC41-470A-8FA5-AA561F76F84E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BAF3EA-0715-4594-BB55-9A49834DF666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Placeholder 50" descr="A group of women sitting together&#10;&#10;Description automatically generated with low confidence">
            <a:extLst>
              <a:ext uri="{FF2B5EF4-FFF2-40B4-BE49-F238E27FC236}">
                <a16:creationId xmlns:a16="http://schemas.microsoft.com/office/drawing/2014/main" id="{C8AE1489-5A68-4025-8F43-98D28E9AC7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8427" y="3074129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C05EED0-F727-316D-3DEA-0B2DE63B3A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84352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Placeholder 225">
            <a:extLst>
              <a:ext uri="{FF2B5EF4-FFF2-40B4-BE49-F238E27FC236}">
                <a16:creationId xmlns:a16="http://schemas.microsoft.com/office/drawing/2014/main" id="{10BC53BA-5DCA-4E4D-A6B7-9F020B472F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34218" y="307574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4D20427-2291-1321-F0F4-293B63E067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13738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3776A9-6127-48AE-9C72-E31814659BD4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B8A2D7-0929-4125-9B8D-CEB46C7D3EDF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6" name="Picture Placeholder 230">
            <a:extLst>
              <a:ext uri="{FF2B5EF4-FFF2-40B4-BE49-F238E27FC236}">
                <a16:creationId xmlns:a16="http://schemas.microsoft.com/office/drawing/2014/main" id="{EFEBBFFA-F6D0-4A08-878C-687BE3AFF5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2156" y="3087220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2B5AD4E-08EA-812A-54AB-24AF56D468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58760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A8C6FC33-890B-4699-989C-4ED1262EFB5F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84D672E0-4238-4B77-B14F-1563300BBE02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AB849C-CC41-470A-8FA5-AA561F76F84E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BAF3EA-0715-4594-BB55-9A49834DF666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0" name="Picture Placeholder 239">
            <a:extLst>
              <a:ext uri="{FF2B5EF4-FFF2-40B4-BE49-F238E27FC236}">
                <a16:creationId xmlns:a16="http://schemas.microsoft.com/office/drawing/2014/main" id="{9461850F-80C9-4B8C-A8E7-EF6D8D02A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4218" y="308407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97977C9-B106-02FE-9E98-89F720F27E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4922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S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69C893BA-F6EE-4E83-BE58-9A0E22A9CF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681" y="0"/>
            <a:ext cx="80756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">
            <a:extLst>
              <a:ext uri="{FF2B5EF4-FFF2-40B4-BE49-F238E27FC236}">
                <a16:creationId xmlns:a16="http://schemas.microsoft.com/office/drawing/2014/main" id="{2D51AD77-9F8E-4FE5-B3D1-C3092AB60B8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531" b="98732" l="180" r="51706">
                        <a14:foregroundMark x1="21364" y1="13531" x2="15889" y2="37209"/>
                        <a14:foregroundMark x1="26391" y1="16490" x2="36266" y2="42495"/>
                        <a14:foregroundMark x1="36266" y1="42495" x2="36355" y2="43658"/>
                        <a14:foregroundMark x1="359" y1="29598" x2="15081" y2="30233"/>
                        <a14:foregroundMark x1="10682" y1="26321" x2="9246" y2="30550"/>
                        <a14:foregroundMark x1="21095" y1="29810" x2="24417" y2="36469"/>
                        <a14:foregroundMark x1="808" y1="65751" x2="3501" y2="98837"/>
                        <a14:foregroundMark x1="1077" y1="96617" x2="1077" y2="96617"/>
                        <a14:foregroundMark x1="19300" y1="91438" x2="41023" y2="93763"/>
                        <a14:foregroundMark x1="41023" y1="93763" x2="45781" y2="97252"/>
                        <a14:foregroundMark x1="27828" y1="97252" x2="38959" y2="97357"/>
                        <a14:foregroundMark x1="19659" y1="92600" x2="45601" y2="73467"/>
                        <a14:foregroundMark x1="45601" y1="73467" x2="50718" y2="66808"/>
                        <a14:foregroundMark x1="50718" y1="66808" x2="50987" y2="65751"/>
                        <a14:foregroundMark x1="48115" y1="73362" x2="44844" y2="82321"/>
                        <a14:foregroundMark x1="49372" y1="72622" x2="48333" y2="77592"/>
                        <a14:foregroundMark x1="49192" y1="75370" x2="49124" y2="76188"/>
                        <a14:foregroundMark x1="6732" y1="24630" x2="5386" y2="29493"/>
                        <a14:foregroundMark x1="359" y1="28330" x2="7361" y2="28858"/>
                        <a14:foregroundMark x1="31598" y1="76321" x2="36445" y2="71987"/>
                        <a14:foregroundMark x1="36445" y1="71987" x2="36445" y2="71987"/>
                        <a14:foregroundMark x1="51706" y1="65328" x2="51706" y2="65328"/>
                        <a14:foregroundMark x1="2693" y1="57082" x2="808" y2="66702"/>
                        <a14:foregroundMark x1="628" y1="57822" x2="1257" y2="64482"/>
                        <a14:foregroundMark x1="36715" y1="71036" x2="36715" y2="72727"/>
                        <a14:foregroundMark x1="29623" y1="44715" x2="29533" y2="46300"/>
                        <a14:foregroundMark x1="47038" y1="79070" x2="46409" y2="84567"/>
                        <a14:foregroundMark x1="45871" y1="84249" x2="40305" y2="86892"/>
                        <a14:foregroundMark x1="41293" y1="86469" x2="39677" y2="89218"/>
                        <a14:foregroundMark x1="48115" y1="79281" x2="48115" y2="79493"/>
                        <a14:foregroundMark x1="47127" y1="79493" x2="48115" y2="82030"/>
                        <a14:backgroundMark x1="16338" y1="69027" x2="45961" y2="57400"/>
                        <a14:backgroundMark x1="42255" y1="87987" x2="44704" y2="87421"/>
                        <a14:backgroundMark x1="16068" y1="66702" x2="34111" y2="60359"/>
                        <a14:backgroundMark x1="20916" y1="62579" x2="31329" y2="55074"/>
                        <a14:backgroundMark x1="31329" y1="55074" x2="36804" y2="46300"/>
                        <a14:backgroundMark x1="14632" y1="60571" x2="17594" y2="64482"/>
                        <a14:backgroundMark x1="18851" y1="73679" x2="23160" y2="78753"/>
                        <a14:backgroundMark x1="48474" y1="77907" x2="48474" y2="77907"/>
                        <a14:backgroundMark x1="48025" y1="77907" x2="49551" y2="78436"/>
                        <a14:backgroundMark x1="47756" y1="78013" x2="49192" y2="77484"/>
                        <a14:backgroundMark x1="48384" y1="77590" x2="48419" y2="7883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969" r="45115"/>
          <a:stretch/>
        </p:blipFill>
        <p:spPr bwMode="auto">
          <a:xfrm>
            <a:off x="-9526" y="820852"/>
            <a:ext cx="4429125" cy="6046674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80A3703-6F20-45D6-9C88-75098BA5575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31EA660-5266-4A56-A7D6-0C1E6A3C694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693BEC8D-B687-4817-9ACB-4BDD9224FA5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7854D696-4032-463D-9207-225848DE992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726B13DD-8B9E-45BE-B559-BB765425967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14140742-013B-4ADB-A18F-83BA2430A60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4392C1B2-0DC9-4ABF-8B99-CCFF5DBD26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Circle: Hollow 21">
              <a:extLst>
                <a:ext uri="{FF2B5EF4-FFF2-40B4-BE49-F238E27FC236}">
                  <a16:creationId xmlns:a16="http://schemas.microsoft.com/office/drawing/2014/main" id="{05585273-FCAB-44B6-BE40-85BF8E6A96D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300B9C4B-5CEA-4BFA-9B9C-1D73BA93A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Circle: Hollow 23">
              <a:extLst>
                <a:ext uri="{FF2B5EF4-FFF2-40B4-BE49-F238E27FC236}">
                  <a16:creationId xmlns:a16="http://schemas.microsoft.com/office/drawing/2014/main" id="{EB43A2BB-E209-4AB6-BB05-633F84CE4FB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7F4B326-2C09-4758-AB22-5DC22D7940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68E4810-BC5E-4BD3-BE2A-587F2162668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1779BAB-9358-44D1-9C61-B395F8C753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38BB871-BA65-47C8-8E8E-B58A87FCC4D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D3FFCA38-51D6-4FD1-A6C2-53FFA937226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0" name="Circle: Hollow 29">
              <a:extLst>
                <a:ext uri="{FF2B5EF4-FFF2-40B4-BE49-F238E27FC236}">
                  <a16:creationId xmlns:a16="http://schemas.microsoft.com/office/drawing/2014/main" id="{F431AEEC-0BF8-4932-BB17-153969613C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2C7349A2-898C-4034-AD8A-42344014335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E82100B-D46E-4C02-AC3C-BB7CB5A0590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180E1F0B-C39F-4D4A-940A-ED5C3CDE1FE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15D6CFA-0A9E-4873-A671-AAB73CE2BE1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9B5318EB-C539-4ED3-AFD7-013F33B3897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A5B5448-A185-4451-941D-B3D444FF51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BA66155-B705-4FED-B920-2C8BA2BE8E6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198640C-8FF9-4EDC-8495-E7CA72A4662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192A3B8-787D-439C-BACD-79CD8260E8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88EDF3D6-FE5D-4B26-9A59-4F175ADF2FB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5C9353BB-5454-4454-86F9-4904F7F16A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EE9A01FA-5DA3-4CA8-B74A-D12B7184798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3EE9D10C-502B-48D8-AFBB-882ABA7A73F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EDCAAD8-810E-4710-A0E5-1EB189EDE10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3B2BACA6-1DD9-483B-8391-C1E7D591E7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6E9D910D-B2F0-4A1C-A05E-B79E1C9F75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61137BA-27EE-4250-BB80-61C617B3A5B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5C2A4BD-CD2D-43D3-9273-4DAE72C70AE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A02B2099-5F55-4074-B0C1-21588F74958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E574E98C-09FE-4701-B95B-E364E7BAC78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A03763D6-FAA7-484B-84D7-FAB9EC8601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7B7B4583-A7A4-49BC-A13D-4173BFBBB9D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8B8348E0-241D-4C64-8BE5-E243CF07DF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53AD3BD8-CCF5-40F1-9D42-063E0AEE82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83F720AD-C8DB-4F8E-A530-1CAB421B924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Circle: Hollow 55">
              <a:extLst>
                <a:ext uri="{FF2B5EF4-FFF2-40B4-BE49-F238E27FC236}">
                  <a16:creationId xmlns:a16="http://schemas.microsoft.com/office/drawing/2014/main" id="{DFED4172-20AA-4993-AB8B-DB9042A26C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7" name="Circle: Hollow 56">
              <a:extLst>
                <a:ext uri="{FF2B5EF4-FFF2-40B4-BE49-F238E27FC236}">
                  <a16:creationId xmlns:a16="http://schemas.microsoft.com/office/drawing/2014/main" id="{FA450EDC-1A24-4C82-9091-F0AD5E76F18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CF756BE-7199-7BAF-49F4-21C4C0E2DB60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66ED331-EFDD-BF28-202A-7018837D5364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EDBFFB8-79CE-B61E-5991-55BF6759B8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3153C1B-795A-FDFD-A73A-08F0993E2CEB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31F64D5-1394-D46A-D433-ECC0DB9D74D2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56422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7" name="Picture Placeholder 216">
            <a:extLst>
              <a:ext uri="{FF2B5EF4-FFF2-40B4-BE49-F238E27FC236}">
                <a16:creationId xmlns:a16="http://schemas.microsoft.com/office/drawing/2014/main" id="{DA64DE30-4E17-479B-A144-247C89F7C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8427" y="30782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928E0675-D05C-4150-C938-5EC48115E5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51841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8" name="Picture Placeholder 79">
            <a:extLst>
              <a:ext uri="{FF2B5EF4-FFF2-40B4-BE49-F238E27FC236}">
                <a16:creationId xmlns:a16="http://schemas.microsoft.com/office/drawing/2014/main" id="{2603C81C-176A-4A44-8738-465B40CE5C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38514" y="3070350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DC3FA0C-68D2-674B-7B2C-4E265305FC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8847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3776A9-6127-48AE-9C72-E31814659BD4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B8A2D7-0929-4125-9B8D-CEB46C7D3EDF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5" name="Picture Placeholder 69">
            <a:extLst>
              <a:ext uri="{FF2B5EF4-FFF2-40B4-BE49-F238E27FC236}">
                <a16:creationId xmlns:a16="http://schemas.microsoft.com/office/drawing/2014/main" id="{12DB180C-23DD-4196-9608-03D1822DDD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6918" y="307137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3C802F1-1C8B-53CC-A3BA-591C3975EB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342195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A8C6FC33-890B-4699-989C-4ED1262EFB5F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84D672E0-4238-4B77-B14F-1563300BBE02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AB849C-CC41-470A-8FA5-AA561F76F84E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BAF3EA-0715-4594-BB55-9A49834DF666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Placeholder 74">
            <a:extLst>
              <a:ext uri="{FF2B5EF4-FFF2-40B4-BE49-F238E27FC236}">
                <a16:creationId xmlns:a16="http://schemas.microsoft.com/office/drawing/2014/main" id="{AE47E58D-ADE0-43FB-9C20-6642FC7BBC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4856" y="30782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1B15A44-2AEC-A166-C991-091A966AF0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86047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C6CA69D8-19F0-4828-83B5-AEBA0A9C72E0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8748942" y="3074902"/>
            <a:ext cx="3128359" cy="3128359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0BBC232-BAC0-40A1-8F42-FCA7EA500566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0ADA4AA-4699-4CC0-AECD-6B3A36C02E10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2886E1F-459D-6B84-0DE2-FB62F81806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70035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5" name="Picture Placeholder 24">
            <a:extLst>
              <a:ext uri="{FF2B5EF4-FFF2-40B4-BE49-F238E27FC236}">
                <a16:creationId xmlns:a16="http://schemas.microsoft.com/office/drawing/2014/main" id="{B14C1D5E-D5B8-4181-86A0-A33091D97C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23437" y="-1847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F3AE31C-41CC-20B1-E4B6-481AC4764A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82091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982B08F6-1496-4C53-9211-3F83785C98BD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4757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C587F0F4-929E-4A62-878F-70D862B3C03E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57878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14">
            <a:extLst>
              <a:ext uri="{FF2B5EF4-FFF2-40B4-BE49-F238E27FC236}">
                <a16:creationId xmlns:a16="http://schemas.microsoft.com/office/drawing/2014/main" id="{DE0BCFC4-CC25-42AF-86DC-D7E4B67E66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30540" y="-1974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D477B15-30EE-6DC7-3CD7-5ACE7C1099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50059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C1E05237-1A71-40C4-BE96-A18B9B146F07}"/>
              </a:ext>
            </a:extLst>
          </p:cNvPr>
          <p:cNvSpPr>
            <a:spLocks noChangeAspect="1"/>
          </p:cNvSpPr>
          <p:nvPr userDrawn="1"/>
        </p:nvSpPr>
        <p:spPr>
          <a:xfrm>
            <a:off x="9068427" y="-434301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92F61767-004A-4E28-AC40-A5FB15F9DCE6}"/>
              </a:ext>
            </a:extLst>
          </p:cNvPr>
          <p:cNvSpPr>
            <a:spLocks noChangeAspect="1"/>
          </p:cNvSpPr>
          <p:nvPr userDrawn="1"/>
        </p:nvSpPr>
        <p:spPr>
          <a:xfrm>
            <a:off x="9169012" y="-340646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29">
            <a:extLst>
              <a:ext uri="{FF2B5EF4-FFF2-40B4-BE49-F238E27FC236}">
                <a16:creationId xmlns:a16="http://schemas.microsoft.com/office/drawing/2014/main" id="{520A71E0-7177-4D61-9066-6FC5199641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28725" y="-187439"/>
            <a:ext cx="3128359" cy="3128359"/>
          </a:xfrm>
          <a:prstGeom prst="ellipse">
            <a:avLst/>
          </a:prstGeom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0E7E98A-1FCF-432E-C5D0-C8DFF5F0C7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53105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4C53DADF-2E96-4FD0-9558-AEEEA600145E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44149">
            <a:off x="9371652" y="-147391"/>
            <a:ext cx="3050745" cy="3050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7E00569-CF17-700D-8AA9-B9D697F5DA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694474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3" name="Picture Placeholder 43" descr="A picture containing person&#10;&#10;Description automatically generated">
            <a:extLst>
              <a:ext uri="{FF2B5EF4-FFF2-40B4-BE49-F238E27FC236}">
                <a16:creationId xmlns:a16="http://schemas.microsoft.com/office/drawing/2014/main" id="{08BCFD84-0579-4926-BBFC-C7CFB3D06E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31117" y="-19112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2C0F92D-EB35-0970-F50E-C574A1EA82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49095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S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>
            <a:extLst>
              <a:ext uri="{FF2B5EF4-FFF2-40B4-BE49-F238E27FC236}">
                <a16:creationId xmlns:a16="http://schemas.microsoft.com/office/drawing/2014/main" id="{77D461A4-8970-4809-ABD0-39660BFC747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2" y="0"/>
            <a:ext cx="700241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7FB218A-2F21-138D-8DD9-0902D284147C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2312192-C21D-5A38-DF00-CC89E2C8C9E0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FC4F19C-28FF-856C-EE0C-2C82D98723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EB065D5-8989-F3E4-2A5A-F663B15C6B50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32F0898-1757-D61D-4FA3-B2164C5A0D80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52093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982B08F6-1496-4C53-9211-3F83785C98BD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4757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C587F0F4-929E-4A62-878F-70D862B3C03E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57878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29" descr="A person with flowers on the head&#10;&#10;Description automatically generated with medium confidence">
            <a:extLst>
              <a:ext uri="{FF2B5EF4-FFF2-40B4-BE49-F238E27FC236}">
                <a16:creationId xmlns:a16="http://schemas.microsoft.com/office/drawing/2014/main" id="{CA779867-0237-46AD-A0F6-961600B32B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21592" y="-214772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B2B6508-0C13-2CA4-C61B-0F8DD8BF6D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56185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C1E05237-1A71-40C4-BE96-A18B9B146F07}"/>
              </a:ext>
            </a:extLst>
          </p:cNvPr>
          <p:cNvSpPr>
            <a:spLocks noChangeAspect="1"/>
          </p:cNvSpPr>
          <p:nvPr userDrawn="1"/>
        </p:nvSpPr>
        <p:spPr>
          <a:xfrm>
            <a:off x="9068427" y="-434301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92F61767-004A-4E28-AC40-A5FB15F9DCE6}"/>
              </a:ext>
            </a:extLst>
          </p:cNvPr>
          <p:cNvSpPr>
            <a:spLocks noChangeAspect="1"/>
          </p:cNvSpPr>
          <p:nvPr userDrawn="1"/>
        </p:nvSpPr>
        <p:spPr>
          <a:xfrm>
            <a:off x="9169012" y="-340646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34" descr="A group of people sitting on stairs looking at a computer&#10;&#10;Description automatically generated with low confidence">
            <a:extLst>
              <a:ext uri="{FF2B5EF4-FFF2-40B4-BE49-F238E27FC236}">
                <a16:creationId xmlns:a16="http://schemas.microsoft.com/office/drawing/2014/main" id="{96500467-F130-4FDC-88F2-FFB6E3A03D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37187" y="-18159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E065AEF-BBE3-4E32-408C-23F13944D3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898033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982B08F6-1496-4C53-9211-3F83785C98BD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4757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C587F0F4-929E-4A62-878F-70D862B3C03E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57878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48" descr="A person writing on a chalkboard&#10;&#10;Description automatically generated with medium confidence">
            <a:extLst>
              <a:ext uri="{FF2B5EF4-FFF2-40B4-BE49-F238E27FC236}">
                <a16:creationId xmlns:a16="http://schemas.microsoft.com/office/drawing/2014/main" id="{15CE9E89-66A1-4CED-8762-3831666849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26612" y="-199565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B034E07-D7CD-67A1-79F7-7BEC09BBFE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327735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101">
            <a:extLst>
              <a:ext uri="{FF2B5EF4-FFF2-40B4-BE49-F238E27FC236}">
                <a16:creationId xmlns:a16="http://schemas.microsoft.com/office/drawing/2014/main" id="{86D8F57F-56C0-4587-B013-ACC9DA32D7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27201" y="-1847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AC9A4A1-EA66-258D-9700-C7EEDDB1DC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867961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982B08F6-1496-4C53-9211-3F83785C98BD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4757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C587F0F4-929E-4A62-878F-70D862B3C03E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57878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3" name="Picture Placeholder 120" descr="A group of people posing for a photo&#10;&#10;Description automatically generated with low confidence">
            <a:extLst>
              <a:ext uri="{FF2B5EF4-FFF2-40B4-BE49-F238E27FC236}">
                <a16:creationId xmlns:a16="http://schemas.microsoft.com/office/drawing/2014/main" id="{8AF64015-9027-4C00-AA13-27AB6E8C50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6636" y="-1974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00ED940-07F6-6762-E4C7-C7356DC693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69551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C1E05237-1A71-40C4-BE96-A18B9B146F07}"/>
              </a:ext>
            </a:extLst>
          </p:cNvPr>
          <p:cNvSpPr>
            <a:spLocks noChangeAspect="1"/>
          </p:cNvSpPr>
          <p:nvPr userDrawn="1"/>
        </p:nvSpPr>
        <p:spPr>
          <a:xfrm>
            <a:off x="9068427" y="-434301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92F61767-004A-4E28-AC40-A5FB15F9DCE6}"/>
              </a:ext>
            </a:extLst>
          </p:cNvPr>
          <p:cNvSpPr>
            <a:spLocks noChangeAspect="1"/>
          </p:cNvSpPr>
          <p:nvPr userDrawn="1"/>
        </p:nvSpPr>
        <p:spPr>
          <a:xfrm>
            <a:off x="9169012" y="-340646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0" name="Picture Placeholder 115">
            <a:extLst>
              <a:ext uri="{FF2B5EF4-FFF2-40B4-BE49-F238E27FC236}">
                <a16:creationId xmlns:a16="http://schemas.microsoft.com/office/drawing/2014/main" id="{CFFEB35F-6F7F-44D3-AC0B-C6A452C168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48002" y="-1847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39F3689-CD51-122A-6B18-4F7C827DE4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718120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C1E05237-1A71-40C4-BE96-A18B9B146F07}"/>
              </a:ext>
            </a:extLst>
          </p:cNvPr>
          <p:cNvSpPr>
            <a:spLocks noChangeAspect="1"/>
          </p:cNvSpPr>
          <p:nvPr userDrawn="1"/>
        </p:nvSpPr>
        <p:spPr>
          <a:xfrm>
            <a:off x="9068427" y="-434301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92F61767-004A-4E28-AC40-A5FB15F9DCE6}"/>
              </a:ext>
            </a:extLst>
          </p:cNvPr>
          <p:cNvSpPr>
            <a:spLocks noChangeAspect="1"/>
          </p:cNvSpPr>
          <p:nvPr userDrawn="1"/>
        </p:nvSpPr>
        <p:spPr>
          <a:xfrm>
            <a:off x="9169012" y="-340646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111" descr="A picture containing text, person, feet&#10;&#10;Description automatically generated">
            <a:extLst>
              <a:ext uri="{FF2B5EF4-FFF2-40B4-BE49-F238E27FC236}">
                <a16:creationId xmlns:a16="http://schemas.microsoft.com/office/drawing/2014/main" id="{F6ED375F-7F58-4C80-9463-D3CB2D5A93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6137" y="-1720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694BDE4-78AA-0FC4-6E1F-65F44FF546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4185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261" descr="A person holding a football ball&#10;&#10;Description automatically generated">
            <a:extLst>
              <a:ext uri="{FF2B5EF4-FFF2-40B4-BE49-F238E27FC236}">
                <a16:creationId xmlns:a16="http://schemas.microsoft.com/office/drawing/2014/main" id="{F705FA6C-BF95-4E05-93CA-B7ED29F1B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4292" y="-194068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DF6B02B-192C-092B-C3DD-559167C854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871034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982B08F6-1496-4C53-9211-3F83785C98BD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4757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C587F0F4-929E-4A62-878F-70D862B3C03E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57878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3" name="Picture Placeholder 256" descr="A group of people smiling&#10;&#10;Description automatically generated with low confidence">
            <a:extLst>
              <a:ext uri="{FF2B5EF4-FFF2-40B4-BE49-F238E27FC236}">
                <a16:creationId xmlns:a16="http://schemas.microsoft.com/office/drawing/2014/main" id="{0D8DA78A-2BCE-4BBC-BE2E-089E148988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36137" y="-196893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FABB97F-9894-C0B8-631A-50304D7C10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82319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C1E05237-1A71-40C4-BE96-A18B9B146F07}"/>
              </a:ext>
            </a:extLst>
          </p:cNvPr>
          <p:cNvSpPr>
            <a:spLocks noChangeAspect="1"/>
          </p:cNvSpPr>
          <p:nvPr userDrawn="1"/>
        </p:nvSpPr>
        <p:spPr>
          <a:xfrm>
            <a:off x="9068427" y="-434301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92F61767-004A-4E28-AC40-A5FB15F9DCE6}"/>
              </a:ext>
            </a:extLst>
          </p:cNvPr>
          <p:cNvSpPr>
            <a:spLocks noChangeAspect="1"/>
          </p:cNvSpPr>
          <p:nvPr userDrawn="1"/>
        </p:nvSpPr>
        <p:spPr>
          <a:xfrm>
            <a:off x="9169012" y="-340646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246">
            <a:extLst>
              <a:ext uri="{FF2B5EF4-FFF2-40B4-BE49-F238E27FC236}">
                <a16:creationId xmlns:a16="http://schemas.microsoft.com/office/drawing/2014/main" id="{CAB63D51-5793-46F1-8744-861B3FD92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49887" y="-196893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4B7EB9A-7FBF-6DBB-255A-A332980F55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149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S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">
            <a:extLst>
              <a:ext uri="{FF2B5EF4-FFF2-40B4-BE49-F238E27FC236}">
                <a16:creationId xmlns:a16="http://schemas.microsoft.com/office/drawing/2014/main" id="{800FDC1B-0B9C-4C20-A80D-DC43B0FD51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3489" y="0"/>
            <a:ext cx="841789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B2FD31D6-857F-4AA6-8F21-E540A8982BF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68" b="98928" l="29966" r="98485">
                        <a14:foregroundMark x1="58670" y1="21651" x2="60606" y2="30975"/>
                        <a14:foregroundMark x1="60606" y1="30975" x2="61195" y2="31940"/>
                        <a14:foregroundMark x1="62121" y1="32476" x2="67677" y2="50589"/>
                        <a14:foregroundMark x1="60859" y1="32797" x2="60774" y2="36549"/>
                        <a14:foregroundMark x1="59343" y1="34834" x2="59343" y2="34834"/>
                        <a14:foregroundMark x1="60185" y1="36013" x2="60185" y2="36013"/>
                        <a14:foregroundMark x1="70792" y1="86884" x2="70519" y2="87509"/>
                        <a14:foregroundMark x1="88300" y1="46838" x2="70840" y2="86774"/>
                        <a14:foregroundMark x1="71676" y1="88909" x2="75000" y2="88103"/>
                        <a14:foregroundMark x1="82660" y1="45766" x2="93182" y2="89496"/>
                        <a14:foregroundMark x1="96549" y1="48982" x2="92424" y2="84995"/>
                        <a14:foregroundMark x1="92424" y1="84995" x2="93687" y2="96677"/>
                        <a14:foregroundMark x1="93687" y1="96677" x2="95034" y2="98821"/>
                        <a14:foregroundMark x1="98401" y1="50375" x2="98485" y2="99035"/>
                        <a14:foregroundMark x1="71465" y1="10825" x2="81987" y2="60986"/>
                        <a14:foregroundMark x1="76936" y1="13076" x2="81734" y2="52840"/>
                        <a14:foregroundMark x1="83053" y1="32690" x2="83169" y2="33332"/>
                        <a14:foregroundMark x1="79798" y1="14684" x2="83053" y2="32690"/>
                        <a14:foregroundMark x1="67593" y1="11040" x2="76347" y2="60986"/>
                        <a14:foregroundMark x1="69192" y1="41050" x2="68098" y2="43087"/>
                        <a14:foregroundMark x1="39899" y1="85102" x2="29966" y2="87567"/>
                        <a14:backgroundMark x1="54293" y1="15541" x2="47391" y2="78778"/>
                        <a14:backgroundMark x1="54882" y1="26367" x2="59512" y2="71919"/>
                        <a14:backgroundMark x1="70034" y1="51661" x2="60774" y2="65380"/>
                        <a14:backgroundMark x1="83670" y1="40943" x2="83670" y2="40943"/>
                        <a14:backgroundMark x1="83586" y1="42122" x2="83586" y2="35906"/>
                        <a14:backgroundMark x1="83165" y1="33333" x2="85101" y2="43194"/>
                        <a14:backgroundMark x1="83249" y1="32690" x2="83249" y2="32690"/>
                        <a14:backgroundMark x1="83249" y1="33226" x2="83249" y2="33226"/>
                        <a14:backgroundMark x1="70455" y1="87460" x2="64057" y2="99250"/>
                        <a14:backgroundMark x1="57660" y1="93783" x2="56566" y2="94105"/>
                        <a14:backgroundMark x1="71633" y1="88639" x2="71633" y2="88639"/>
                        <a14:backgroundMark x1="71886" y1="89603" x2="71128" y2="87996"/>
                        <a14:backgroundMark x1="72054" y1="88853" x2="72054" y2="88853"/>
                        <a14:backgroundMark x1="71970" y1="89175" x2="71970" y2="891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8235"/>
          <a:stretch/>
        </p:blipFill>
        <p:spPr bwMode="auto">
          <a:xfrm flipH="1">
            <a:off x="57" y="0"/>
            <a:ext cx="60410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August 30, 2023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7AA3B0F-9E4A-817B-0854-F579AB88E04C}"/>
              </a:ext>
            </a:extLst>
          </p:cNvPr>
          <p:cNvGrpSpPr/>
          <p:nvPr userDrawn="1"/>
        </p:nvGrpSpPr>
        <p:grpSpPr>
          <a:xfrm>
            <a:off x="195210" y="183135"/>
            <a:ext cx="5267789" cy="63853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7FBC60D-D7BE-46CF-AD08-2CE383B04146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C5D944E-EC43-AE24-9CC9-D2C228BAFB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81F39A0-5EB4-077C-0B9C-10AC02077980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F06F830-EC7A-8869-5132-C01F19F751CA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153090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251">
            <a:extLst>
              <a:ext uri="{FF2B5EF4-FFF2-40B4-BE49-F238E27FC236}">
                <a16:creationId xmlns:a16="http://schemas.microsoft.com/office/drawing/2014/main" id="{7C336B2F-321B-456B-81E0-9A1CEE04B3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0540" y="-186197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0F521C2-ACDA-3079-573C-099A038F4B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120862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87" descr="A boat in the water with a city in the background&#10;&#10;Description automatically generated with medium confidence">
            <a:extLst>
              <a:ext uri="{FF2B5EF4-FFF2-40B4-BE49-F238E27FC236}">
                <a16:creationId xmlns:a16="http://schemas.microsoft.com/office/drawing/2014/main" id="{93D9F701-A45B-4056-9089-69A8A0B881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4292" y="-1720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5F4C014-8C59-451A-91E2-1BD5CC505E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71892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982B08F6-1496-4C53-9211-3F83785C98BD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4757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C587F0F4-929E-4A62-878F-70D862B3C03E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57878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91">
            <a:extLst>
              <a:ext uri="{FF2B5EF4-FFF2-40B4-BE49-F238E27FC236}">
                <a16:creationId xmlns:a16="http://schemas.microsoft.com/office/drawing/2014/main" id="{AC988EF4-DC1B-47A5-9A3F-A94DF56565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34292" y="-206407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0493398-3253-A5CC-045D-A7E61E8571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41911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C1E05237-1A71-40C4-BE96-A18B9B146F07}"/>
              </a:ext>
            </a:extLst>
          </p:cNvPr>
          <p:cNvSpPr>
            <a:spLocks noChangeAspect="1"/>
          </p:cNvSpPr>
          <p:nvPr userDrawn="1"/>
        </p:nvSpPr>
        <p:spPr>
          <a:xfrm>
            <a:off x="9068427" y="-434301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92F61767-004A-4E28-AC40-A5FB15F9DCE6}"/>
              </a:ext>
            </a:extLst>
          </p:cNvPr>
          <p:cNvSpPr>
            <a:spLocks noChangeAspect="1"/>
          </p:cNvSpPr>
          <p:nvPr userDrawn="1"/>
        </p:nvSpPr>
        <p:spPr>
          <a:xfrm>
            <a:off x="9169012" y="-340646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96">
            <a:extLst>
              <a:ext uri="{FF2B5EF4-FFF2-40B4-BE49-F238E27FC236}">
                <a16:creationId xmlns:a16="http://schemas.microsoft.com/office/drawing/2014/main" id="{BE534D03-BC3E-41D3-86E8-FE5C239CFD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7187" y="-186197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81A9BC4-4577-D4C6-C7FE-0579FD5B57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28845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9C70BD3E-C9D9-4F81-94C9-3BE89B4CED01}"/>
              </a:ext>
            </a:extLst>
          </p:cNvPr>
          <p:cNvSpPr>
            <a:spLocks noChangeAspect="1"/>
          </p:cNvSpPr>
          <p:nvPr userDrawn="1"/>
        </p:nvSpPr>
        <p:spPr>
          <a:xfrm>
            <a:off x="9081128" y="-488511"/>
            <a:ext cx="3653741" cy="3618510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AA6FAA8F-A86A-411A-9FC3-EFBDD1332726}"/>
              </a:ext>
            </a:extLst>
          </p:cNvPr>
          <p:cNvSpPr>
            <a:spLocks noChangeAspect="1"/>
          </p:cNvSpPr>
          <p:nvPr userDrawn="1"/>
        </p:nvSpPr>
        <p:spPr>
          <a:xfrm>
            <a:off x="9181713" y="-398814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9CCF839-CB7A-451F-9F2C-6D310B5F0286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9328725" y="-250939"/>
            <a:ext cx="3128359" cy="3128359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4303CE4-4EF8-8C6C-D299-C37EEC1196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114352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9" name="Picture Placeholder 53">
            <a:extLst>
              <a:ext uri="{FF2B5EF4-FFF2-40B4-BE49-F238E27FC236}">
                <a16:creationId xmlns:a16="http://schemas.microsoft.com/office/drawing/2014/main" id="{9B2EF9C4-E552-4E71-AE20-8B63C44450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74"/>
          <a:stretch/>
        </p:blipFill>
        <p:spPr>
          <a:xfrm>
            <a:off x="9452200" y="-185519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A151164-DB64-1F4A-C49C-3DC0A9A92A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953579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E66E0CA9-813C-4A38-A442-D54CF42E456D}"/>
              </a:ext>
            </a:extLst>
          </p:cNvPr>
          <p:cNvSpPr>
            <a:spLocks noChangeAspect="1"/>
          </p:cNvSpPr>
          <p:nvPr userDrawn="1"/>
        </p:nvSpPr>
        <p:spPr>
          <a:xfrm>
            <a:off x="9156043" y="-430893"/>
            <a:ext cx="3439395" cy="3406231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EE4F08F6-241A-48C3-95FB-BCE74183AF22}"/>
              </a:ext>
            </a:extLst>
          </p:cNvPr>
          <p:cNvSpPr>
            <a:spLocks noChangeAspect="1"/>
          </p:cNvSpPr>
          <p:nvPr userDrawn="1"/>
        </p:nvSpPr>
        <p:spPr>
          <a:xfrm>
            <a:off x="9256323" y="-342876"/>
            <a:ext cx="3236996" cy="320578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7" name="Picture Placeholder 43">
            <a:extLst>
              <a:ext uri="{FF2B5EF4-FFF2-40B4-BE49-F238E27FC236}">
                <a16:creationId xmlns:a16="http://schemas.microsoft.com/office/drawing/2014/main" id="{77C9E4C0-91E8-49BA-94FD-77F0192FB0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34123" y="-193655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8175B43-5090-8A6C-EEB5-8D29870071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529467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18989EB-1D25-438A-979E-CDBA9AE68EB3}"/>
              </a:ext>
            </a:extLst>
          </p:cNvPr>
          <p:cNvSpPr>
            <a:spLocks noChangeAspect="1"/>
          </p:cNvSpPr>
          <p:nvPr userDrawn="1"/>
        </p:nvSpPr>
        <p:spPr>
          <a:xfrm>
            <a:off x="9166646" y="-431513"/>
            <a:ext cx="3439395" cy="3406231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0CD1C5A-B87E-486B-984D-342A4A3D391A}"/>
              </a:ext>
            </a:extLst>
          </p:cNvPr>
          <p:cNvSpPr>
            <a:spLocks noChangeAspect="1"/>
          </p:cNvSpPr>
          <p:nvPr userDrawn="1"/>
        </p:nvSpPr>
        <p:spPr>
          <a:xfrm>
            <a:off x="9250981" y="-332745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4" name="Picture Placeholder 48">
            <a:extLst>
              <a:ext uri="{FF2B5EF4-FFF2-40B4-BE49-F238E27FC236}">
                <a16:creationId xmlns:a16="http://schemas.microsoft.com/office/drawing/2014/main" id="{E9D9A240-BDA6-4525-B95E-41E70455B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27419" y="-154537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17838D-FB38-56E4-1FE0-2D4337B925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769314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9" name="Picture Placeholder 34">
            <a:extLst>
              <a:ext uri="{FF2B5EF4-FFF2-40B4-BE49-F238E27FC236}">
                <a16:creationId xmlns:a16="http://schemas.microsoft.com/office/drawing/2014/main" id="{E0B88EC2-4601-43F2-A32E-E9DD6E9881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56447" y="-171005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C564B77-7F94-6F2F-DA09-D6A8805B08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38953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55" descr="A picture containing person, people, close&#10;&#10;Description automatically generated">
            <a:extLst>
              <a:ext uri="{FF2B5EF4-FFF2-40B4-BE49-F238E27FC236}">
                <a16:creationId xmlns:a16="http://schemas.microsoft.com/office/drawing/2014/main" id="{A053A14F-3154-48C1-95DE-448E4809B2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17203" y="-211669"/>
            <a:ext cx="2945028" cy="2945028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FFD4E3B-BC6B-E152-7E5D-7FA1853196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2115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slideLayout" Target="../slideLayouts/slideLayout167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slideLayout" Target="../slideLayouts/slideLayout168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7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slideLayout" Target="../slideLayouts/slideLayout185.xml"/><Relationship Id="rId18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75.xml"/><Relationship Id="rId21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17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74.xml"/><Relationship Id="rId16" Type="http://schemas.openxmlformats.org/officeDocument/2006/relationships/slideLayout" Target="../slideLayouts/slideLayout188.xml"/><Relationship Id="rId20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5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82.xml"/><Relationship Id="rId19" Type="http://schemas.openxmlformats.org/officeDocument/2006/relationships/slideLayout" Target="../slideLayouts/slideLayout191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slideLayout" Target="../slideLayouts/slideLayout186.xml"/><Relationship Id="rId22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13" Type="http://schemas.openxmlformats.org/officeDocument/2006/relationships/slideLayout" Target="../slideLayouts/slideLayout206.xml"/><Relationship Id="rId18" Type="http://schemas.openxmlformats.org/officeDocument/2006/relationships/slideLayout" Target="../slideLayouts/slideLayout211.xml"/><Relationship Id="rId3" Type="http://schemas.openxmlformats.org/officeDocument/2006/relationships/slideLayout" Target="../slideLayouts/slideLayout196.xml"/><Relationship Id="rId21" Type="http://schemas.openxmlformats.org/officeDocument/2006/relationships/slideLayout" Target="../slideLayouts/slideLayout214.xml"/><Relationship Id="rId7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5.xml"/><Relationship Id="rId17" Type="http://schemas.openxmlformats.org/officeDocument/2006/relationships/slideLayout" Target="../slideLayouts/slideLayout210.xml"/><Relationship Id="rId25" Type="http://schemas.openxmlformats.org/officeDocument/2006/relationships/theme" Target="../theme/theme13.xml"/><Relationship Id="rId2" Type="http://schemas.openxmlformats.org/officeDocument/2006/relationships/slideLayout" Target="../slideLayouts/slideLayout195.xml"/><Relationship Id="rId16" Type="http://schemas.openxmlformats.org/officeDocument/2006/relationships/slideLayout" Target="../slideLayouts/slideLayout209.xml"/><Relationship Id="rId20" Type="http://schemas.openxmlformats.org/officeDocument/2006/relationships/slideLayout" Target="../slideLayouts/slideLayout213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204.xml"/><Relationship Id="rId24" Type="http://schemas.openxmlformats.org/officeDocument/2006/relationships/slideLayout" Target="../slideLayouts/slideLayout217.xml"/><Relationship Id="rId5" Type="http://schemas.openxmlformats.org/officeDocument/2006/relationships/slideLayout" Target="../slideLayouts/slideLayout198.xml"/><Relationship Id="rId15" Type="http://schemas.openxmlformats.org/officeDocument/2006/relationships/slideLayout" Target="../slideLayouts/slideLayout208.xml"/><Relationship Id="rId23" Type="http://schemas.openxmlformats.org/officeDocument/2006/relationships/slideLayout" Target="../slideLayouts/slideLayout216.xml"/><Relationship Id="rId10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207.xml"/><Relationship Id="rId22" Type="http://schemas.openxmlformats.org/officeDocument/2006/relationships/slideLayout" Target="../slideLayouts/slideLayout21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slideLayout" Target="../slideLayouts/slideLayout230.xml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17" Type="http://schemas.openxmlformats.org/officeDocument/2006/relationships/theme" Target="../theme/theme14.xml"/><Relationship Id="rId2" Type="http://schemas.openxmlformats.org/officeDocument/2006/relationships/slideLayout" Target="../slideLayouts/slideLayout219.xml"/><Relationship Id="rId16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22.xml"/><Relationship Id="rId15" Type="http://schemas.openxmlformats.org/officeDocument/2006/relationships/slideLayout" Target="../slideLayouts/slideLayout232.xml"/><Relationship Id="rId10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slideLayout" Target="../slideLayouts/slideLayout23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77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97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17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37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54122ED7-1914-434F-9883-AE5935302A81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2253695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44" r:id="rId2"/>
    <p:sldLayoutId id="2147483825" r:id="rId3"/>
    <p:sldLayoutId id="2147483826" r:id="rId4"/>
    <p:sldLayoutId id="2147483874" r:id="rId5"/>
    <p:sldLayoutId id="2147483876" r:id="rId6"/>
    <p:sldLayoutId id="2147483873" r:id="rId7"/>
    <p:sldLayoutId id="2147483875" r:id="rId8"/>
    <p:sldLayoutId id="2147483924" r:id="rId9"/>
    <p:sldLayoutId id="2147483925" r:id="rId10"/>
    <p:sldLayoutId id="2147483926" r:id="rId11"/>
    <p:sldLayoutId id="2147483927" r:id="rId12"/>
    <p:sldLayoutId id="2147483928" r:id="rId13"/>
    <p:sldLayoutId id="2147483976" r:id="rId14"/>
    <p:sldLayoutId id="2147483974" r:id="rId15"/>
    <p:sldLayoutId id="2147483975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AD672FCC-E76F-4638-A8CE-03BB07DB1DB5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057125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850" r:id="rId2"/>
    <p:sldLayoutId id="2147483851" r:id="rId3"/>
    <p:sldLayoutId id="2147483852" r:id="rId4"/>
    <p:sldLayoutId id="2147483891" r:id="rId5"/>
    <p:sldLayoutId id="2147483892" r:id="rId6"/>
    <p:sldLayoutId id="2147483893" r:id="rId7"/>
    <p:sldLayoutId id="2147483894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71" r:id="rId14"/>
    <p:sldLayoutId id="2147483972" r:id="rId15"/>
    <p:sldLayoutId id="2147483973" r:id="rId16"/>
    <p:sldLayoutId id="2147484031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0040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717D016D-D214-4C87-8FC7-68B10373FDFE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868986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20" r:id="rId2"/>
    <p:sldLayoutId id="2147483821" r:id="rId3"/>
    <p:sldLayoutId id="2147483867" r:id="rId4"/>
    <p:sldLayoutId id="2147483868" r:id="rId5"/>
    <p:sldLayoutId id="2147483869" r:id="rId6"/>
    <p:sldLayoutId id="2147483915" r:id="rId7"/>
    <p:sldLayoutId id="2147483916" r:id="rId8"/>
    <p:sldLayoutId id="2147483917" r:id="rId9"/>
    <p:sldLayoutId id="2147483918" r:id="rId10"/>
    <p:sldLayoutId id="2147483997" r:id="rId11"/>
    <p:sldLayoutId id="2147483998" r:id="rId12"/>
    <p:sldLayoutId id="2147483999" r:id="rId13"/>
    <p:sldLayoutId id="2147484000" r:id="rId14"/>
    <p:sldLayoutId id="2147484004" r:id="rId15"/>
    <p:sldLayoutId id="2147484001" r:id="rId16"/>
    <p:sldLayoutId id="2147484002" r:id="rId17"/>
    <p:sldLayoutId id="2147484003" r:id="rId18"/>
    <p:sldLayoutId id="2147483822" r:id="rId19"/>
    <p:sldLayoutId id="2147483817" r:id="rId20"/>
    <p:sldLayoutId id="2147483819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AF78F4EF-85D1-4B4A-9FB5-E54115C93E04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1158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837" r:id="rId2"/>
    <p:sldLayoutId id="2147483784" r:id="rId3"/>
    <p:sldLayoutId id="2147483870" r:id="rId4"/>
    <p:sldLayoutId id="2147483871" r:id="rId5"/>
    <p:sldLayoutId id="2147483872" r:id="rId6"/>
    <p:sldLayoutId id="2147483920" r:id="rId7"/>
    <p:sldLayoutId id="2147483921" r:id="rId8"/>
    <p:sldLayoutId id="2147483922" r:id="rId9"/>
    <p:sldLayoutId id="2147483923" r:id="rId10"/>
    <p:sldLayoutId id="2147484005" r:id="rId11"/>
    <p:sldLayoutId id="2147484006" r:id="rId12"/>
    <p:sldLayoutId id="2147484007" r:id="rId13"/>
    <p:sldLayoutId id="2147484008" r:id="rId14"/>
    <p:sldLayoutId id="2147484012" r:id="rId15"/>
    <p:sldLayoutId id="2147484009" r:id="rId16"/>
    <p:sldLayoutId id="2147484010" r:id="rId17"/>
    <p:sldLayoutId id="2147484011" r:id="rId18"/>
    <p:sldLayoutId id="2147483767" r:id="rId19"/>
    <p:sldLayoutId id="2147484032" r:id="rId20"/>
    <p:sldLayoutId id="2147484035" r:id="rId21"/>
    <p:sldLayoutId id="2147483740" r:id="rId22"/>
    <p:sldLayoutId id="2147484041" r:id="rId23"/>
    <p:sldLayoutId id="2147483818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A87EE1C9-E666-4B50-B7DD-2BDF88DB411D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2791372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835" r:id="rId3"/>
    <p:sldLayoutId id="2147483834" r:id="rId4"/>
    <p:sldLayoutId id="2147483877" r:id="rId5"/>
    <p:sldLayoutId id="2147483878" r:id="rId6"/>
    <p:sldLayoutId id="2147483879" r:id="rId7"/>
    <p:sldLayoutId id="2147483880" r:id="rId8"/>
    <p:sldLayoutId id="2147483937" r:id="rId9"/>
    <p:sldLayoutId id="2147483938" r:id="rId10"/>
    <p:sldLayoutId id="2147483939" r:id="rId11"/>
    <p:sldLayoutId id="2147483940" r:id="rId12"/>
    <p:sldLayoutId id="2147483941" r:id="rId13"/>
    <p:sldLayoutId id="2147483977" r:id="rId14"/>
    <p:sldLayoutId id="2147483978" r:id="rId15"/>
    <p:sldLayoutId id="2147483979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02D2972E-663A-463B-8CA1-05A0C01C2F2E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2722686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36" r:id="rId2"/>
    <p:sldLayoutId id="2147484028" r:id="rId3"/>
    <p:sldLayoutId id="2147484033" r:id="rId4"/>
    <p:sldLayoutId id="2147484034" r:id="rId5"/>
    <p:sldLayoutId id="2147484029" r:id="rId6"/>
    <p:sldLayoutId id="2147484030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C52FD201-0153-4BF5-868F-D4D67620383C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606287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814" r:id="rId2"/>
    <p:sldLayoutId id="2147483815" r:id="rId3"/>
    <p:sldLayoutId id="2147483833" r:id="rId4"/>
    <p:sldLayoutId id="2147483827" r:id="rId5"/>
    <p:sldLayoutId id="2147483828" r:id="rId6"/>
    <p:sldLayoutId id="2147483829" r:id="rId7"/>
    <p:sldLayoutId id="2147483881" r:id="rId8"/>
    <p:sldLayoutId id="2147483882" r:id="rId9"/>
    <p:sldLayoutId id="2147483883" r:id="rId10"/>
    <p:sldLayoutId id="2147483884" r:id="rId11"/>
    <p:sldLayoutId id="2147483929" r:id="rId12"/>
    <p:sldLayoutId id="2147483930" r:id="rId13"/>
    <p:sldLayoutId id="2147483931" r:id="rId14"/>
    <p:sldLayoutId id="2147483932" r:id="rId15"/>
    <p:sldLayoutId id="2147483933" r:id="rId16"/>
    <p:sldLayoutId id="2147483934" r:id="rId17"/>
    <p:sldLayoutId id="2147483935" r:id="rId18"/>
    <p:sldLayoutId id="2147483936" r:id="rId19"/>
    <p:sldLayoutId id="2147483769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1919A812-8BC6-45B6-AC1F-C0396845F393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727954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73" r:id="rId2"/>
    <p:sldLayoutId id="2147483774" r:id="rId3"/>
    <p:sldLayoutId id="2147484017" r:id="rId4"/>
    <p:sldLayoutId id="2147484018" r:id="rId5"/>
    <p:sldLayoutId id="2147484019" r:id="rId6"/>
    <p:sldLayoutId id="2147484021" r:id="rId7"/>
    <p:sldLayoutId id="2147484022" r:id="rId8"/>
    <p:sldLayoutId id="2147484023" r:id="rId9"/>
    <p:sldLayoutId id="2147484026" r:id="rId10"/>
    <p:sldLayoutId id="21474840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0E8F3440-0754-4B0B-9851-5EFDBEFA1ED3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687066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76" r:id="rId2"/>
    <p:sldLayoutId id="2147483781" r:id="rId3"/>
    <p:sldLayoutId id="2147483839" r:id="rId4"/>
    <p:sldLayoutId id="2147483830" r:id="rId5"/>
    <p:sldLayoutId id="2147483831" r:id="rId6"/>
    <p:sldLayoutId id="2147483832" r:id="rId7"/>
    <p:sldLayoutId id="2147483889" r:id="rId8"/>
    <p:sldLayoutId id="2147483886" r:id="rId9"/>
    <p:sldLayoutId id="2147483887" r:id="rId10"/>
    <p:sldLayoutId id="2147483888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780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A06B67D6-D2AA-4CB5-BB14-6A217937A716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009645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841" r:id="rId2"/>
    <p:sldLayoutId id="2147483842" r:id="rId3"/>
    <p:sldLayoutId id="2147483840" r:id="rId4"/>
    <p:sldLayoutId id="2147483843" r:id="rId5"/>
    <p:sldLayoutId id="2147483803" r:id="rId6"/>
    <p:sldLayoutId id="2147483802" r:id="rId7"/>
    <p:sldLayoutId id="2147483895" r:id="rId8"/>
    <p:sldLayoutId id="2147483896" r:id="rId9"/>
    <p:sldLayoutId id="2147483897" r:id="rId10"/>
    <p:sldLayoutId id="2147483898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3961" r:id="rId18"/>
    <p:sldLayoutId id="2147483962" r:id="rId19"/>
    <p:sldLayoutId id="2147483804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5BC2915C-91CA-41FD-ADEC-0598F2C5F120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369645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5" r:id="rId2"/>
    <p:sldLayoutId id="2147483806" r:id="rId3"/>
    <p:sldLayoutId id="2147483845" r:id="rId4"/>
    <p:sldLayoutId id="2147483846" r:id="rId5"/>
    <p:sldLayoutId id="2147483847" r:id="rId6"/>
    <p:sldLayoutId id="2147483848" r:id="rId7"/>
    <p:sldLayoutId id="2147483900" r:id="rId8"/>
    <p:sldLayoutId id="2147483901" r:id="rId9"/>
    <p:sldLayoutId id="2147483902" r:id="rId10"/>
    <p:sldLayoutId id="2147483903" r:id="rId11"/>
    <p:sldLayoutId id="2147483963" r:id="rId12"/>
    <p:sldLayoutId id="2147483967" r:id="rId13"/>
    <p:sldLayoutId id="2147483968" r:id="rId14"/>
    <p:sldLayoutId id="2147483969" r:id="rId15"/>
    <p:sldLayoutId id="2147483970" r:id="rId16"/>
    <p:sldLayoutId id="2147483964" r:id="rId17"/>
    <p:sldLayoutId id="2147483965" r:id="rId18"/>
    <p:sldLayoutId id="2147483966" r:id="rId19"/>
    <p:sldLayoutId id="2147483807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F9674E2C-1072-4356-A07B-0A32BBDF9221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560827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808" r:id="rId2"/>
    <p:sldLayoutId id="2147483809" r:id="rId3"/>
    <p:sldLayoutId id="2147483856" r:id="rId4"/>
    <p:sldLayoutId id="2147483853" r:id="rId5"/>
    <p:sldLayoutId id="2147483854" r:id="rId6"/>
    <p:sldLayoutId id="2147483855" r:id="rId7"/>
    <p:sldLayoutId id="2147483905" r:id="rId8"/>
    <p:sldLayoutId id="2147483906" r:id="rId9"/>
    <p:sldLayoutId id="2147483907" r:id="rId10"/>
    <p:sldLayoutId id="2147483908" r:id="rId11"/>
    <p:sldLayoutId id="2147483989" r:id="rId12"/>
    <p:sldLayoutId id="2147483990" r:id="rId13"/>
    <p:sldLayoutId id="2147483991" r:id="rId14"/>
    <p:sldLayoutId id="2147483992" r:id="rId15"/>
    <p:sldLayoutId id="2147483996" r:id="rId16"/>
    <p:sldLayoutId id="2147483993" r:id="rId17"/>
    <p:sldLayoutId id="2147483994" r:id="rId18"/>
    <p:sldLayoutId id="2147483995" r:id="rId19"/>
    <p:sldLayoutId id="2147483810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D40E5C91-D701-4DF3-8EA8-6487D751F113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80743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11" r:id="rId2"/>
    <p:sldLayoutId id="2147483812" r:id="rId3"/>
    <p:sldLayoutId id="2147483861" r:id="rId4"/>
    <p:sldLayoutId id="2147483858" r:id="rId5"/>
    <p:sldLayoutId id="2147483859" r:id="rId6"/>
    <p:sldLayoutId id="2147483860" r:id="rId7"/>
    <p:sldLayoutId id="2147483910" r:id="rId8"/>
    <p:sldLayoutId id="2147483911" r:id="rId9"/>
    <p:sldLayoutId id="2147483912" r:id="rId10"/>
    <p:sldLayoutId id="2147483913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813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4.png"/><Relationship Id="rId1" Type="http://schemas.openxmlformats.org/officeDocument/2006/relationships/slideLayout" Target="../slideLayouts/slideLayout5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226.png"/><Relationship Id="rId4" Type="http://schemas.microsoft.com/office/2007/relationships/hdphoto" Target="../media/hdphoto35.wdp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35.wdp"/><Relationship Id="rId2" Type="http://schemas.openxmlformats.org/officeDocument/2006/relationships/image" Target="../media/image227.png"/><Relationship Id="rId1" Type="http://schemas.openxmlformats.org/officeDocument/2006/relationships/slideLayout" Target="../slideLayouts/slideLayout5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0.png"/><Relationship Id="rId3" Type="http://schemas.openxmlformats.org/officeDocument/2006/relationships/image" Target="../media/image60.png"/><Relationship Id="rId7" Type="http://schemas.openxmlformats.org/officeDocument/2006/relationships/image" Target="../media/image229.png"/><Relationship Id="rId2" Type="http://schemas.openxmlformats.org/officeDocument/2006/relationships/image" Target="../media/image228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26.png"/><Relationship Id="rId5" Type="http://schemas.microsoft.com/office/2007/relationships/hdphoto" Target="../media/hdphoto35.wdp"/><Relationship Id="rId4" Type="http://schemas.openxmlformats.org/officeDocument/2006/relationships/image" Target="../media/image225.pn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35.wdp"/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60.png"/><Relationship Id="rId4" Type="http://schemas.openxmlformats.org/officeDocument/2006/relationships/image" Target="../media/image231.png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35.wdp"/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53.xml"/><Relationship Id="rId6" Type="http://schemas.microsoft.com/office/2007/relationships/hdphoto" Target="../media/hdphoto36.wdp"/><Relationship Id="rId5" Type="http://schemas.openxmlformats.org/officeDocument/2006/relationships/image" Target="../media/image233.png"/><Relationship Id="rId4" Type="http://schemas.openxmlformats.org/officeDocument/2006/relationships/image" Target="../media/image23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2" Type="http://schemas.openxmlformats.org/officeDocument/2006/relationships/image" Target="../media/image234.jpeg"/><Relationship Id="rId1" Type="http://schemas.openxmlformats.org/officeDocument/2006/relationships/slideLayout" Target="../slideLayouts/slideLayout53.xml"/><Relationship Id="rId4" Type="http://schemas.microsoft.com/office/2007/relationships/hdphoto" Target="../media/hdphoto36.wdp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2" Type="http://schemas.openxmlformats.org/officeDocument/2006/relationships/image" Target="../media/image235.png"/><Relationship Id="rId1" Type="http://schemas.openxmlformats.org/officeDocument/2006/relationships/slideLayout" Target="../slideLayouts/slideLayout54.xml"/><Relationship Id="rId4" Type="http://schemas.microsoft.com/office/2007/relationships/hdphoto" Target="../media/hdphoto36.wdp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6.png"/><Relationship Id="rId1" Type="http://schemas.openxmlformats.org/officeDocument/2006/relationships/slideLayout" Target="../slideLayouts/slideLayout21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6.png"/><Relationship Id="rId1" Type="http://schemas.openxmlformats.org/officeDocument/2006/relationships/slideLayout" Target="../slideLayouts/slideLayout2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6.png"/><Relationship Id="rId1" Type="http://schemas.openxmlformats.org/officeDocument/2006/relationships/slideLayout" Target="../slideLayouts/slideLayout21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6.png"/><Relationship Id="rId1" Type="http://schemas.openxmlformats.org/officeDocument/2006/relationships/slideLayout" Target="../slideLayouts/slideLayout21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2" Type="http://schemas.openxmlformats.org/officeDocument/2006/relationships/image" Target="../media/image235.png"/><Relationship Id="rId1" Type="http://schemas.openxmlformats.org/officeDocument/2006/relationships/slideLayout" Target="../slideLayouts/slideLayout54.xml"/><Relationship Id="rId4" Type="http://schemas.microsoft.com/office/2007/relationships/hdphoto" Target="../media/hdphoto36.wdp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1.png"/><Relationship Id="rId2" Type="http://schemas.openxmlformats.org/officeDocument/2006/relationships/image" Target="../media/image220.png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223.png"/><Relationship Id="rId4" Type="http://schemas.openxmlformats.org/officeDocument/2006/relationships/image" Target="../media/image222.png"/></Relationships>
</file>

<file path=ppt/slides/_rels/slide40.xml.rels><?xml version="1.0" encoding="UTF-8" standalone="yes"?>
<Relationships xmlns="http://schemas.openxmlformats.org/package/2006/relationships"><Relationship Id="rId3" Type="http://schemas.microsoft.com/office/2007/relationships/hdphoto" Target="../media/hdphoto36.wdp"/><Relationship Id="rId2" Type="http://schemas.openxmlformats.org/officeDocument/2006/relationships/image" Target="../media/image233.png"/><Relationship Id="rId1" Type="http://schemas.openxmlformats.org/officeDocument/2006/relationships/slideLayout" Target="../slideLayouts/slideLayout53.xml"/></Relationships>
</file>

<file path=ppt/slides/_rels/slide41.xml.rels><?xml version="1.0" encoding="UTF-8" standalone="yes"?>
<Relationships xmlns="http://schemas.openxmlformats.org/package/2006/relationships"><Relationship Id="rId3" Type="http://schemas.microsoft.com/office/2007/relationships/hdphoto" Target="../media/hdphoto36.wdp"/><Relationship Id="rId2" Type="http://schemas.openxmlformats.org/officeDocument/2006/relationships/image" Target="../media/image233.png"/><Relationship Id="rId1" Type="http://schemas.openxmlformats.org/officeDocument/2006/relationships/slideLayout" Target="../slideLayouts/slideLayout53.xml"/></Relationships>
</file>

<file path=ppt/slides/_rels/slide42.xml.rels><?xml version="1.0" encoding="UTF-8" standalone="yes"?>
<Relationships xmlns="http://schemas.openxmlformats.org/package/2006/relationships"><Relationship Id="rId8" Type="http://schemas.microsoft.com/office/2007/relationships/hdphoto" Target="../media/hdphoto37.wdp"/><Relationship Id="rId3" Type="http://schemas.microsoft.com/office/2007/relationships/hdphoto" Target="../media/hdphoto36.wdp"/><Relationship Id="rId7" Type="http://schemas.openxmlformats.org/officeDocument/2006/relationships/image" Target="../media/image240.png"/><Relationship Id="rId12" Type="http://schemas.microsoft.com/office/2007/relationships/hdphoto" Target="../media/hdphoto39.wdp"/><Relationship Id="rId2" Type="http://schemas.openxmlformats.org/officeDocument/2006/relationships/image" Target="../media/image233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39.png"/><Relationship Id="rId11" Type="http://schemas.openxmlformats.org/officeDocument/2006/relationships/image" Target="../media/image242.png"/><Relationship Id="rId5" Type="http://schemas.openxmlformats.org/officeDocument/2006/relationships/image" Target="../media/image238.png"/><Relationship Id="rId10" Type="http://schemas.microsoft.com/office/2007/relationships/hdphoto" Target="../media/hdphoto38.wdp"/><Relationship Id="rId4" Type="http://schemas.openxmlformats.org/officeDocument/2006/relationships/image" Target="../media/image237.png"/><Relationship Id="rId9" Type="http://schemas.openxmlformats.org/officeDocument/2006/relationships/image" Target="../media/image241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45.png"/><Relationship Id="rId5" Type="http://schemas.openxmlformats.org/officeDocument/2006/relationships/image" Target="../media/image244.png"/><Relationship Id="rId4" Type="http://schemas.microsoft.com/office/2007/relationships/hdphoto" Target="../media/hdphoto36.wdp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45.png"/><Relationship Id="rId5" Type="http://schemas.openxmlformats.org/officeDocument/2006/relationships/image" Target="../media/image244.png"/><Relationship Id="rId4" Type="http://schemas.microsoft.com/office/2007/relationships/hdphoto" Target="../media/hdphoto36.wdp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45.png"/><Relationship Id="rId5" Type="http://schemas.openxmlformats.org/officeDocument/2006/relationships/image" Target="../media/image244.png"/><Relationship Id="rId4" Type="http://schemas.microsoft.com/office/2007/relationships/hdphoto" Target="../media/hdphoto36.wdp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45.png"/><Relationship Id="rId5" Type="http://schemas.openxmlformats.org/officeDocument/2006/relationships/image" Target="../media/image244.png"/><Relationship Id="rId4" Type="http://schemas.microsoft.com/office/2007/relationships/hdphoto" Target="../media/hdphoto36.wdp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246.jpeg"/><Relationship Id="rId1" Type="http://schemas.openxmlformats.org/officeDocument/2006/relationships/slideLayout" Target="../slideLayouts/slideLayout53.xml"/><Relationship Id="rId5" Type="http://schemas.microsoft.com/office/2007/relationships/hdphoto" Target="../media/hdphoto36.wdp"/><Relationship Id="rId4" Type="http://schemas.openxmlformats.org/officeDocument/2006/relationships/image" Target="../media/image24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6.png"/><Relationship Id="rId1" Type="http://schemas.openxmlformats.org/officeDocument/2006/relationships/slideLayout" Target="../slideLayouts/slideLayout215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6.png"/><Relationship Id="rId1" Type="http://schemas.openxmlformats.org/officeDocument/2006/relationships/slideLayout" Target="../slideLayouts/slideLayout215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6.png"/><Relationship Id="rId1" Type="http://schemas.openxmlformats.org/officeDocument/2006/relationships/slideLayout" Target="../slideLayouts/slideLayout21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6.png"/><Relationship Id="rId1" Type="http://schemas.openxmlformats.org/officeDocument/2006/relationships/slideLayout" Target="../slideLayouts/slideLayout21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app=desktop&amp;v=tShavGuo0_E" TargetMode="External"/><Relationship Id="rId2" Type="http://schemas.openxmlformats.org/officeDocument/2006/relationships/image" Target="../media/image248.png"/><Relationship Id="rId1" Type="http://schemas.openxmlformats.org/officeDocument/2006/relationships/slideLayout" Target="../slideLayouts/slideLayout17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0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2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9.jpeg"/><Relationship Id="rId1" Type="http://schemas.openxmlformats.org/officeDocument/2006/relationships/slideLayout" Target="../slideLayouts/slideLayout191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9.jpeg"/><Relationship Id="rId1" Type="http://schemas.openxmlformats.org/officeDocument/2006/relationships/slideLayout" Target="../slideLayouts/slideLayout19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1.png"/><Relationship Id="rId2" Type="http://schemas.openxmlformats.org/officeDocument/2006/relationships/image" Target="../media/image250.png"/><Relationship Id="rId1" Type="http://schemas.openxmlformats.org/officeDocument/2006/relationships/slideLayout" Target="../slideLayouts/slideLayout16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08A47195-4824-4907-8AE9-D7AD4BE08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/>
              <a:t>	PRESENTATION SKIL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6E7CE4-2A7C-47FD-AE9E-86763B9D31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77500" lnSpcReduction="20000"/>
          </a:bodyPr>
          <a:lstStyle/>
          <a:p>
            <a:r>
              <a:rPr lang="nl-NL"/>
              <a:t>DEVELOPING PUBLIC SPEAKING -  </a:t>
            </a:r>
            <a:r>
              <a:rPr lang="nl-NL">
                <a:solidFill>
                  <a:schemeClr val="accent4">
                    <a:lumMod val="75000"/>
                  </a:schemeClr>
                </a:solidFill>
              </a:rPr>
              <a:t>CLASSROOM</a:t>
            </a:r>
          </a:p>
        </p:txBody>
      </p:sp>
    </p:spTree>
    <p:extLst>
      <p:ext uri="{BB962C8B-B14F-4D97-AF65-F5344CB8AC3E}">
        <p14:creationId xmlns:p14="http://schemas.microsoft.com/office/powerpoint/2010/main" val="23384732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5F73E5D-07C4-E234-AA46-EE07CE6A2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9F1A1AF-469A-CA40-583A-206E17BD35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FOR A SUCCESSFUL PRESENTATION ...</a:t>
            </a:r>
          </a:p>
        </p:txBody>
      </p:sp>
    </p:spTree>
    <p:extLst>
      <p:ext uri="{BB962C8B-B14F-4D97-AF65-F5344CB8AC3E}">
        <p14:creationId xmlns:p14="http://schemas.microsoft.com/office/powerpoint/2010/main" val="19038374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06F24-FBDF-45AD-3149-513BCA43E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34" y="62654"/>
            <a:ext cx="9532916" cy="706438"/>
          </a:xfrm>
        </p:spPr>
        <p:txBody>
          <a:bodyPr>
            <a:normAutofit/>
          </a:bodyPr>
          <a:lstStyle/>
          <a:p>
            <a:r>
              <a:rPr lang="nl-NL"/>
              <a:t>USING PRESENTATION SKIL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717DB1-7691-35C9-777C-DDE6EEEA50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5455" y="2062847"/>
            <a:ext cx="8865269" cy="4218590"/>
          </a:xfrm>
        </p:spPr>
        <p:txBody>
          <a:bodyPr/>
          <a:lstStyle/>
          <a:p>
            <a:r>
              <a:rPr lang="en-US"/>
              <a:t>For example….</a:t>
            </a:r>
            <a:br>
              <a:rPr lang="en-US"/>
            </a:br>
            <a:endParaRPr lang="en-US"/>
          </a:p>
          <a:p>
            <a:pPr marL="457200" indent="-457200">
              <a:buFont typeface="Ink Free" panose="03080402000500000000" pitchFamily="66" charset="0"/>
              <a:buChar char="•"/>
            </a:pPr>
            <a:r>
              <a:rPr lang="en-US"/>
              <a:t>To present or make a speech at a conference or event</a:t>
            </a:r>
          </a:p>
          <a:p>
            <a:pPr marL="457200" indent="-457200">
              <a:buFont typeface="Ink Free" panose="03080402000500000000" pitchFamily="66" charset="0"/>
              <a:buChar char="•"/>
            </a:pPr>
            <a:r>
              <a:rPr lang="en-US"/>
              <a:t>To deliver a speech at a wedding</a:t>
            </a:r>
          </a:p>
          <a:p>
            <a:pPr marL="457200" indent="-457200">
              <a:buFont typeface="Ink Free" panose="03080402000500000000" pitchFamily="66" charset="0"/>
              <a:buChar char="•"/>
            </a:pPr>
            <a:r>
              <a:rPr lang="en-US"/>
              <a:t>To publicly thank someone </a:t>
            </a:r>
          </a:p>
          <a:p>
            <a:pPr marL="457200" indent="-457200">
              <a:buFont typeface="Ink Free" panose="03080402000500000000" pitchFamily="66" charset="0"/>
              <a:buChar char="•"/>
            </a:pPr>
            <a:r>
              <a:rPr lang="en-US"/>
              <a:t>On behalf of a team, to say goodbye to a colleague who is leaving </a:t>
            </a:r>
          </a:p>
          <a:p>
            <a:pPr marL="457200" indent="-457200">
              <a:buFont typeface="Ink Free" panose="03080402000500000000" pitchFamily="66" charset="0"/>
              <a:buChar char="•"/>
            </a:pPr>
            <a:r>
              <a:rPr lang="en-US"/>
              <a:t>To seek investment or a loan to help you set up a new business.</a:t>
            </a:r>
          </a:p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914599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06F24-FBDF-45AD-3149-513BCA43E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34" y="62654"/>
            <a:ext cx="9590066" cy="706438"/>
          </a:xfrm>
        </p:spPr>
        <p:txBody>
          <a:bodyPr>
            <a:normAutofit/>
          </a:bodyPr>
          <a:lstStyle/>
          <a:p>
            <a:r>
              <a:rPr lang="nl-NL"/>
              <a:t>THE IMPORTANCE OF PRESENTATION SKILL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D9513B3-3B2B-69B9-E545-5230F7AA04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86978" y="1510026"/>
            <a:ext cx="7461972" cy="4528824"/>
          </a:xfrm>
        </p:spPr>
        <p:txBody>
          <a:bodyPr/>
          <a:lstStyle/>
          <a:p>
            <a:r>
              <a:rPr lang="en-US" dirty="0"/>
              <a:t>By presenting well and communicating effectively, you can: </a:t>
            </a:r>
            <a:br>
              <a:rPr lang="en-US" dirty="0"/>
            </a:br>
            <a:r>
              <a:rPr lang="en-US" dirty="0"/>
              <a:t> </a:t>
            </a:r>
          </a:p>
          <a:p>
            <a:pPr marL="457200" indent="-457200">
              <a:buFont typeface="Ink Free" panose="03080402000500000000" pitchFamily="66" charset="0"/>
              <a:buChar char="•"/>
            </a:pPr>
            <a:r>
              <a:rPr lang="en-US" dirty="0"/>
              <a:t>Develop a competitive advantage during a job</a:t>
            </a:r>
            <a:r>
              <a:rPr lang="en-US"/>
              <a:t>/internship search</a:t>
            </a:r>
            <a:endParaRPr lang="en-US" dirty="0"/>
          </a:p>
          <a:p>
            <a:pPr marL="457200" indent="-457200">
              <a:buFont typeface="Ink Free" panose="03080402000500000000" pitchFamily="66" charset="0"/>
              <a:buChar char="•"/>
            </a:pPr>
            <a:r>
              <a:rPr lang="en-US" dirty="0"/>
              <a:t>Gain the respect of your peers  </a:t>
            </a:r>
          </a:p>
          <a:p>
            <a:pPr marL="457200" indent="-457200">
              <a:buFont typeface="Ink Free" panose="03080402000500000000" pitchFamily="66" charset="0"/>
              <a:buChar char="•"/>
            </a:pPr>
            <a:r>
              <a:rPr lang="en-US" dirty="0"/>
              <a:t>Express your ideas, views and needs better</a:t>
            </a:r>
          </a:p>
          <a:p>
            <a:pPr marL="457200" indent="-457200">
              <a:buFont typeface="Ink Free" panose="03080402000500000000" pitchFamily="66" charset="0"/>
              <a:buChar char="•"/>
            </a:pPr>
            <a:r>
              <a:rPr lang="en-US" dirty="0"/>
              <a:t>Build your morale </a:t>
            </a:r>
          </a:p>
          <a:p>
            <a:pPr marL="457200" indent="-457200">
              <a:buFont typeface="Ink Free" panose="03080402000500000000" pitchFamily="66" charset="0"/>
              <a:buChar char="•"/>
            </a:pPr>
            <a:r>
              <a:rPr lang="en-US" dirty="0"/>
              <a:t>Increase your self-confidence</a:t>
            </a:r>
          </a:p>
          <a:p>
            <a:pPr marL="457200" indent="-457200">
              <a:buFont typeface="Ink Free" panose="03080402000500000000" pitchFamily="66" charset="0"/>
              <a:buChar char="•"/>
            </a:pPr>
            <a:r>
              <a:rPr lang="en-US" dirty="0"/>
              <a:t>Help building your career</a:t>
            </a:r>
          </a:p>
        </p:txBody>
      </p:sp>
    </p:spTree>
    <p:extLst>
      <p:ext uri="{BB962C8B-B14F-4D97-AF65-F5344CB8AC3E}">
        <p14:creationId xmlns:p14="http://schemas.microsoft.com/office/powerpoint/2010/main" val="36546987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18D157D-C5E3-8719-26D4-E060BEDE4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800"/>
              <a:t>DESIGNING YOUR PRESENTATION</a:t>
            </a:r>
          </a:p>
        </p:txBody>
      </p:sp>
    </p:spTree>
    <p:extLst>
      <p:ext uri="{BB962C8B-B14F-4D97-AF65-F5344CB8AC3E}">
        <p14:creationId xmlns:p14="http://schemas.microsoft.com/office/powerpoint/2010/main" val="18944650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7D5004-E890-2ACA-2810-2BA25DCAB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34" y="62654"/>
            <a:ext cx="8092192" cy="706438"/>
          </a:xfrm>
        </p:spPr>
        <p:txBody>
          <a:bodyPr>
            <a:normAutofit/>
          </a:bodyPr>
          <a:lstStyle/>
          <a:p>
            <a:r>
              <a:rPr lang="nl-NL"/>
              <a:t>KEY PRINCIPLES OF GOOD PRESENTATION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520B223-E2DB-FAA4-238D-77F0DA28311C}"/>
              </a:ext>
            </a:extLst>
          </p:cNvPr>
          <p:cNvSpPr/>
          <p:nvPr/>
        </p:nvSpPr>
        <p:spPr>
          <a:xfrm>
            <a:off x="757646" y="1359804"/>
            <a:ext cx="4746170" cy="3319786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37C3E37-87A2-42AB-B49B-F1000F73DE25}"/>
              </a:ext>
            </a:extLst>
          </p:cNvPr>
          <p:cNvSpPr/>
          <p:nvPr/>
        </p:nvSpPr>
        <p:spPr>
          <a:xfrm>
            <a:off x="6322451" y="1370587"/>
            <a:ext cx="4746170" cy="3319786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F01AA9B-86A0-EB05-0D0E-C12E9CCF2B48}"/>
              </a:ext>
            </a:extLst>
          </p:cNvPr>
          <p:cNvGrpSpPr/>
          <p:nvPr/>
        </p:nvGrpSpPr>
        <p:grpSpPr>
          <a:xfrm>
            <a:off x="1194386" y="1256296"/>
            <a:ext cx="3855666" cy="3288997"/>
            <a:chOff x="1194386" y="1359804"/>
            <a:chExt cx="3855666" cy="3288997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8DBC1C89-D0FB-E09C-89D4-3B11A94FB8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3581" y="2183162"/>
              <a:ext cx="491146" cy="491146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4618889-893E-BE5B-9577-74E053D80606}"/>
                </a:ext>
              </a:extLst>
            </p:cNvPr>
            <p:cNvSpPr txBox="1"/>
            <p:nvPr/>
          </p:nvSpPr>
          <p:spPr>
            <a:xfrm>
              <a:off x="1194386" y="1359804"/>
              <a:ext cx="649537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6000">
                  <a:solidFill>
                    <a:schemeClr val="tx1">
                      <a:lumMod val="75000"/>
                      <a:lumOff val="25000"/>
                    </a:schemeClr>
                  </a:solidFill>
                  <a:latin typeface="Delivery" panose="020F0503020204020204" pitchFamily="34" charset="0"/>
                  <a:ea typeface="Delivery" panose="020F0503020204020204" pitchFamily="34" charset="0"/>
                  <a:cs typeface="Delivery" panose="020F0503020204020204" pitchFamily="34" charset="0"/>
                </a:rPr>
                <a:t>A</a:t>
              </a:r>
            </a:p>
          </p:txBody>
        </p: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B1A778E9-820A-0AD3-871E-8C764E3507B8}"/>
                </a:ext>
              </a:extLst>
            </p:cNvPr>
            <p:cNvSpPr/>
            <p:nvPr/>
          </p:nvSpPr>
          <p:spPr>
            <a:xfrm rot="5400000">
              <a:off x="4542875" y="2183161"/>
              <a:ext cx="491145" cy="491148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D03C034-55BF-5CE2-8872-EC9380AC11CF}"/>
                </a:ext>
              </a:extLst>
            </p:cNvPr>
            <p:cNvCxnSpPr>
              <a:endCxn id="10" idx="3"/>
            </p:cNvCxnSpPr>
            <p:nvPr/>
          </p:nvCxnSpPr>
          <p:spPr>
            <a:xfrm>
              <a:off x="1764727" y="2428735"/>
              <a:ext cx="2778147" cy="1"/>
            </a:xfrm>
            <a:prstGeom prst="line">
              <a:avLst/>
            </a:prstGeom>
            <a:ln w="762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5F15C80-398E-246F-394B-4F6AF2790ACE}"/>
                </a:ext>
              </a:extLst>
            </p:cNvPr>
            <p:cNvSpPr txBox="1"/>
            <p:nvPr/>
          </p:nvSpPr>
          <p:spPr>
            <a:xfrm>
              <a:off x="4384485" y="1359804"/>
              <a:ext cx="665567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6000">
                  <a:solidFill>
                    <a:schemeClr val="tx1">
                      <a:lumMod val="75000"/>
                      <a:lumOff val="25000"/>
                    </a:schemeClr>
                  </a:solidFill>
                  <a:latin typeface="Delivery" panose="020F0503020204020204" pitchFamily="34" charset="0"/>
                  <a:ea typeface="Delivery" panose="020F0503020204020204" pitchFamily="34" charset="0"/>
                  <a:cs typeface="Delivery" panose="020F0503020204020204" pitchFamily="34" charset="0"/>
                </a:rPr>
                <a:t>B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72238C3-CC00-93CE-E619-1E0A91A7C1D1}"/>
                </a:ext>
              </a:extLst>
            </p:cNvPr>
            <p:cNvSpPr txBox="1"/>
            <p:nvPr/>
          </p:nvSpPr>
          <p:spPr>
            <a:xfrm>
              <a:off x="1194386" y="2744552"/>
              <a:ext cx="649537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6000">
                  <a:solidFill>
                    <a:schemeClr val="tx1">
                      <a:lumMod val="75000"/>
                      <a:lumOff val="25000"/>
                    </a:schemeClr>
                  </a:solidFill>
                  <a:latin typeface="Delivery" panose="020F0503020204020204" pitchFamily="34" charset="0"/>
                  <a:ea typeface="Delivery" panose="020F0503020204020204" pitchFamily="34" charset="0"/>
                  <a:cs typeface="Delivery" panose="020F0503020204020204" pitchFamily="34" charset="0"/>
                </a:rPr>
                <a:t>A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7EFBA52-60C9-31A6-D40F-A5E4972CE4FC}"/>
                </a:ext>
              </a:extLst>
            </p:cNvPr>
            <p:cNvSpPr txBox="1"/>
            <p:nvPr/>
          </p:nvSpPr>
          <p:spPr>
            <a:xfrm>
              <a:off x="4384485" y="2744552"/>
              <a:ext cx="665567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6000">
                  <a:solidFill>
                    <a:schemeClr val="tx1">
                      <a:lumMod val="75000"/>
                      <a:lumOff val="25000"/>
                    </a:schemeClr>
                  </a:solidFill>
                  <a:latin typeface="Delivery" panose="020F0503020204020204" pitchFamily="34" charset="0"/>
                  <a:ea typeface="Delivery" panose="020F0503020204020204" pitchFamily="34" charset="0"/>
                  <a:cs typeface="Delivery" panose="020F0503020204020204" pitchFamily="34" charset="0"/>
                </a:rPr>
                <a:t>B</a:t>
              </a: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2D5342F-822B-C47E-3497-7930DBB82569}"/>
                </a:ext>
              </a:extLst>
            </p:cNvPr>
            <p:cNvSpPr/>
            <p:nvPr/>
          </p:nvSpPr>
          <p:spPr>
            <a:xfrm>
              <a:off x="1608019" y="3198393"/>
              <a:ext cx="3018725" cy="1450408"/>
            </a:xfrm>
            <a:custGeom>
              <a:avLst/>
              <a:gdLst>
                <a:gd name="connsiteX0" fmla="*/ 0 w 2778711"/>
                <a:gd name="connsiteY0" fmla="*/ 606252 h 1446857"/>
                <a:gd name="connsiteX1" fmla="*/ 852257 w 2778711"/>
                <a:gd name="connsiteY1" fmla="*/ 437576 h 1446857"/>
                <a:gd name="connsiteX2" fmla="*/ 861134 w 2778711"/>
                <a:gd name="connsiteY2" fmla="*/ 144613 h 1446857"/>
                <a:gd name="connsiteX3" fmla="*/ 435006 w 2778711"/>
                <a:gd name="connsiteY3" fmla="*/ 197879 h 1446857"/>
                <a:gd name="connsiteX4" fmla="*/ 292963 w 2778711"/>
                <a:gd name="connsiteY4" fmla="*/ 473087 h 1446857"/>
                <a:gd name="connsiteX5" fmla="*/ 550416 w 2778711"/>
                <a:gd name="connsiteY5" fmla="*/ 1076768 h 1446857"/>
                <a:gd name="connsiteX6" fmla="*/ 1393794 w 2778711"/>
                <a:gd name="connsiteY6" fmla="*/ 1103401 h 1446857"/>
                <a:gd name="connsiteX7" fmla="*/ 1500327 w 2778711"/>
                <a:gd name="connsiteY7" fmla="*/ 730539 h 1446857"/>
                <a:gd name="connsiteX8" fmla="*/ 1145220 w 2778711"/>
                <a:gd name="connsiteY8" fmla="*/ 615129 h 1446857"/>
                <a:gd name="connsiteX9" fmla="*/ 1038688 w 2778711"/>
                <a:gd name="connsiteY9" fmla="*/ 863704 h 1446857"/>
                <a:gd name="connsiteX10" fmla="*/ 1376039 w 2778711"/>
                <a:gd name="connsiteY10" fmla="*/ 1218811 h 1446857"/>
                <a:gd name="connsiteX11" fmla="*/ 1704513 w 2778711"/>
                <a:gd name="connsiteY11" fmla="*/ 899215 h 1446857"/>
                <a:gd name="connsiteX12" fmla="*/ 1553593 w 2778711"/>
                <a:gd name="connsiteY12" fmla="*/ 455331 h 1446857"/>
                <a:gd name="connsiteX13" fmla="*/ 1322773 w 2778711"/>
                <a:gd name="connsiteY13" fmla="*/ 260023 h 1446857"/>
                <a:gd name="connsiteX14" fmla="*/ 1589103 w 2778711"/>
                <a:gd name="connsiteY14" fmla="*/ 2570 h 1446857"/>
                <a:gd name="connsiteX15" fmla="*/ 1864311 w 2778711"/>
                <a:gd name="connsiteY15" fmla="*/ 428698 h 1446857"/>
                <a:gd name="connsiteX16" fmla="*/ 701336 w 2778711"/>
                <a:gd name="connsiteY16" fmla="*/ 615129 h 1446857"/>
                <a:gd name="connsiteX17" fmla="*/ 710214 w 2778711"/>
                <a:gd name="connsiteY17" fmla="*/ 970236 h 1446857"/>
                <a:gd name="connsiteX18" fmla="*/ 1100831 w 2778711"/>
                <a:gd name="connsiteY18" fmla="*/ 1396364 h 1446857"/>
                <a:gd name="connsiteX19" fmla="*/ 1544715 w 2778711"/>
                <a:gd name="connsiteY19" fmla="*/ 1414120 h 1446857"/>
                <a:gd name="connsiteX20" fmla="*/ 1961965 w 2778711"/>
                <a:gd name="connsiteY20" fmla="*/ 1174423 h 1446857"/>
                <a:gd name="connsiteX21" fmla="*/ 2166152 w 2778711"/>
                <a:gd name="connsiteY21" fmla="*/ 668395 h 1446857"/>
                <a:gd name="connsiteX22" fmla="*/ 2343705 w 2778711"/>
                <a:gd name="connsiteY22" fmla="*/ 481964 h 1446857"/>
                <a:gd name="connsiteX23" fmla="*/ 2228295 w 2778711"/>
                <a:gd name="connsiteY23" fmla="*/ 117980 h 1446857"/>
                <a:gd name="connsiteX24" fmla="*/ 1828800 w 2778711"/>
                <a:gd name="connsiteY24" fmla="*/ 535230 h 1446857"/>
                <a:gd name="connsiteX25" fmla="*/ 2024109 w 2778711"/>
                <a:gd name="connsiteY25" fmla="*/ 890337 h 1446857"/>
                <a:gd name="connsiteX26" fmla="*/ 2423604 w 2778711"/>
                <a:gd name="connsiteY26" fmla="*/ 544108 h 1446857"/>
                <a:gd name="connsiteX27" fmla="*/ 2778711 w 2778711"/>
                <a:gd name="connsiteY27" fmla="*/ 606252 h 1446857"/>
                <a:gd name="connsiteX0" fmla="*/ 0 w 2778711"/>
                <a:gd name="connsiteY0" fmla="*/ 606252 h 1446857"/>
                <a:gd name="connsiteX1" fmla="*/ 852257 w 2778711"/>
                <a:gd name="connsiteY1" fmla="*/ 437576 h 1446857"/>
                <a:gd name="connsiteX2" fmla="*/ 861134 w 2778711"/>
                <a:gd name="connsiteY2" fmla="*/ 144613 h 1446857"/>
                <a:gd name="connsiteX3" fmla="*/ 435006 w 2778711"/>
                <a:gd name="connsiteY3" fmla="*/ 197879 h 1446857"/>
                <a:gd name="connsiteX4" fmla="*/ 292963 w 2778711"/>
                <a:gd name="connsiteY4" fmla="*/ 473087 h 1446857"/>
                <a:gd name="connsiteX5" fmla="*/ 550416 w 2778711"/>
                <a:gd name="connsiteY5" fmla="*/ 1076768 h 1446857"/>
                <a:gd name="connsiteX6" fmla="*/ 1393794 w 2778711"/>
                <a:gd name="connsiteY6" fmla="*/ 1103401 h 1446857"/>
                <a:gd name="connsiteX7" fmla="*/ 1500327 w 2778711"/>
                <a:gd name="connsiteY7" fmla="*/ 730539 h 1446857"/>
                <a:gd name="connsiteX8" fmla="*/ 1145220 w 2778711"/>
                <a:gd name="connsiteY8" fmla="*/ 615129 h 1446857"/>
                <a:gd name="connsiteX9" fmla="*/ 1038688 w 2778711"/>
                <a:gd name="connsiteY9" fmla="*/ 863704 h 1446857"/>
                <a:gd name="connsiteX10" fmla="*/ 1376039 w 2778711"/>
                <a:gd name="connsiteY10" fmla="*/ 1218811 h 1446857"/>
                <a:gd name="connsiteX11" fmla="*/ 1704513 w 2778711"/>
                <a:gd name="connsiteY11" fmla="*/ 899215 h 1446857"/>
                <a:gd name="connsiteX12" fmla="*/ 1553593 w 2778711"/>
                <a:gd name="connsiteY12" fmla="*/ 455331 h 1446857"/>
                <a:gd name="connsiteX13" fmla="*/ 1322773 w 2778711"/>
                <a:gd name="connsiteY13" fmla="*/ 260023 h 1446857"/>
                <a:gd name="connsiteX14" fmla="*/ 1589103 w 2778711"/>
                <a:gd name="connsiteY14" fmla="*/ 2570 h 1446857"/>
                <a:gd name="connsiteX15" fmla="*/ 1864311 w 2778711"/>
                <a:gd name="connsiteY15" fmla="*/ 428698 h 1446857"/>
                <a:gd name="connsiteX16" fmla="*/ 701336 w 2778711"/>
                <a:gd name="connsiteY16" fmla="*/ 615129 h 1446857"/>
                <a:gd name="connsiteX17" fmla="*/ 710214 w 2778711"/>
                <a:gd name="connsiteY17" fmla="*/ 970236 h 1446857"/>
                <a:gd name="connsiteX18" fmla="*/ 1100831 w 2778711"/>
                <a:gd name="connsiteY18" fmla="*/ 1396364 h 1446857"/>
                <a:gd name="connsiteX19" fmla="*/ 1544715 w 2778711"/>
                <a:gd name="connsiteY19" fmla="*/ 1414120 h 1446857"/>
                <a:gd name="connsiteX20" fmla="*/ 1961965 w 2778711"/>
                <a:gd name="connsiteY20" fmla="*/ 1174423 h 1446857"/>
                <a:gd name="connsiteX21" fmla="*/ 2166152 w 2778711"/>
                <a:gd name="connsiteY21" fmla="*/ 668395 h 1446857"/>
                <a:gd name="connsiteX22" fmla="*/ 2270159 w 2778711"/>
                <a:gd name="connsiteY22" fmla="*/ 393188 h 1446857"/>
                <a:gd name="connsiteX23" fmla="*/ 2228295 w 2778711"/>
                <a:gd name="connsiteY23" fmla="*/ 117980 h 1446857"/>
                <a:gd name="connsiteX24" fmla="*/ 1828800 w 2778711"/>
                <a:gd name="connsiteY24" fmla="*/ 535230 h 1446857"/>
                <a:gd name="connsiteX25" fmla="*/ 2024109 w 2778711"/>
                <a:gd name="connsiteY25" fmla="*/ 890337 h 1446857"/>
                <a:gd name="connsiteX26" fmla="*/ 2423604 w 2778711"/>
                <a:gd name="connsiteY26" fmla="*/ 544108 h 1446857"/>
                <a:gd name="connsiteX27" fmla="*/ 2778711 w 2778711"/>
                <a:gd name="connsiteY27" fmla="*/ 606252 h 1446857"/>
                <a:gd name="connsiteX0" fmla="*/ 0 w 2778711"/>
                <a:gd name="connsiteY0" fmla="*/ 606252 h 1446857"/>
                <a:gd name="connsiteX1" fmla="*/ 852257 w 2778711"/>
                <a:gd name="connsiteY1" fmla="*/ 437576 h 1446857"/>
                <a:gd name="connsiteX2" fmla="*/ 861134 w 2778711"/>
                <a:gd name="connsiteY2" fmla="*/ 144613 h 1446857"/>
                <a:gd name="connsiteX3" fmla="*/ 435006 w 2778711"/>
                <a:gd name="connsiteY3" fmla="*/ 197879 h 1446857"/>
                <a:gd name="connsiteX4" fmla="*/ 292963 w 2778711"/>
                <a:gd name="connsiteY4" fmla="*/ 473087 h 1446857"/>
                <a:gd name="connsiteX5" fmla="*/ 550416 w 2778711"/>
                <a:gd name="connsiteY5" fmla="*/ 1076768 h 1446857"/>
                <a:gd name="connsiteX6" fmla="*/ 1393794 w 2778711"/>
                <a:gd name="connsiteY6" fmla="*/ 1103401 h 1446857"/>
                <a:gd name="connsiteX7" fmla="*/ 1500327 w 2778711"/>
                <a:gd name="connsiteY7" fmla="*/ 730539 h 1446857"/>
                <a:gd name="connsiteX8" fmla="*/ 1145220 w 2778711"/>
                <a:gd name="connsiteY8" fmla="*/ 615129 h 1446857"/>
                <a:gd name="connsiteX9" fmla="*/ 1038688 w 2778711"/>
                <a:gd name="connsiteY9" fmla="*/ 863704 h 1446857"/>
                <a:gd name="connsiteX10" fmla="*/ 1376039 w 2778711"/>
                <a:gd name="connsiteY10" fmla="*/ 1218811 h 1446857"/>
                <a:gd name="connsiteX11" fmla="*/ 1704513 w 2778711"/>
                <a:gd name="connsiteY11" fmla="*/ 899215 h 1446857"/>
                <a:gd name="connsiteX12" fmla="*/ 1553593 w 2778711"/>
                <a:gd name="connsiteY12" fmla="*/ 455331 h 1446857"/>
                <a:gd name="connsiteX13" fmla="*/ 1322773 w 2778711"/>
                <a:gd name="connsiteY13" fmla="*/ 260023 h 1446857"/>
                <a:gd name="connsiteX14" fmla="*/ 1589103 w 2778711"/>
                <a:gd name="connsiteY14" fmla="*/ 2570 h 1446857"/>
                <a:gd name="connsiteX15" fmla="*/ 1864311 w 2778711"/>
                <a:gd name="connsiteY15" fmla="*/ 428698 h 1446857"/>
                <a:gd name="connsiteX16" fmla="*/ 701336 w 2778711"/>
                <a:gd name="connsiteY16" fmla="*/ 615129 h 1446857"/>
                <a:gd name="connsiteX17" fmla="*/ 710214 w 2778711"/>
                <a:gd name="connsiteY17" fmla="*/ 970236 h 1446857"/>
                <a:gd name="connsiteX18" fmla="*/ 1100831 w 2778711"/>
                <a:gd name="connsiteY18" fmla="*/ 1396364 h 1446857"/>
                <a:gd name="connsiteX19" fmla="*/ 1544715 w 2778711"/>
                <a:gd name="connsiteY19" fmla="*/ 1414120 h 1446857"/>
                <a:gd name="connsiteX20" fmla="*/ 1961965 w 2778711"/>
                <a:gd name="connsiteY20" fmla="*/ 1174423 h 1446857"/>
                <a:gd name="connsiteX21" fmla="*/ 2166152 w 2778711"/>
                <a:gd name="connsiteY21" fmla="*/ 668395 h 1446857"/>
                <a:gd name="connsiteX22" fmla="*/ 2270159 w 2778711"/>
                <a:gd name="connsiteY22" fmla="*/ 393188 h 1446857"/>
                <a:gd name="connsiteX23" fmla="*/ 2228295 w 2778711"/>
                <a:gd name="connsiteY23" fmla="*/ 117980 h 1446857"/>
                <a:gd name="connsiteX24" fmla="*/ 1926862 w 2778711"/>
                <a:gd name="connsiteY24" fmla="*/ 535230 h 1446857"/>
                <a:gd name="connsiteX25" fmla="*/ 2024109 w 2778711"/>
                <a:gd name="connsiteY25" fmla="*/ 890337 h 1446857"/>
                <a:gd name="connsiteX26" fmla="*/ 2423604 w 2778711"/>
                <a:gd name="connsiteY26" fmla="*/ 544108 h 1446857"/>
                <a:gd name="connsiteX27" fmla="*/ 2778711 w 2778711"/>
                <a:gd name="connsiteY27" fmla="*/ 606252 h 1446857"/>
                <a:gd name="connsiteX0" fmla="*/ 0 w 2778711"/>
                <a:gd name="connsiteY0" fmla="*/ 604201 h 1444806"/>
                <a:gd name="connsiteX1" fmla="*/ 852257 w 2778711"/>
                <a:gd name="connsiteY1" fmla="*/ 435525 h 1444806"/>
                <a:gd name="connsiteX2" fmla="*/ 861134 w 2778711"/>
                <a:gd name="connsiteY2" fmla="*/ 142562 h 1444806"/>
                <a:gd name="connsiteX3" fmla="*/ 435006 w 2778711"/>
                <a:gd name="connsiteY3" fmla="*/ 195828 h 1444806"/>
                <a:gd name="connsiteX4" fmla="*/ 292963 w 2778711"/>
                <a:gd name="connsiteY4" fmla="*/ 471036 h 1444806"/>
                <a:gd name="connsiteX5" fmla="*/ 550416 w 2778711"/>
                <a:gd name="connsiteY5" fmla="*/ 1074717 h 1444806"/>
                <a:gd name="connsiteX6" fmla="*/ 1393794 w 2778711"/>
                <a:gd name="connsiteY6" fmla="*/ 1101350 h 1444806"/>
                <a:gd name="connsiteX7" fmla="*/ 1500327 w 2778711"/>
                <a:gd name="connsiteY7" fmla="*/ 728488 h 1444806"/>
                <a:gd name="connsiteX8" fmla="*/ 1145220 w 2778711"/>
                <a:gd name="connsiteY8" fmla="*/ 613078 h 1444806"/>
                <a:gd name="connsiteX9" fmla="*/ 1038688 w 2778711"/>
                <a:gd name="connsiteY9" fmla="*/ 861653 h 1444806"/>
                <a:gd name="connsiteX10" fmla="*/ 1376039 w 2778711"/>
                <a:gd name="connsiteY10" fmla="*/ 1216760 h 1444806"/>
                <a:gd name="connsiteX11" fmla="*/ 1704513 w 2778711"/>
                <a:gd name="connsiteY11" fmla="*/ 897164 h 1444806"/>
                <a:gd name="connsiteX12" fmla="*/ 1553593 w 2778711"/>
                <a:gd name="connsiteY12" fmla="*/ 453280 h 1444806"/>
                <a:gd name="connsiteX13" fmla="*/ 1322773 w 2778711"/>
                <a:gd name="connsiteY13" fmla="*/ 257972 h 1444806"/>
                <a:gd name="connsiteX14" fmla="*/ 1589103 w 2778711"/>
                <a:gd name="connsiteY14" fmla="*/ 519 h 1444806"/>
                <a:gd name="connsiteX15" fmla="*/ 1807108 w 2778711"/>
                <a:gd name="connsiteY15" fmla="*/ 328992 h 1444806"/>
                <a:gd name="connsiteX16" fmla="*/ 701336 w 2778711"/>
                <a:gd name="connsiteY16" fmla="*/ 613078 h 1444806"/>
                <a:gd name="connsiteX17" fmla="*/ 710214 w 2778711"/>
                <a:gd name="connsiteY17" fmla="*/ 968185 h 1444806"/>
                <a:gd name="connsiteX18" fmla="*/ 1100831 w 2778711"/>
                <a:gd name="connsiteY18" fmla="*/ 1394313 h 1444806"/>
                <a:gd name="connsiteX19" fmla="*/ 1544715 w 2778711"/>
                <a:gd name="connsiteY19" fmla="*/ 1412069 h 1444806"/>
                <a:gd name="connsiteX20" fmla="*/ 1961965 w 2778711"/>
                <a:gd name="connsiteY20" fmla="*/ 1172372 h 1444806"/>
                <a:gd name="connsiteX21" fmla="*/ 2166152 w 2778711"/>
                <a:gd name="connsiteY21" fmla="*/ 666344 h 1444806"/>
                <a:gd name="connsiteX22" fmla="*/ 2270159 w 2778711"/>
                <a:gd name="connsiteY22" fmla="*/ 391137 h 1444806"/>
                <a:gd name="connsiteX23" fmla="*/ 2228295 w 2778711"/>
                <a:gd name="connsiteY23" fmla="*/ 115929 h 1444806"/>
                <a:gd name="connsiteX24" fmla="*/ 1926862 w 2778711"/>
                <a:gd name="connsiteY24" fmla="*/ 533179 h 1444806"/>
                <a:gd name="connsiteX25" fmla="*/ 2024109 w 2778711"/>
                <a:gd name="connsiteY25" fmla="*/ 888286 h 1444806"/>
                <a:gd name="connsiteX26" fmla="*/ 2423604 w 2778711"/>
                <a:gd name="connsiteY26" fmla="*/ 542057 h 1444806"/>
                <a:gd name="connsiteX27" fmla="*/ 2778711 w 2778711"/>
                <a:gd name="connsiteY27" fmla="*/ 604201 h 1444806"/>
                <a:gd name="connsiteX0" fmla="*/ 0 w 2778711"/>
                <a:gd name="connsiteY0" fmla="*/ 604201 h 1444806"/>
                <a:gd name="connsiteX1" fmla="*/ 852257 w 2778711"/>
                <a:gd name="connsiteY1" fmla="*/ 435525 h 1444806"/>
                <a:gd name="connsiteX2" fmla="*/ 861134 w 2778711"/>
                <a:gd name="connsiteY2" fmla="*/ 142562 h 1444806"/>
                <a:gd name="connsiteX3" fmla="*/ 435006 w 2778711"/>
                <a:gd name="connsiteY3" fmla="*/ 195828 h 1444806"/>
                <a:gd name="connsiteX4" fmla="*/ 292963 w 2778711"/>
                <a:gd name="connsiteY4" fmla="*/ 471036 h 1444806"/>
                <a:gd name="connsiteX5" fmla="*/ 550416 w 2778711"/>
                <a:gd name="connsiteY5" fmla="*/ 1074717 h 1444806"/>
                <a:gd name="connsiteX6" fmla="*/ 1393794 w 2778711"/>
                <a:gd name="connsiteY6" fmla="*/ 1101350 h 1444806"/>
                <a:gd name="connsiteX7" fmla="*/ 1500327 w 2778711"/>
                <a:gd name="connsiteY7" fmla="*/ 728488 h 1444806"/>
                <a:gd name="connsiteX8" fmla="*/ 1145220 w 2778711"/>
                <a:gd name="connsiteY8" fmla="*/ 613078 h 1444806"/>
                <a:gd name="connsiteX9" fmla="*/ 1038688 w 2778711"/>
                <a:gd name="connsiteY9" fmla="*/ 861653 h 1444806"/>
                <a:gd name="connsiteX10" fmla="*/ 1376039 w 2778711"/>
                <a:gd name="connsiteY10" fmla="*/ 1216760 h 1444806"/>
                <a:gd name="connsiteX11" fmla="*/ 1704513 w 2778711"/>
                <a:gd name="connsiteY11" fmla="*/ 897164 h 1444806"/>
                <a:gd name="connsiteX12" fmla="*/ 1553593 w 2778711"/>
                <a:gd name="connsiteY12" fmla="*/ 453280 h 1444806"/>
                <a:gd name="connsiteX13" fmla="*/ 1322773 w 2778711"/>
                <a:gd name="connsiteY13" fmla="*/ 257972 h 1444806"/>
                <a:gd name="connsiteX14" fmla="*/ 1589103 w 2778711"/>
                <a:gd name="connsiteY14" fmla="*/ 519 h 1444806"/>
                <a:gd name="connsiteX15" fmla="*/ 1807108 w 2778711"/>
                <a:gd name="connsiteY15" fmla="*/ 328992 h 1444806"/>
                <a:gd name="connsiteX16" fmla="*/ 701336 w 2778711"/>
                <a:gd name="connsiteY16" fmla="*/ 613078 h 1444806"/>
                <a:gd name="connsiteX17" fmla="*/ 710214 w 2778711"/>
                <a:gd name="connsiteY17" fmla="*/ 968185 h 1444806"/>
                <a:gd name="connsiteX18" fmla="*/ 1100831 w 2778711"/>
                <a:gd name="connsiteY18" fmla="*/ 1394313 h 1444806"/>
                <a:gd name="connsiteX19" fmla="*/ 1544715 w 2778711"/>
                <a:gd name="connsiteY19" fmla="*/ 1412069 h 1444806"/>
                <a:gd name="connsiteX20" fmla="*/ 1961965 w 2778711"/>
                <a:gd name="connsiteY20" fmla="*/ 1172372 h 1444806"/>
                <a:gd name="connsiteX21" fmla="*/ 2166152 w 2778711"/>
                <a:gd name="connsiteY21" fmla="*/ 666344 h 1444806"/>
                <a:gd name="connsiteX22" fmla="*/ 2392736 w 2778711"/>
                <a:gd name="connsiteY22" fmla="*/ 302360 h 1444806"/>
                <a:gd name="connsiteX23" fmla="*/ 2228295 w 2778711"/>
                <a:gd name="connsiteY23" fmla="*/ 115929 h 1444806"/>
                <a:gd name="connsiteX24" fmla="*/ 1926862 w 2778711"/>
                <a:gd name="connsiteY24" fmla="*/ 533179 h 1444806"/>
                <a:gd name="connsiteX25" fmla="*/ 2024109 w 2778711"/>
                <a:gd name="connsiteY25" fmla="*/ 888286 h 1444806"/>
                <a:gd name="connsiteX26" fmla="*/ 2423604 w 2778711"/>
                <a:gd name="connsiteY26" fmla="*/ 542057 h 1444806"/>
                <a:gd name="connsiteX27" fmla="*/ 2778711 w 2778711"/>
                <a:gd name="connsiteY27" fmla="*/ 604201 h 1444806"/>
                <a:gd name="connsiteX0" fmla="*/ 0 w 2778711"/>
                <a:gd name="connsiteY0" fmla="*/ 604201 h 1444806"/>
                <a:gd name="connsiteX1" fmla="*/ 852257 w 2778711"/>
                <a:gd name="connsiteY1" fmla="*/ 435525 h 1444806"/>
                <a:gd name="connsiteX2" fmla="*/ 861134 w 2778711"/>
                <a:gd name="connsiteY2" fmla="*/ 142562 h 1444806"/>
                <a:gd name="connsiteX3" fmla="*/ 435006 w 2778711"/>
                <a:gd name="connsiteY3" fmla="*/ 195828 h 1444806"/>
                <a:gd name="connsiteX4" fmla="*/ 292963 w 2778711"/>
                <a:gd name="connsiteY4" fmla="*/ 471036 h 1444806"/>
                <a:gd name="connsiteX5" fmla="*/ 550416 w 2778711"/>
                <a:gd name="connsiteY5" fmla="*/ 1074717 h 1444806"/>
                <a:gd name="connsiteX6" fmla="*/ 1393794 w 2778711"/>
                <a:gd name="connsiteY6" fmla="*/ 1101350 h 1444806"/>
                <a:gd name="connsiteX7" fmla="*/ 1500327 w 2778711"/>
                <a:gd name="connsiteY7" fmla="*/ 728488 h 1444806"/>
                <a:gd name="connsiteX8" fmla="*/ 1145220 w 2778711"/>
                <a:gd name="connsiteY8" fmla="*/ 613078 h 1444806"/>
                <a:gd name="connsiteX9" fmla="*/ 1038688 w 2778711"/>
                <a:gd name="connsiteY9" fmla="*/ 861653 h 1444806"/>
                <a:gd name="connsiteX10" fmla="*/ 1376039 w 2778711"/>
                <a:gd name="connsiteY10" fmla="*/ 1216760 h 1444806"/>
                <a:gd name="connsiteX11" fmla="*/ 1704513 w 2778711"/>
                <a:gd name="connsiteY11" fmla="*/ 897164 h 1444806"/>
                <a:gd name="connsiteX12" fmla="*/ 1553593 w 2778711"/>
                <a:gd name="connsiteY12" fmla="*/ 453280 h 1444806"/>
                <a:gd name="connsiteX13" fmla="*/ 1322773 w 2778711"/>
                <a:gd name="connsiteY13" fmla="*/ 257972 h 1444806"/>
                <a:gd name="connsiteX14" fmla="*/ 1589103 w 2778711"/>
                <a:gd name="connsiteY14" fmla="*/ 519 h 1444806"/>
                <a:gd name="connsiteX15" fmla="*/ 1807108 w 2778711"/>
                <a:gd name="connsiteY15" fmla="*/ 328992 h 1444806"/>
                <a:gd name="connsiteX16" fmla="*/ 701336 w 2778711"/>
                <a:gd name="connsiteY16" fmla="*/ 613078 h 1444806"/>
                <a:gd name="connsiteX17" fmla="*/ 710214 w 2778711"/>
                <a:gd name="connsiteY17" fmla="*/ 968185 h 1444806"/>
                <a:gd name="connsiteX18" fmla="*/ 1100831 w 2778711"/>
                <a:gd name="connsiteY18" fmla="*/ 1394313 h 1444806"/>
                <a:gd name="connsiteX19" fmla="*/ 1544715 w 2778711"/>
                <a:gd name="connsiteY19" fmla="*/ 1412069 h 1444806"/>
                <a:gd name="connsiteX20" fmla="*/ 1961965 w 2778711"/>
                <a:gd name="connsiteY20" fmla="*/ 1172372 h 1444806"/>
                <a:gd name="connsiteX21" fmla="*/ 2166152 w 2778711"/>
                <a:gd name="connsiteY21" fmla="*/ 666344 h 1444806"/>
                <a:gd name="connsiteX22" fmla="*/ 2392736 w 2778711"/>
                <a:gd name="connsiteY22" fmla="*/ 302360 h 1444806"/>
                <a:gd name="connsiteX23" fmla="*/ 2122061 w 2778711"/>
                <a:gd name="connsiteY23" fmla="*/ 115929 h 1444806"/>
                <a:gd name="connsiteX24" fmla="*/ 1926862 w 2778711"/>
                <a:gd name="connsiteY24" fmla="*/ 533179 h 1444806"/>
                <a:gd name="connsiteX25" fmla="*/ 2024109 w 2778711"/>
                <a:gd name="connsiteY25" fmla="*/ 888286 h 1444806"/>
                <a:gd name="connsiteX26" fmla="*/ 2423604 w 2778711"/>
                <a:gd name="connsiteY26" fmla="*/ 542057 h 1444806"/>
                <a:gd name="connsiteX27" fmla="*/ 2778711 w 2778711"/>
                <a:gd name="connsiteY27" fmla="*/ 604201 h 1444806"/>
                <a:gd name="connsiteX0" fmla="*/ 0 w 2778711"/>
                <a:gd name="connsiteY0" fmla="*/ 604201 h 1444806"/>
                <a:gd name="connsiteX1" fmla="*/ 852257 w 2778711"/>
                <a:gd name="connsiteY1" fmla="*/ 435525 h 1444806"/>
                <a:gd name="connsiteX2" fmla="*/ 861134 w 2778711"/>
                <a:gd name="connsiteY2" fmla="*/ 142562 h 1444806"/>
                <a:gd name="connsiteX3" fmla="*/ 435006 w 2778711"/>
                <a:gd name="connsiteY3" fmla="*/ 195828 h 1444806"/>
                <a:gd name="connsiteX4" fmla="*/ 292963 w 2778711"/>
                <a:gd name="connsiteY4" fmla="*/ 471036 h 1444806"/>
                <a:gd name="connsiteX5" fmla="*/ 550416 w 2778711"/>
                <a:gd name="connsiteY5" fmla="*/ 1074717 h 1444806"/>
                <a:gd name="connsiteX6" fmla="*/ 1393794 w 2778711"/>
                <a:gd name="connsiteY6" fmla="*/ 1101350 h 1444806"/>
                <a:gd name="connsiteX7" fmla="*/ 1500327 w 2778711"/>
                <a:gd name="connsiteY7" fmla="*/ 728488 h 1444806"/>
                <a:gd name="connsiteX8" fmla="*/ 1145220 w 2778711"/>
                <a:gd name="connsiteY8" fmla="*/ 613078 h 1444806"/>
                <a:gd name="connsiteX9" fmla="*/ 1038688 w 2778711"/>
                <a:gd name="connsiteY9" fmla="*/ 861653 h 1444806"/>
                <a:gd name="connsiteX10" fmla="*/ 1376039 w 2778711"/>
                <a:gd name="connsiteY10" fmla="*/ 1216760 h 1444806"/>
                <a:gd name="connsiteX11" fmla="*/ 1704513 w 2778711"/>
                <a:gd name="connsiteY11" fmla="*/ 897164 h 1444806"/>
                <a:gd name="connsiteX12" fmla="*/ 1553593 w 2778711"/>
                <a:gd name="connsiteY12" fmla="*/ 453280 h 1444806"/>
                <a:gd name="connsiteX13" fmla="*/ 1322773 w 2778711"/>
                <a:gd name="connsiteY13" fmla="*/ 257972 h 1444806"/>
                <a:gd name="connsiteX14" fmla="*/ 1589103 w 2778711"/>
                <a:gd name="connsiteY14" fmla="*/ 519 h 1444806"/>
                <a:gd name="connsiteX15" fmla="*/ 1807108 w 2778711"/>
                <a:gd name="connsiteY15" fmla="*/ 328992 h 1444806"/>
                <a:gd name="connsiteX16" fmla="*/ 701336 w 2778711"/>
                <a:gd name="connsiteY16" fmla="*/ 613078 h 1444806"/>
                <a:gd name="connsiteX17" fmla="*/ 710214 w 2778711"/>
                <a:gd name="connsiteY17" fmla="*/ 968185 h 1444806"/>
                <a:gd name="connsiteX18" fmla="*/ 1100831 w 2778711"/>
                <a:gd name="connsiteY18" fmla="*/ 1394313 h 1444806"/>
                <a:gd name="connsiteX19" fmla="*/ 1544715 w 2778711"/>
                <a:gd name="connsiteY19" fmla="*/ 1412069 h 1444806"/>
                <a:gd name="connsiteX20" fmla="*/ 1961965 w 2778711"/>
                <a:gd name="connsiteY20" fmla="*/ 1172372 h 1444806"/>
                <a:gd name="connsiteX21" fmla="*/ 2125294 w 2778711"/>
                <a:gd name="connsiteY21" fmla="*/ 604200 h 1444806"/>
                <a:gd name="connsiteX22" fmla="*/ 2392736 w 2778711"/>
                <a:gd name="connsiteY22" fmla="*/ 302360 h 1444806"/>
                <a:gd name="connsiteX23" fmla="*/ 2122061 w 2778711"/>
                <a:gd name="connsiteY23" fmla="*/ 115929 h 1444806"/>
                <a:gd name="connsiteX24" fmla="*/ 1926862 w 2778711"/>
                <a:gd name="connsiteY24" fmla="*/ 533179 h 1444806"/>
                <a:gd name="connsiteX25" fmla="*/ 2024109 w 2778711"/>
                <a:gd name="connsiteY25" fmla="*/ 888286 h 1444806"/>
                <a:gd name="connsiteX26" fmla="*/ 2423604 w 2778711"/>
                <a:gd name="connsiteY26" fmla="*/ 542057 h 1444806"/>
                <a:gd name="connsiteX27" fmla="*/ 2778711 w 2778711"/>
                <a:gd name="connsiteY27" fmla="*/ 604201 h 1444806"/>
                <a:gd name="connsiteX0" fmla="*/ 0 w 2778711"/>
                <a:gd name="connsiteY0" fmla="*/ 605302 h 1445907"/>
                <a:gd name="connsiteX1" fmla="*/ 852257 w 2778711"/>
                <a:gd name="connsiteY1" fmla="*/ 436626 h 1445907"/>
                <a:gd name="connsiteX2" fmla="*/ 861134 w 2778711"/>
                <a:gd name="connsiteY2" fmla="*/ 143663 h 1445907"/>
                <a:gd name="connsiteX3" fmla="*/ 435006 w 2778711"/>
                <a:gd name="connsiteY3" fmla="*/ 196929 h 1445907"/>
                <a:gd name="connsiteX4" fmla="*/ 292963 w 2778711"/>
                <a:gd name="connsiteY4" fmla="*/ 472137 h 1445907"/>
                <a:gd name="connsiteX5" fmla="*/ 550416 w 2778711"/>
                <a:gd name="connsiteY5" fmla="*/ 1075818 h 1445907"/>
                <a:gd name="connsiteX6" fmla="*/ 1393794 w 2778711"/>
                <a:gd name="connsiteY6" fmla="*/ 1102451 h 1445907"/>
                <a:gd name="connsiteX7" fmla="*/ 1500327 w 2778711"/>
                <a:gd name="connsiteY7" fmla="*/ 729589 h 1445907"/>
                <a:gd name="connsiteX8" fmla="*/ 1145220 w 2778711"/>
                <a:gd name="connsiteY8" fmla="*/ 614179 h 1445907"/>
                <a:gd name="connsiteX9" fmla="*/ 1038688 w 2778711"/>
                <a:gd name="connsiteY9" fmla="*/ 862754 h 1445907"/>
                <a:gd name="connsiteX10" fmla="*/ 1376039 w 2778711"/>
                <a:gd name="connsiteY10" fmla="*/ 1217861 h 1445907"/>
                <a:gd name="connsiteX11" fmla="*/ 1704513 w 2778711"/>
                <a:gd name="connsiteY11" fmla="*/ 898265 h 1445907"/>
                <a:gd name="connsiteX12" fmla="*/ 1553593 w 2778711"/>
                <a:gd name="connsiteY12" fmla="*/ 454381 h 1445907"/>
                <a:gd name="connsiteX13" fmla="*/ 1330945 w 2778711"/>
                <a:gd name="connsiteY13" fmla="*/ 214685 h 1445907"/>
                <a:gd name="connsiteX14" fmla="*/ 1589103 w 2778711"/>
                <a:gd name="connsiteY14" fmla="*/ 1620 h 1445907"/>
                <a:gd name="connsiteX15" fmla="*/ 1807108 w 2778711"/>
                <a:gd name="connsiteY15" fmla="*/ 330093 h 1445907"/>
                <a:gd name="connsiteX16" fmla="*/ 701336 w 2778711"/>
                <a:gd name="connsiteY16" fmla="*/ 614179 h 1445907"/>
                <a:gd name="connsiteX17" fmla="*/ 710214 w 2778711"/>
                <a:gd name="connsiteY17" fmla="*/ 969286 h 1445907"/>
                <a:gd name="connsiteX18" fmla="*/ 1100831 w 2778711"/>
                <a:gd name="connsiteY18" fmla="*/ 1395414 h 1445907"/>
                <a:gd name="connsiteX19" fmla="*/ 1544715 w 2778711"/>
                <a:gd name="connsiteY19" fmla="*/ 1413170 h 1445907"/>
                <a:gd name="connsiteX20" fmla="*/ 1961965 w 2778711"/>
                <a:gd name="connsiteY20" fmla="*/ 1173473 h 1445907"/>
                <a:gd name="connsiteX21" fmla="*/ 2125294 w 2778711"/>
                <a:gd name="connsiteY21" fmla="*/ 605301 h 1445907"/>
                <a:gd name="connsiteX22" fmla="*/ 2392736 w 2778711"/>
                <a:gd name="connsiteY22" fmla="*/ 303461 h 1445907"/>
                <a:gd name="connsiteX23" fmla="*/ 2122061 w 2778711"/>
                <a:gd name="connsiteY23" fmla="*/ 117030 h 1445907"/>
                <a:gd name="connsiteX24" fmla="*/ 1926862 w 2778711"/>
                <a:gd name="connsiteY24" fmla="*/ 534280 h 1445907"/>
                <a:gd name="connsiteX25" fmla="*/ 2024109 w 2778711"/>
                <a:gd name="connsiteY25" fmla="*/ 889387 h 1445907"/>
                <a:gd name="connsiteX26" fmla="*/ 2423604 w 2778711"/>
                <a:gd name="connsiteY26" fmla="*/ 543158 h 1445907"/>
                <a:gd name="connsiteX27" fmla="*/ 2778711 w 2778711"/>
                <a:gd name="connsiteY27" fmla="*/ 605302 h 1445907"/>
                <a:gd name="connsiteX0" fmla="*/ 0 w 2778711"/>
                <a:gd name="connsiteY0" fmla="*/ 609803 h 1450408"/>
                <a:gd name="connsiteX1" fmla="*/ 852257 w 2778711"/>
                <a:gd name="connsiteY1" fmla="*/ 441127 h 1450408"/>
                <a:gd name="connsiteX2" fmla="*/ 861134 w 2778711"/>
                <a:gd name="connsiteY2" fmla="*/ 148164 h 1450408"/>
                <a:gd name="connsiteX3" fmla="*/ 435006 w 2778711"/>
                <a:gd name="connsiteY3" fmla="*/ 201430 h 1450408"/>
                <a:gd name="connsiteX4" fmla="*/ 292963 w 2778711"/>
                <a:gd name="connsiteY4" fmla="*/ 476638 h 1450408"/>
                <a:gd name="connsiteX5" fmla="*/ 550416 w 2778711"/>
                <a:gd name="connsiteY5" fmla="*/ 1080319 h 1450408"/>
                <a:gd name="connsiteX6" fmla="*/ 1393794 w 2778711"/>
                <a:gd name="connsiteY6" fmla="*/ 1106952 h 1450408"/>
                <a:gd name="connsiteX7" fmla="*/ 1500327 w 2778711"/>
                <a:gd name="connsiteY7" fmla="*/ 734090 h 1450408"/>
                <a:gd name="connsiteX8" fmla="*/ 1145220 w 2778711"/>
                <a:gd name="connsiteY8" fmla="*/ 618680 h 1450408"/>
                <a:gd name="connsiteX9" fmla="*/ 1038688 w 2778711"/>
                <a:gd name="connsiteY9" fmla="*/ 867255 h 1450408"/>
                <a:gd name="connsiteX10" fmla="*/ 1376039 w 2778711"/>
                <a:gd name="connsiteY10" fmla="*/ 1222362 h 1450408"/>
                <a:gd name="connsiteX11" fmla="*/ 1704513 w 2778711"/>
                <a:gd name="connsiteY11" fmla="*/ 902766 h 1450408"/>
                <a:gd name="connsiteX12" fmla="*/ 1553593 w 2778711"/>
                <a:gd name="connsiteY12" fmla="*/ 458882 h 1450408"/>
                <a:gd name="connsiteX13" fmla="*/ 1330945 w 2778711"/>
                <a:gd name="connsiteY13" fmla="*/ 219186 h 1450408"/>
                <a:gd name="connsiteX14" fmla="*/ 1589103 w 2778711"/>
                <a:gd name="connsiteY14" fmla="*/ 6121 h 1450408"/>
                <a:gd name="connsiteX15" fmla="*/ 1807108 w 2778711"/>
                <a:gd name="connsiteY15" fmla="*/ 334594 h 1450408"/>
                <a:gd name="connsiteX16" fmla="*/ 701336 w 2778711"/>
                <a:gd name="connsiteY16" fmla="*/ 618680 h 1450408"/>
                <a:gd name="connsiteX17" fmla="*/ 710214 w 2778711"/>
                <a:gd name="connsiteY17" fmla="*/ 973787 h 1450408"/>
                <a:gd name="connsiteX18" fmla="*/ 1100831 w 2778711"/>
                <a:gd name="connsiteY18" fmla="*/ 1399915 h 1450408"/>
                <a:gd name="connsiteX19" fmla="*/ 1544715 w 2778711"/>
                <a:gd name="connsiteY19" fmla="*/ 1417671 h 1450408"/>
                <a:gd name="connsiteX20" fmla="*/ 1961965 w 2778711"/>
                <a:gd name="connsiteY20" fmla="*/ 1177974 h 1450408"/>
                <a:gd name="connsiteX21" fmla="*/ 2125294 w 2778711"/>
                <a:gd name="connsiteY21" fmla="*/ 609802 h 1450408"/>
                <a:gd name="connsiteX22" fmla="*/ 2392736 w 2778711"/>
                <a:gd name="connsiteY22" fmla="*/ 307962 h 1450408"/>
                <a:gd name="connsiteX23" fmla="*/ 2122061 w 2778711"/>
                <a:gd name="connsiteY23" fmla="*/ 121531 h 1450408"/>
                <a:gd name="connsiteX24" fmla="*/ 1926862 w 2778711"/>
                <a:gd name="connsiteY24" fmla="*/ 538781 h 1450408"/>
                <a:gd name="connsiteX25" fmla="*/ 2024109 w 2778711"/>
                <a:gd name="connsiteY25" fmla="*/ 893888 h 1450408"/>
                <a:gd name="connsiteX26" fmla="*/ 2423604 w 2778711"/>
                <a:gd name="connsiteY26" fmla="*/ 547659 h 1450408"/>
                <a:gd name="connsiteX27" fmla="*/ 2778711 w 2778711"/>
                <a:gd name="connsiteY27" fmla="*/ 609803 h 1450408"/>
                <a:gd name="connsiteX0" fmla="*/ 0 w 2778711"/>
                <a:gd name="connsiteY0" fmla="*/ 609803 h 1450408"/>
                <a:gd name="connsiteX1" fmla="*/ 852257 w 2778711"/>
                <a:gd name="connsiteY1" fmla="*/ 441127 h 1450408"/>
                <a:gd name="connsiteX2" fmla="*/ 861134 w 2778711"/>
                <a:gd name="connsiteY2" fmla="*/ 148164 h 1450408"/>
                <a:gd name="connsiteX3" fmla="*/ 435006 w 2778711"/>
                <a:gd name="connsiteY3" fmla="*/ 201430 h 1450408"/>
                <a:gd name="connsiteX4" fmla="*/ 292963 w 2778711"/>
                <a:gd name="connsiteY4" fmla="*/ 476638 h 1450408"/>
                <a:gd name="connsiteX5" fmla="*/ 550416 w 2778711"/>
                <a:gd name="connsiteY5" fmla="*/ 1080319 h 1450408"/>
                <a:gd name="connsiteX6" fmla="*/ 1393794 w 2778711"/>
                <a:gd name="connsiteY6" fmla="*/ 1106952 h 1450408"/>
                <a:gd name="connsiteX7" fmla="*/ 1500327 w 2778711"/>
                <a:gd name="connsiteY7" fmla="*/ 734090 h 1450408"/>
                <a:gd name="connsiteX8" fmla="*/ 1145220 w 2778711"/>
                <a:gd name="connsiteY8" fmla="*/ 618680 h 1450408"/>
                <a:gd name="connsiteX9" fmla="*/ 1038688 w 2778711"/>
                <a:gd name="connsiteY9" fmla="*/ 867255 h 1450408"/>
                <a:gd name="connsiteX10" fmla="*/ 1376039 w 2778711"/>
                <a:gd name="connsiteY10" fmla="*/ 1222362 h 1450408"/>
                <a:gd name="connsiteX11" fmla="*/ 1704513 w 2778711"/>
                <a:gd name="connsiteY11" fmla="*/ 902766 h 1450408"/>
                <a:gd name="connsiteX12" fmla="*/ 1553593 w 2778711"/>
                <a:gd name="connsiteY12" fmla="*/ 458882 h 1450408"/>
                <a:gd name="connsiteX13" fmla="*/ 1330945 w 2778711"/>
                <a:gd name="connsiteY13" fmla="*/ 219186 h 1450408"/>
                <a:gd name="connsiteX14" fmla="*/ 1589103 w 2778711"/>
                <a:gd name="connsiteY14" fmla="*/ 6121 h 1450408"/>
                <a:gd name="connsiteX15" fmla="*/ 1807108 w 2778711"/>
                <a:gd name="connsiteY15" fmla="*/ 334594 h 1450408"/>
                <a:gd name="connsiteX16" fmla="*/ 701336 w 2778711"/>
                <a:gd name="connsiteY16" fmla="*/ 618680 h 1450408"/>
                <a:gd name="connsiteX17" fmla="*/ 710214 w 2778711"/>
                <a:gd name="connsiteY17" fmla="*/ 973787 h 1450408"/>
                <a:gd name="connsiteX18" fmla="*/ 1100831 w 2778711"/>
                <a:gd name="connsiteY18" fmla="*/ 1399915 h 1450408"/>
                <a:gd name="connsiteX19" fmla="*/ 1544715 w 2778711"/>
                <a:gd name="connsiteY19" fmla="*/ 1417671 h 1450408"/>
                <a:gd name="connsiteX20" fmla="*/ 1961965 w 2778711"/>
                <a:gd name="connsiteY20" fmla="*/ 1177974 h 1450408"/>
                <a:gd name="connsiteX21" fmla="*/ 2125294 w 2778711"/>
                <a:gd name="connsiteY21" fmla="*/ 609802 h 1450408"/>
                <a:gd name="connsiteX22" fmla="*/ 2392736 w 2778711"/>
                <a:gd name="connsiteY22" fmla="*/ 307962 h 1450408"/>
                <a:gd name="connsiteX23" fmla="*/ 2122061 w 2778711"/>
                <a:gd name="connsiteY23" fmla="*/ 121531 h 1450408"/>
                <a:gd name="connsiteX24" fmla="*/ 1926862 w 2778711"/>
                <a:gd name="connsiteY24" fmla="*/ 538781 h 1450408"/>
                <a:gd name="connsiteX25" fmla="*/ 2024109 w 2778711"/>
                <a:gd name="connsiteY25" fmla="*/ 893888 h 1450408"/>
                <a:gd name="connsiteX26" fmla="*/ 2423604 w 2778711"/>
                <a:gd name="connsiteY26" fmla="*/ 547659 h 1450408"/>
                <a:gd name="connsiteX27" fmla="*/ 2778711 w 2778711"/>
                <a:gd name="connsiteY27" fmla="*/ 609803 h 1450408"/>
                <a:gd name="connsiteX0" fmla="*/ 0 w 2778711"/>
                <a:gd name="connsiteY0" fmla="*/ 609803 h 1450408"/>
                <a:gd name="connsiteX1" fmla="*/ 852257 w 2778711"/>
                <a:gd name="connsiteY1" fmla="*/ 441127 h 1450408"/>
                <a:gd name="connsiteX2" fmla="*/ 861134 w 2778711"/>
                <a:gd name="connsiteY2" fmla="*/ 148164 h 1450408"/>
                <a:gd name="connsiteX3" fmla="*/ 435006 w 2778711"/>
                <a:gd name="connsiteY3" fmla="*/ 201430 h 1450408"/>
                <a:gd name="connsiteX4" fmla="*/ 292963 w 2778711"/>
                <a:gd name="connsiteY4" fmla="*/ 476638 h 1450408"/>
                <a:gd name="connsiteX5" fmla="*/ 550416 w 2778711"/>
                <a:gd name="connsiteY5" fmla="*/ 1080319 h 1450408"/>
                <a:gd name="connsiteX6" fmla="*/ 1393794 w 2778711"/>
                <a:gd name="connsiteY6" fmla="*/ 1106952 h 1450408"/>
                <a:gd name="connsiteX7" fmla="*/ 1500327 w 2778711"/>
                <a:gd name="connsiteY7" fmla="*/ 734090 h 1450408"/>
                <a:gd name="connsiteX8" fmla="*/ 1145220 w 2778711"/>
                <a:gd name="connsiteY8" fmla="*/ 618680 h 1450408"/>
                <a:gd name="connsiteX9" fmla="*/ 1038688 w 2778711"/>
                <a:gd name="connsiteY9" fmla="*/ 867255 h 1450408"/>
                <a:gd name="connsiteX10" fmla="*/ 1376039 w 2778711"/>
                <a:gd name="connsiteY10" fmla="*/ 1222362 h 1450408"/>
                <a:gd name="connsiteX11" fmla="*/ 1704513 w 2778711"/>
                <a:gd name="connsiteY11" fmla="*/ 902766 h 1450408"/>
                <a:gd name="connsiteX12" fmla="*/ 1553593 w 2778711"/>
                <a:gd name="connsiteY12" fmla="*/ 458882 h 1450408"/>
                <a:gd name="connsiteX13" fmla="*/ 1330945 w 2778711"/>
                <a:gd name="connsiteY13" fmla="*/ 219186 h 1450408"/>
                <a:gd name="connsiteX14" fmla="*/ 1589103 w 2778711"/>
                <a:gd name="connsiteY14" fmla="*/ 6121 h 1450408"/>
                <a:gd name="connsiteX15" fmla="*/ 1807108 w 2778711"/>
                <a:gd name="connsiteY15" fmla="*/ 334594 h 1450408"/>
                <a:gd name="connsiteX16" fmla="*/ 701336 w 2778711"/>
                <a:gd name="connsiteY16" fmla="*/ 618680 h 1450408"/>
                <a:gd name="connsiteX17" fmla="*/ 710214 w 2778711"/>
                <a:gd name="connsiteY17" fmla="*/ 973787 h 1450408"/>
                <a:gd name="connsiteX18" fmla="*/ 1100831 w 2778711"/>
                <a:gd name="connsiteY18" fmla="*/ 1399915 h 1450408"/>
                <a:gd name="connsiteX19" fmla="*/ 1544715 w 2778711"/>
                <a:gd name="connsiteY19" fmla="*/ 1417671 h 1450408"/>
                <a:gd name="connsiteX20" fmla="*/ 1961965 w 2778711"/>
                <a:gd name="connsiteY20" fmla="*/ 1177974 h 1450408"/>
                <a:gd name="connsiteX21" fmla="*/ 2125294 w 2778711"/>
                <a:gd name="connsiteY21" fmla="*/ 609802 h 1450408"/>
                <a:gd name="connsiteX22" fmla="*/ 2392736 w 2778711"/>
                <a:gd name="connsiteY22" fmla="*/ 307962 h 1450408"/>
                <a:gd name="connsiteX23" fmla="*/ 2122061 w 2778711"/>
                <a:gd name="connsiteY23" fmla="*/ 121531 h 1450408"/>
                <a:gd name="connsiteX24" fmla="*/ 1926862 w 2778711"/>
                <a:gd name="connsiteY24" fmla="*/ 538781 h 1450408"/>
                <a:gd name="connsiteX25" fmla="*/ 2024109 w 2778711"/>
                <a:gd name="connsiteY25" fmla="*/ 893888 h 1450408"/>
                <a:gd name="connsiteX26" fmla="*/ 2423604 w 2778711"/>
                <a:gd name="connsiteY26" fmla="*/ 547659 h 1450408"/>
                <a:gd name="connsiteX27" fmla="*/ 2778711 w 2778711"/>
                <a:gd name="connsiteY27" fmla="*/ 609803 h 1450408"/>
                <a:gd name="connsiteX0" fmla="*/ 0 w 2778711"/>
                <a:gd name="connsiteY0" fmla="*/ 609803 h 1450408"/>
                <a:gd name="connsiteX1" fmla="*/ 852257 w 2778711"/>
                <a:gd name="connsiteY1" fmla="*/ 441127 h 1450408"/>
                <a:gd name="connsiteX2" fmla="*/ 861134 w 2778711"/>
                <a:gd name="connsiteY2" fmla="*/ 148164 h 1450408"/>
                <a:gd name="connsiteX3" fmla="*/ 435006 w 2778711"/>
                <a:gd name="connsiteY3" fmla="*/ 201430 h 1450408"/>
                <a:gd name="connsiteX4" fmla="*/ 292963 w 2778711"/>
                <a:gd name="connsiteY4" fmla="*/ 476638 h 1450408"/>
                <a:gd name="connsiteX5" fmla="*/ 550416 w 2778711"/>
                <a:gd name="connsiteY5" fmla="*/ 1080319 h 1450408"/>
                <a:gd name="connsiteX6" fmla="*/ 1393794 w 2778711"/>
                <a:gd name="connsiteY6" fmla="*/ 1106952 h 1450408"/>
                <a:gd name="connsiteX7" fmla="*/ 1500327 w 2778711"/>
                <a:gd name="connsiteY7" fmla="*/ 734090 h 1450408"/>
                <a:gd name="connsiteX8" fmla="*/ 1145220 w 2778711"/>
                <a:gd name="connsiteY8" fmla="*/ 618680 h 1450408"/>
                <a:gd name="connsiteX9" fmla="*/ 1038688 w 2778711"/>
                <a:gd name="connsiteY9" fmla="*/ 867255 h 1450408"/>
                <a:gd name="connsiteX10" fmla="*/ 1376039 w 2778711"/>
                <a:gd name="connsiteY10" fmla="*/ 1222362 h 1450408"/>
                <a:gd name="connsiteX11" fmla="*/ 1704513 w 2778711"/>
                <a:gd name="connsiteY11" fmla="*/ 902766 h 1450408"/>
                <a:gd name="connsiteX12" fmla="*/ 1553593 w 2778711"/>
                <a:gd name="connsiteY12" fmla="*/ 458882 h 1450408"/>
                <a:gd name="connsiteX13" fmla="*/ 1330945 w 2778711"/>
                <a:gd name="connsiteY13" fmla="*/ 219186 h 1450408"/>
                <a:gd name="connsiteX14" fmla="*/ 1589103 w 2778711"/>
                <a:gd name="connsiteY14" fmla="*/ 6121 h 1450408"/>
                <a:gd name="connsiteX15" fmla="*/ 1807108 w 2778711"/>
                <a:gd name="connsiteY15" fmla="*/ 334594 h 1450408"/>
                <a:gd name="connsiteX16" fmla="*/ 701336 w 2778711"/>
                <a:gd name="connsiteY16" fmla="*/ 618680 h 1450408"/>
                <a:gd name="connsiteX17" fmla="*/ 710214 w 2778711"/>
                <a:gd name="connsiteY17" fmla="*/ 973787 h 1450408"/>
                <a:gd name="connsiteX18" fmla="*/ 1100831 w 2778711"/>
                <a:gd name="connsiteY18" fmla="*/ 1399915 h 1450408"/>
                <a:gd name="connsiteX19" fmla="*/ 1544715 w 2778711"/>
                <a:gd name="connsiteY19" fmla="*/ 1417671 h 1450408"/>
                <a:gd name="connsiteX20" fmla="*/ 1961965 w 2778711"/>
                <a:gd name="connsiteY20" fmla="*/ 1177974 h 1450408"/>
                <a:gd name="connsiteX21" fmla="*/ 2125294 w 2778711"/>
                <a:gd name="connsiteY21" fmla="*/ 609802 h 1450408"/>
                <a:gd name="connsiteX22" fmla="*/ 2392736 w 2778711"/>
                <a:gd name="connsiteY22" fmla="*/ 307962 h 1450408"/>
                <a:gd name="connsiteX23" fmla="*/ 2122061 w 2778711"/>
                <a:gd name="connsiteY23" fmla="*/ 121531 h 1450408"/>
                <a:gd name="connsiteX24" fmla="*/ 1926862 w 2778711"/>
                <a:gd name="connsiteY24" fmla="*/ 538781 h 1450408"/>
                <a:gd name="connsiteX25" fmla="*/ 2024109 w 2778711"/>
                <a:gd name="connsiteY25" fmla="*/ 893888 h 1450408"/>
                <a:gd name="connsiteX26" fmla="*/ 2423604 w 2778711"/>
                <a:gd name="connsiteY26" fmla="*/ 547659 h 1450408"/>
                <a:gd name="connsiteX27" fmla="*/ 2778711 w 2778711"/>
                <a:gd name="connsiteY27" fmla="*/ 609803 h 1450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78711" h="1450408">
                  <a:moveTo>
                    <a:pt x="0" y="609803"/>
                  </a:moveTo>
                  <a:cubicBezTo>
                    <a:pt x="354367" y="563935"/>
                    <a:pt x="708735" y="518067"/>
                    <a:pt x="852257" y="441127"/>
                  </a:cubicBezTo>
                  <a:cubicBezTo>
                    <a:pt x="995779" y="364187"/>
                    <a:pt x="1020567" y="312401"/>
                    <a:pt x="861134" y="148164"/>
                  </a:cubicBezTo>
                  <a:cubicBezTo>
                    <a:pt x="701701" y="-16073"/>
                    <a:pt x="529701" y="146684"/>
                    <a:pt x="435006" y="201430"/>
                  </a:cubicBezTo>
                  <a:cubicBezTo>
                    <a:pt x="340311" y="256176"/>
                    <a:pt x="273728" y="330157"/>
                    <a:pt x="292963" y="476638"/>
                  </a:cubicBezTo>
                  <a:cubicBezTo>
                    <a:pt x="312198" y="623119"/>
                    <a:pt x="366944" y="975267"/>
                    <a:pt x="550416" y="1080319"/>
                  </a:cubicBezTo>
                  <a:cubicBezTo>
                    <a:pt x="733888" y="1185371"/>
                    <a:pt x="1235476" y="1164657"/>
                    <a:pt x="1393794" y="1106952"/>
                  </a:cubicBezTo>
                  <a:cubicBezTo>
                    <a:pt x="1552113" y="1049247"/>
                    <a:pt x="1541756" y="815469"/>
                    <a:pt x="1500327" y="734090"/>
                  </a:cubicBezTo>
                  <a:cubicBezTo>
                    <a:pt x="1458898" y="652711"/>
                    <a:pt x="1222160" y="596486"/>
                    <a:pt x="1145220" y="618680"/>
                  </a:cubicBezTo>
                  <a:cubicBezTo>
                    <a:pt x="1068280" y="640874"/>
                    <a:pt x="1000218" y="766641"/>
                    <a:pt x="1038688" y="867255"/>
                  </a:cubicBezTo>
                  <a:cubicBezTo>
                    <a:pt x="1077158" y="967869"/>
                    <a:pt x="1265068" y="1216444"/>
                    <a:pt x="1376039" y="1222362"/>
                  </a:cubicBezTo>
                  <a:cubicBezTo>
                    <a:pt x="1487010" y="1228280"/>
                    <a:pt x="1674921" y="1030013"/>
                    <a:pt x="1704513" y="902766"/>
                  </a:cubicBezTo>
                  <a:cubicBezTo>
                    <a:pt x="1734105" y="775519"/>
                    <a:pt x="1615854" y="572812"/>
                    <a:pt x="1553593" y="458882"/>
                  </a:cubicBezTo>
                  <a:cubicBezTo>
                    <a:pt x="1491332" y="344952"/>
                    <a:pt x="1374058" y="436689"/>
                    <a:pt x="1330945" y="219186"/>
                  </a:cubicBezTo>
                  <a:cubicBezTo>
                    <a:pt x="1287832" y="1683"/>
                    <a:pt x="1509743" y="-13114"/>
                    <a:pt x="1589103" y="6121"/>
                  </a:cubicBezTo>
                  <a:cubicBezTo>
                    <a:pt x="1668463" y="25356"/>
                    <a:pt x="1955069" y="232501"/>
                    <a:pt x="1807108" y="334594"/>
                  </a:cubicBezTo>
                  <a:cubicBezTo>
                    <a:pt x="1659147" y="436687"/>
                    <a:pt x="884152" y="512148"/>
                    <a:pt x="701336" y="618680"/>
                  </a:cubicBezTo>
                  <a:cubicBezTo>
                    <a:pt x="518520" y="725212"/>
                    <a:pt x="643632" y="843581"/>
                    <a:pt x="710214" y="973787"/>
                  </a:cubicBezTo>
                  <a:cubicBezTo>
                    <a:pt x="776796" y="1103993"/>
                    <a:pt x="961748" y="1325934"/>
                    <a:pt x="1100831" y="1399915"/>
                  </a:cubicBezTo>
                  <a:cubicBezTo>
                    <a:pt x="1239915" y="1473896"/>
                    <a:pt x="1401193" y="1454661"/>
                    <a:pt x="1544715" y="1417671"/>
                  </a:cubicBezTo>
                  <a:cubicBezTo>
                    <a:pt x="1688237" y="1380681"/>
                    <a:pt x="1865202" y="1312619"/>
                    <a:pt x="1961965" y="1177974"/>
                  </a:cubicBezTo>
                  <a:cubicBezTo>
                    <a:pt x="2058728" y="1043329"/>
                    <a:pt x="2053499" y="754804"/>
                    <a:pt x="2125294" y="609802"/>
                  </a:cubicBezTo>
                  <a:cubicBezTo>
                    <a:pt x="2197089" y="464800"/>
                    <a:pt x="2393275" y="389340"/>
                    <a:pt x="2392736" y="307962"/>
                  </a:cubicBezTo>
                  <a:cubicBezTo>
                    <a:pt x="2392197" y="226584"/>
                    <a:pt x="2199707" y="83061"/>
                    <a:pt x="2122061" y="121531"/>
                  </a:cubicBezTo>
                  <a:cubicBezTo>
                    <a:pt x="2044415" y="160001"/>
                    <a:pt x="1943187" y="410055"/>
                    <a:pt x="1926862" y="538781"/>
                  </a:cubicBezTo>
                  <a:cubicBezTo>
                    <a:pt x="1910537" y="667507"/>
                    <a:pt x="1941319" y="892408"/>
                    <a:pt x="2024109" y="893888"/>
                  </a:cubicBezTo>
                  <a:cubicBezTo>
                    <a:pt x="2106899" y="895368"/>
                    <a:pt x="2297837" y="595006"/>
                    <a:pt x="2423604" y="547659"/>
                  </a:cubicBezTo>
                  <a:cubicBezTo>
                    <a:pt x="2549371" y="500311"/>
                    <a:pt x="2664041" y="555057"/>
                    <a:pt x="2778711" y="609803"/>
                  </a:cubicBezTo>
                </a:path>
              </a:pathLst>
            </a:custGeom>
            <a:ln w="762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B4D2004F-71C2-7B6D-FBD0-6F0813E67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3581" y="3567910"/>
              <a:ext cx="491146" cy="491146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00B02221-AC5A-FF02-E60C-B7031AC39FA1}"/>
                </a:ext>
              </a:extLst>
            </p:cNvPr>
            <p:cNvSpPr/>
            <p:nvPr/>
          </p:nvSpPr>
          <p:spPr>
            <a:xfrm rot="5400000">
              <a:off x="4542875" y="3567909"/>
              <a:ext cx="491145" cy="491148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9805A4A9-7C4E-80D9-7077-44B03BAE7DFD}"/>
              </a:ext>
            </a:extLst>
          </p:cNvPr>
          <p:cNvSpPr txBox="1"/>
          <p:nvPr/>
        </p:nvSpPr>
        <p:spPr>
          <a:xfrm>
            <a:off x="1194386" y="4783098"/>
            <a:ext cx="35879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KISS</a:t>
            </a:r>
            <a:r>
              <a:rPr lang="nl-NL" sz="3600" b="1">
                <a:latin typeface="Ink Free" panose="03080402000500000000" pitchFamily="66" charset="0"/>
              </a:rPr>
              <a:t> ... Keep It Short &amp; Simp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629A17B-73EE-5F7C-9701-4FE0D22E8AB7}"/>
              </a:ext>
            </a:extLst>
          </p:cNvPr>
          <p:cNvSpPr txBox="1"/>
          <p:nvPr/>
        </p:nvSpPr>
        <p:spPr>
          <a:xfrm>
            <a:off x="6817215" y="4997498"/>
            <a:ext cx="35879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LESS </a:t>
            </a:r>
            <a:r>
              <a:rPr lang="nl-NL" sz="3600" b="1">
                <a:latin typeface="Ink Free" panose="03080402000500000000" pitchFamily="66" charset="0"/>
              </a:rPr>
              <a:t>is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MORE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8D29F59-9925-9D63-9270-51A2802C6C27}"/>
              </a:ext>
            </a:extLst>
          </p:cNvPr>
          <p:cNvGrpSpPr/>
          <p:nvPr/>
        </p:nvGrpSpPr>
        <p:grpSpPr>
          <a:xfrm>
            <a:off x="6796462" y="1538748"/>
            <a:ext cx="3787519" cy="2965568"/>
            <a:chOff x="6893414" y="1538673"/>
            <a:chExt cx="3787519" cy="2965568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770403D8-B300-4BCA-6BE0-17128D7E1E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93414" y="2774993"/>
              <a:ext cx="3690567" cy="1678498"/>
            </a:xfrm>
            <a:prstGeom prst="line">
              <a:avLst/>
            </a:prstGeom>
            <a:ln w="1270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B70FBCA0-7C05-BF3F-99CD-42C8DB4DF28E}"/>
                </a:ext>
              </a:extLst>
            </p:cNvPr>
            <p:cNvSpPr/>
            <p:nvPr/>
          </p:nvSpPr>
          <p:spPr>
            <a:xfrm>
              <a:off x="8310200" y="3502597"/>
              <a:ext cx="1072989" cy="990101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72ADA5B5-E730-FE56-0D61-937A7C58B1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60718" y="2007749"/>
              <a:ext cx="599446" cy="2257711"/>
            </a:xfrm>
            <a:custGeom>
              <a:avLst/>
              <a:gdLst>
                <a:gd name="connsiteX0" fmla="*/ 54359 w 599446"/>
                <a:gd name="connsiteY0" fmla="*/ 471706 h 2257711"/>
                <a:gd name="connsiteX1" fmla="*/ 409796 w 599446"/>
                <a:gd name="connsiteY1" fmla="*/ 471706 h 2257711"/>
                <a:gd name="connsiteX2" fmla="*/ 409796 w 599446"/>
                <a:gd name="connsiteY2" fmla="*/ 1214956 h 2257711"/>
                <a:gd name="connsiteX3" fmla="*/ 407232 w 599446"/>
                <a:gd name="connsiteY3" fmla="*/ 1214956 h 2257711"/>
                <a:gd name="connsiteX4" fmla="*/ 408207 w 599446"/>
                <a:gd name="connsiteY4" fmla="*/ 1215870 h 2257711"/>
                <a:gd name="connsiteX5" fmla="*/ 344531 w 599446"/>
                <a:gd name="connsiteY5" fmla="*/ 1244514 h 2257711"/>
                <a:gd name="connsiteX6" fmla="*/ 344531 w 599446"/>
                <a:gd name="connsiteY6" fmla="*/ 1688218 h 2257711"/>
                <a:gd name="connsiteX7" fmla="*/ 550206 w 599446"/>
                <a:gd name="connsiteY7" fmla="*/ 2009723 h 2257711"/>
                <a:gd name="connsiteX8" fmla="*/ 599446 w 599446"/>
                <a:gd name="connsiteY8" fmla="*/ 2081039 h 2257711"/>
                <a:gd name="connsiteX9" fmla="*/ 343567 w 599446"/>
                <a:gd name="connsiteY9" fmla="*/ 2257711 h 2257711"/>
                <a:gd name="connsiteX10" fmla="*/ 262161 w 599446"/>
                <a:gd name="connsiteY10" fmla="*/ 2139809 h 2257711"/>
                <a:gd name="connsiteX11" fmla="*/ 384032 w 599446"/>
                <a:gd name="connsiteY11" fmla="*/ 2055663 h 2257711"/>
                <a:gd name="connsiteX12" fmla="*/ 181205 w 599446"/>
                <a:gd name="connsiteY12" fmla="*/ 1738609 h 2257711"/>
                <a:gd name="connsiteX13" fmla="*/ 181833 w 599446"/>
                <a:gd name="connsiteY13" fmla="*/ 1738207 h 2257711"/>
                <a:gd name="connsiteX14" fmla="*/ 179794 w 599446"/>
                <a:gd name="connsiteY14" fmla="*/ 1738207 h 2257711"/>
                <a:gd name="connsiteX15" fmla="*/ 179794 w 599446"/>
                <a:gd name="connsiteY15" fmla="*/ 1318620 h 2257711"/>
                <a:gd name="connsiteX16" fmla="*/ 53945 w 599446"/>
                <a:gd name="connsiteY16" fmla="*/ 1375232 h 2257711"/>
                <a:gd name="connsiteX17" fmla="*/ 53945 w 599446"/>
                <a:gd name="connsiteY17" fmla="*/ 884087 h 2257711"/>
                <a:gd name="connsiteX18" fmla="*/ 54359 w 599446"/>
                <a:gd name="connsiteY18" fmla="*/ 884474 h 2257711"/>
                <a:gd name="connsiteX19" fmla="*/ 225084 w 599446"/>
                <a:gd name="connsiteY19" fmla="*/ 0 h 2257711"/>
                <a:gd name="connsiteX20" fmla="*/ 450168 w 599446"/>
                <a:gd name="connsiteY20" fmla="*/ 225084 h 2257711"/>
                <a:gd name="connsiteX21" fmla="*/ 225084 w 599446"/>
                <a:gd name="connsiteY21" fmla="*/ 450168 h 2257711"/>
                <a:gd name="connsiteX22" fmla="*/ 0 w 599446"/>
                <a:gd name="connsiteY22" fmla="*/ 225084 h 2257711"/>
                <a:gd name="connsiteX23" fmla="*/ 225084 w 599446"/>
                <a:gd name="connsiteY23" fmla="*/ 0 h 225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99446" h="2257711">
                  <a:moveTo>
                    <a:pt x="54359" y="471706"/>
                  </a:moveTo>
                  <a:lnTo>
                    <a:pt x="409796" y="471706"/>
                  </a:lnTo>
                  <a:lnTo>
                    <a:pt x="409796" y="1214956"/>
                  </a:lnTo>
                  <a:lnTo>
                    <a:pt x="407232" y="1214956"/>
                  </a:lnTo>
                  <a:lnTo>
                    <a:pt x="408207" y="1215870"/>
                  </a:lnTo>
                  <a:lnTo>
                    <a:pt x="344531" y="1244514"/>
                  </a:lnTo>
                  <a:lnTo>
                    <a:pt x="344531" y="1688218"/>
                  </a:lnTo>
                  <a:lnTo>
                    <a:pt x="550206" y="2009723"/>
                  </a:lnTo>
                  <a:lnTo>
                    <a:pt x="599446" y="2081039"/>
                  </a:lnTo>
                  <a:lnTo>
                    <a:pt x="343567" y="2257711"/>
                  </a:lnTo>
                  <a:lnTo>
                    <a:pt x="262161" y="2139809"/>
                  </a:lnTo>
                  <a:lnTo>
                    <a:pt x="384032" y="2055663"/>
                  </a:lnTo>
                  <a:lnTo>
                    <a:pt x="181205" y="1738609"/>
                  </a:lnTo>
                  <a:lnTo>
                    <a:pt x="181833" y="1738207"/>
                  </a:lnTo>
                  <a:lnTo>
                    <a:pt x="179794" y="1738207"/>
                  </a:lnTo>
                  <a:lnTo>
                    <a:pt x="179794" y="1318620"/>
                  </a:lnTo>
                  <a:lnTo>
                    <a:pt x="53945" y="1375232"/>
                  </a:lnTo>
                  <a:lnTo>
                    <a:pt x="53945" y="884087"/>
                  </a:lnTo>
                  <a:lnTo>
                    <a:pt x="54359" y="884474"/>
                  </a:lnTo>
                  <a:close/>
                  <a:moveTo>
                    <a:pt x="225084" y="0"/>
                  </a:moveTo>
                  <a:cubicBezTo>
                    <a:pt x="349394" y="0"/>
                    <a:pt x="450168" y="100774"/>
                    <a:pt x="450168" y="225084"/>
                  </a:cubicBezTo>
                  <a:cubicBezTo>
                    <a:pt x="450168" y="349394"/>
                    <a:pt x="349394" y="450168"/>
                    <a:pt x="225084" y="450168"/>
                  </a:cubicBezTo>
                  <a:cubicBezTo>
                    <a:pt x="100774" y="450168"/>
                    <a:pt x="0" y="349394"/>
                    <a:pt x="0" y="225084"/>
                  </a:cubicBezTo>
                  <a:cubicBezTo>
                    <a:pt x="0" y="100774"/>
                    <a:pt x="100774" y="0"/>
                    <a:pt x="225084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NL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DBF01FFA-83C4-3712-DA79-5F7FDFBBCB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57419" y="2813438"/>
              <a:ext cx="856978" cy="1690803"/>
            </a:xfrm>
            <a:custGeom>
              <a:avLst/>
              <a:gdLst>
                <a:gd name="connsiteX0" fmla="*/ 54359 w 856978"/>
                <a:gd name="connsiteY0" fmla="*/ 481228 h 1690803"/>
                <a:gd name="connsiteX1" fmla="*/ 409796 w 856978"/>
                <a:gd name="connsiteY1" fmla="*/ 481228 h 1690803"/>
                <a:gd name="connsiteX2" fmla="*/ 409796 w 856978"/>
                <a:gd name="connsiteY2" fmla="*/ 1049058 h 1690803"/>
                <a:gd name="connsiteX3" fmla="*/ 704905 w 856978"/>
                <a:gd name="connsiteY3" fmla="*/ 916107 h 1690803"/>
                <a:gd name="connsiteX4" fmla="*/ 705309 w 856978"/>
                <a:gd name="connsiteY4" fmla="*/ 917005 h 1690803"/>
                <a:gd name="connsiteX5" fmla="*/ 856978 w 856978"/>
                <a:gd name="connsiteY5" fmla="*/ 979521 h 1690803"/>
                <a:gd name="connsiteX6" fmla="*/ 622853 w 856978"/>
                <a:gd name="connsiteY6" fmla="*/ 1547528 h 1690803"/>
                <a:gd name="connsiteX7" fmla="*/ 753935 w 856978"/>
                <a:gd name="connsiteY7" fmla="*/ 1547528 h 1690803"/>
                <a:gd name="connsiteX8" fmla="*/ 753935 w 856978"/>
                <a:gd name="connsiteY8" fmla="*/ 1690803 h 1690803"/>
                <a:gd name="connsiteX9" fmla="*/ 442990 w 856978"/>
                <a:gd name="connsiteY9" fmla="*/ 1690803 h 1690803"/>
                <a:gd name="connsiteX10" fmla="*/ 442990 w 856978"/>
                <a:gd name="connsiteY10" fmla="*/ 1547528 h 1690803"/>
                <a:gd name="connsiteX11" fmla="*/ 444671 w 856978"/>
                <a:gd name="connsiteY11" fmla="*/ 1547528 h 1690803"/>
                <a:gd name="connsiteX12" fmla="*/ 613482 w 856978"/>
                <a:gd name="connsiteY12" fmla="*/ 1137978 h 1690803"/>
                <a:gd name="connsiteX13" fmla="*/ 400623 w 856978"/>
                <a:gd name="connsiteY13" fmla="*/ 1233874 h 1690803"/>
                <a:gd name="connsiteX14" fmla="*/ 401124 w 856978"/>
                <a:gd name="connsiteY14" fmla="*/ 1234355 h 1690803"/>
                <a:gd name="connsiteX15" fmla="*/ 53045 w 856978"/>
                <a:gd name="connsiteY15" fmla="*/ 1391330 h 1690803"/>
                <a:gd name="connsiteX16" fmla="*/ 53045 w 856978"/>
                <a:gd name="connsiteY16" fmla="*/ 900185 h 1690803"/>
                <a:gd name="connsiteX17" fmla="*/ 54359 w 856978"/>
                <a:gd name="connsiteY17" fmla="*/ 901446 h 1690803"/>
                <a:gd name="connsiteX18" fmla="*/ 225084 w 856978"/>
                <a:gd name="connsiteY18" fmla="*/ 0 h 1690803"/>
                <a:gd name="connsiteX19" fmla="*/ 450168 w 856978"/>
                <a:gd name="connsiteY19" fmla="*/ 225084 h 1690803"/>
                <a:gd name="connsiteX20" fmla="*/ 225084 w 856978"/>
                <a:gd name="connsiteY20" fmla="*/ 450168 h 1690803"/>
                <a:gd name="connsiteX21" fmla="*/ 0 w 856978"/>
                <a:gd name="connsiteY21" fmla="*/ 225084 h 1690803"/>
                <a:gd name="connsiteX22" fmla="*/ 225084 w 856978"/>
                <a:gd name="connsiteY22" fmla="*/ 0 h 1690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56978" h="1690803">
                  <a:moveTo>
                    <a:pt x="54359" y="481228"/>
                  </a:moveTo>
                  <a:lnTo>
                    <a:pt x="409796" y="481228"/>
                  </a:lnTo>
                  <a:lnTo>
                    <a:pt x="409796" y="1049058"/>
                  </a:lnTo>
                  <a:lnTo>
                    <a:pt x="704905" y="916107"/>
                  </a:lnTo>
                  <a:lnTo>
                    <a:pt x="705309" y="917005"/>
                  </a:lnTo>
                  <a:lnTo>
                    <a:pt x="856978" y="979521"/>
                  </a:lnTo>
                  <a:lnTo>
                    <a:pt x="622853" y="1547528"/>
                  </a:lnTo>
                  <a:lnTo>
                    <a:pt x="753935" y="1547528"/>
                  </a:lnTo>
                  <a:lnTo>
                    <a:pt x="753935" y="1690803"/>
                  </a:lnTo>
                  <a:lnTo>
                    <a:pt x="442990" y="1690803"/>
                  </a:lnTo>
                  <a:lnTo>
                    <a:pt x="442990" y="1547528"/>
                  </a:lnTo>
                  <a:lnTo>
                    <a:pt x="444671" y="1547528"/>
                  </a:lnTo>
                  <a:lnTo>
                    <a:pt x="613482" y="1137978"/>
                  </a:lnTo>
                  <a:lnTo>
                    <a:pt x="400623" y="1233874"/>
                  </a:lnTo>
                  <a:lnTo>
                    <a:pt x="401124" y="1234355"/>
                  </a:lnTo>
                  <a:lnTo>
                    <a:pt x="53045" y="1391330"/>
                  </a:lnTo>
                  <a:lnTo>
                    <a:pt x="53045" y="900185"/>
                  </a:lnTo>
                  <a:lnTo>
                    <a:pt x="54359" y="901446"/>
                  </a:lnTo>
                  <a:close/>
                  <a:moveTo>
                    <a:pt x="225084" y="0"/>
                  </a:moveTo>
                  <a:cubicBezTo>
                    <a:pt x="349394" y="0"/>
                    <a:pt x="450168" y="100774"/>
                    <a:pt x="450168" y="225084"/>
                  </a:cubicBezTo>
                  <a:cubicBezTo>
                    <a:pt x="450168" y="349394"/>
                    <a:pt x="349394" y="450168"/>
                    <a:pt x="225084" y="450168"/>
                  </a:cubicBezTo>
                  <a:cubicBezTo>
                    <a:pt x="100774" y="450168"/>
                    <a:pt x="0" y="349394"/>
                    <a:pt x="0" y="225084"/>
                  </a:cubicBezTo>
                  <a:cubicBezTo>
                    <a:pt x="0" y="100774"/>
                    <a:pt x="100774" y="0"/>
                    <a:pt x="225084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NL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0947135E-C9EE-3BDA-0985-F0EF2A5F7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78992" y="1776277"/>
              <a:ext cx="599446" cy="2257711"/>
            </a:xfrm>
            <a:custGeom>
              <a:avLst/>
              <a:gdLst>
                <a:gd name="connsiteX0" fmla="*/ 54359 w 599446"/>
                <a:gd name="connsiteY0" fmla="*/ 471706 h 2257711"/>
                <a:gd name="connsiteX1" fmla="*/ 409796 w 599446"/>
                <a:gd name="connsiteY1" fmla="*/ 471706 h 2257711"/>
                <a:gd name="connsiteX2" fmla="*/ 409796 w 599446"/>
                <a:gd name="connsiteY2" fmla="*/ 1214956 h 2257711"/>
                <a:gd name="connsiteX3" fmla="*/ 407232 w 599446"/>
                <a:gd name="connsiteY3" fmla="*/ 1214956 h 2257711"/>
                <a:gd name="connsiteX4" fmla="*/ 408207 w 599446"/>
                <a:gd name="connsiteY4" fmla="*/ 1215870 h 2257711"/>
                <a:gd name="connsiteX5" fmla="*/ 344531 w 599446"/>
                <a:gd name="connsiteY5" fmla="*/ 1244514 h 2257711"/>
                <a:gd name="connsiteX6" fmla="*/ 344531 w 599446"/>
                <a:gd name="connsiteY6" fmla="*/ 1688218 h 2257711"/>
                <a:gd name="connsiteX7" fmla="*/ 550206 w 599446"/>
                <a:gd name="connsiteY7" fmla="*/ 2009723 h 2257711"/>
                <a:gd name="connsiteX8" fmla="*/ 599446 w 599446"/>
                <a:gd name="connsiteY8" fmla="*/ 2081039 h 2257711"/>
                <a:gd name="connsiteX9" fmla="*/ 343567 w 599446"/>
                <a:gd name="connsiteY9" fmla="*/ 2257711 h 2257711"/>
                <a:gd name="connsiteX10" fmla="*/ 262161 w 599446"/>
                <a:gd name="connsiteY10" fmla="*/ 2139809 h 2257711"/>
                <a:gd name="connsiteX11" fmla="*/ 384032 w 599446"/>
                <a:gd name="connsiteY11" fmla="*/ 2055663 h 2257711"/>
                <a:gd name="connsiteX12" fmla="*/ 181205 w 599446"/>
                <a:gd name="connsiteY12" fmla="*/ 1738609 h 2257711"/>
                <a:gd name="connsiteX13" fmla="*/ 181833 w 599446"/>
                <a:gd name="connsiteY13" fmla="*/ 1738207 h 2257711"/>
                <a:gd name="connsiteX14" fmla="*/ 179794 w 599446"/>
                <a:gd name="connsiteY14" fmla="*/ 1738207 h 2257711"/>
                <a:gd name="connsiteX15" fmla="*/ 179794 w 599446"/>
                <a:gd name="connsiteY15" fmla="*/ 1318620 h 2257711"/>
                <a:gd name="connsiteX16" fmla="*/ 53945 w 599446"/>
                <a:gd name="connsiteY16" fmla="*/ 1375232 h 2257711"/>
                <a:gd name="connsiteX17" fmla="*/ 53945 w 599446"/>
                <a:gd name="connsiteY17" fmla="*/ 884087 h 2257711"/>
                <a:gd name="connsiteX18" fmla="*/ 54359 w 599446"/>
                <a:gd name="connsiteY18" fmla="*/ 884474 h 2257711"/>
                <a:gd name="connsiteX19" fmla="*/ 225084 w 599446"/>
                <a:gd name="connsiteY19" fmla="*/ 0 h 2257711"/>
                <a:gd name="connsiteX20" fmla="*/ 450168 w 599446"/>
                <a:gd name="connsiteY20" fmla="*/ 225084 h 2257711"/>
                <a:gd name="connsiteX21" fmla="*/ 225084 w 599446"/>
                <a:gd name="connsiteY21" fmla="*/ 450168 h 2257711"/>
                <a:gd name="connsiteX22" fmla="*/ 0 w 599446"/>
                <a:gd name="connsiteY22" fmla="*/ 225084 h 2257711"/>
                <a:gd name="connsiteX23" fmla="*/ 225084 w 599446"/>
                <a:gd name="connsiteY23" fmla="*/ 0 h 225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99446" h="2257711">
                  <a:moveTo>
                    <a:pt x="54359" y="471706"/>
                  </a:moveTo>
                  <a:lnTo>
                    <a:pt x="409796" y="471706"/>
                  </a:lnTo>
                  <a:lnTo>
                    <a:pt x="409796" y="1214956"/>
                  </a:lnTo>
                  <a:lnTo>
                    <a:pt x="407232" y="1214956"/>
                  </a:lnTo>
                  <a:lnTo>
                    <a:pt x="408207" y="1215870"/>
                  </a:lnTo>
                  <a:lnTo>
                    <a:pt x="344531" y="1244514"/>
                  </a:lnTo>
                  <a:lnTo>
                    <a:pt x="344531" y="1688218"/>
                  </a:lnTo>
                  <a:lnTo>
                    <a:pt x="550206" y="2009723"/>
                  </a:lnTo>
                  <a:lnTo>
                    <a:pt x="599446" y="2081039"/>
                  </a:lnTo>
                  <a:lnTo>
                    <a:pt x="343567" y="2257711"/>
                  </a:lnTo>
                  <a:lnTo>
                    <a:pt x="262161" y="2139809"/>
                  </a:lnTo>
                  <a:lnTo>
                    <a:pt x="384032" y="2055663"/>
                  </a:lnTo>
                  <a:lnTo>
                    <a:pt x="181205" y="1738609"/>
                  </a:lnTo>
                  <a:lnTo>
                    <a:pt x="181833" y="1738207"/>
                  </a:lnTo>
                  <a:lnTo>
                    <a:pt x="179794" y="1738207"/>
                  </a:lnTo>
                  <a:lnTo>
                    <a:pt x="179794" y="1318620"/>
                  </a:lnTo>
                  <a:lnTo>
                    <a:pt x="53945" y="1375232"/>
                  </a:lnTo>
                  <a:lnTo>
                    <a:pt x="53945" y="884087"/>
                  </a:lnTo>
                  <a:lnTo>
                    <a:pt x="54359" y="884474"/>
                  </a:lnTo>
                  <a:close/>
                  <a:moveTo>
                    <a:pt x="225084" y="0"/>
                  </a:moveTo>
                  <a:cubicBezTo>
                    <a:pt x="349394" y="0"/>
                    <a:pt x="450168" y="100774"/>
                    <a:pt x="450168" y="225084"/>
                  </a:cubicBezTo>
                  <a:cubicBezTo>
                    <a:pt x="450168" y="349394"/>
                    <a:pt x="349394" y="450168"/>
                    <a:pt x="225084" y="450168"/>
                  </a:cubicBezTo>
                  <a:cubicBezTo>
                    <a:pt x="100774" y="450168"/>
                    <a:pt x="0" y="349394"/>
                    <a:pt x="0" y="225084"/>
                  </a:cubicBezTo>
                  <a:cubicBezTo>
                    <a:pt x="0" y="100774"/>
                    <a:pt x="100774" y="0"/>
                    <a:pt x="225084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NL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D87691AF-282C-A423-CB6B-8096D670D8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81487" y="1538673"/>
              <a:ext cx="599446" cy="2257711"/>
            </a:xfrm>
            <a:custGeom>
              <a:avLst/>
              <a:gdLst>
                <a:gd name="connsiteX0" fmla="*/ 54359 w 599446"/>
                <a:gd name="connsiteY0" fmla="*/ 471706 h 2257711"/>
                <a:gd name="connsiteX1" fmla="*/ 409796 w 599446"/>
                <a:gd name="connsiteY1" fmla="*/ 471706 h 2257711"/>
                <a:gd name="connsiteX2" fmla="*/ 409796 w 599446"/>
                <a:gd name="connsiteY2" fmla="*/ 1214956 h 2257711"/>
                <a:gd name="connsiteX3" fmla="*/ 407232 w 599446"/>
                <a:gd name="connsiteY3" fmla="*/ 1214956 h 2257711"/>
                <a:gd name="connsiteX4" fmla="*/ 408207 w 599446"/>
                <a:gd name="connsiteY4" fmla="*/ 1215870 h 2257711"/>
                <a:gd name="connsiteX5" fmla="*/ 344531 w 599446"/>
                <a:gd name="connsiteY5" fmla="*/ 1244514 h 2257711"/>
                <a:gd name="connsiteX6" fmla="*/ 344531 w 599446"/>
                <a:gd name="connsiteY6" fmla="*/ 1688218 h 2257711"/>
                <a:gd name="connsiteX7" fmla="*/ 550206 w 599446"/>
                <a:gd name="connsiteY7" fmla="*/ 2009723 h 2257711"/>
                <a:gd name="connsiteX8" fmla="*/ 599446 w 599446"/>
                <a:gd name="connsiteY8" fmla="*/ 2081039 h 2257711"/>
                <a:gd name="connsiteX9" fmla="*/ 343567 w 599446"/>
                <a:gd name="connsiteY9" fmla="*/ 2257711 h 2257711"/>
                <a:gd name="connsiteX10" fmla="*/ 262161 w 599446"/>
                <a:gd name="connsiteY10" fmla="*/ 2139809 h 2257711"/>
                <a:gd name="connsiteX11" fmla="*/ 384032 w 599446"/>
                <a:gd name="connsiteY11" fmla="*/ 2055663 h 2257711"/>
                <a:gd name="connsiteX12" fmla="*/ 181205 w 599446"/>
                <a:gd name="connsiteY12" fmla="*/ 1738609 h 2257711"/>
                <a:gd name="connsiteX13" fmla="*/ 181833 w 599446"/>
                <a:gd name="connsiteY13" fmla="*/ 1738207 h 2257711"/>
                <a:gd name="connsiteX14" fmla="*/ 179794 w 599446"/>
                <a:gd name="connsiteY14" fmla="*/ 1738207 h 2257711"/>
                <a:gd name="connsiteX15" fmla="*/ 179794 w 599446"/>
                <a:gd name="connsiteY15" fmla="*/ 1318620 h 2257711"/>
                <a:gd name="connsiteX16" fmla="*/ 53945 w 599446"/>
                <a:gd name="connsiteY16" fmla="*/ 1375232 h 2257711"/>
                <a:gd name="connsiteX17" fmla="*/ 53945 w 599446"/>
                <a:gd name="connsiteY17" fmla="*/ 884087 h 2257711"/>
                <a:gd name="connsiteX18" fmla="*/ 54359 w 599446"/>
                <a:gd name="connsiteY18" fmla="*/ 884474 h 2257711"/>
                <a:gd name="connsiteX19" fmla="*/ 225084 w 599446"/>
                <a:gd name="connsiteY19" fmla="*/ 0 h 2257711"/>
                <a:gd name="connsiteX20" fmla="*/ 450168 w 599446"/>
                <a:gd name="connsiteY20" fmla="*/ 225084 h 2257711"/>
                <a:gd name="connsiteX21" fmla="*/ 225084 w 599446"/>
                <a:gd name="connsiteY21" fmla="*/ 450168 h 2257711"/>
                <a:gd name="connsiteX22" fmla="*/ 0 w 599446"/>
                <a:gd name="connsiteY22" fmla="*/ 225084 h 2257711"/>
                <a:gd name="connsiteX23" fmla="*/ 225084 w 599446"/>
                <a:gd name="connsiteY23" fmla="*/ 0 h 225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99446" h="2257711">
                  <a:moveTo>
                    <a:pt x="54359" y="471706"/>
                  </a:moveTo>
                  <a:lnTo>
                    <a:pt x="409796" y="471706"/>
                  </a:lnTo>
                  <a:lnTo>
                    <a:pt x="409796" y="1214956"/>
                  </a:lnTo>
                  <a:lnTo>
                    <a:pt x="407232" y="1214956"/>
                  </a:lnTo>
                  <a:lnTo>
                    <a:pt x="408207" y="1215870"/>
                  </a:lnTo>
                  <a:lnTo>
                    <a:pt x="344531" y="1244514"/>
                  </a:lnTo>
                  <a:lnTo>
                    <a:pt x="344531" y="1688218"/>
                  </a:lnTo>
                  <a:lnTo>
                    <a:pt x="550206" y="2009723"/>
                  </a:lnTo>
                  <a:lnTo>
                    <a:pt x="599446" y="2081039"/>
                  </a:lnTo>
                  <a:lnTo>
                    <a:pt x="343567" y="2257711"/>
                  </a:lnTo>
                  <a:lnTo>
                    <a:pt x="262161" y="2139809"/>
                  </a:lnTo>
                  <a:lnTo>
                    <a:pt x="384032" y="2055663"/>
                  </a:lnTo>
                  <a:lnTo>
                    <a:pt x="181205" y="1738609"/>
                  </a:lnTo>
                  <a:lnTo>
                    <a:pt x="181833" y="1738207"/>
                  </a:lnTo>
                  <a:lnTo>
                    <a:pt x="179794" y="1738207"/>
                  </a:lnTo>
                  <a:lnTo>
                    <a:pt x="179794" y="1318620"/>
                  </a:lnTo>
                  <a:lnTo>
                    <a:pt x="53945" y="1375232"/>
                  </a:lnTo>
                  <a:lnTo>
                    <a:pt x="53945" y="884087"/>
                  </a:lnTo>
                  <a:lnTo>
                    <a:pt x="54359" y="884474"/>
                  </a:lnTo>
                  <a:close/>
                  <a:moveTo>
                    <a:pt x="225084" y="0"/>
                  </a:moveTo>
                  <a:cubicBezTo>
                    <a:pt x="349394" y="0"/>
                    <a:pt x="450168" y="100774"/>
                    <a:pt x="450168" y="225084"/>
                  </a:cubicBezTo>
                  <a:cubicBezTo>
                    <a:pt x="450168" y="349394"/>
                    <a:pt x="349394" y="450168"/>
                    <a:pt x="225084" y="450168"/>
                  </a:cubicBezTo>
                  <a:cubicBezTo>
                    <a:pt x="100774" y="450168"/>
                    <a:pt x="0" y="349394"/>
                    <a:pt x="0" y="225084"/>
                  </a:cubicBezTo>
                  <a:cubicBezTo>
                    <a:pt x="0" y="100774"/>
                    <a:pt x="100774" y="0"/>
                    <a:pt x="225084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110949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511BBD94-9246-CC57-6239-A2397D434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/>
              <a:t>ATTENTION: WINOU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3B737AC-8EFC-602F-4F7B-5298EC202AB6}"/>
              </a:ext>
            </a:extLst>
          </p:cNvPr>
          <p:cNvGrpSpPr/>
          <p:nvPr/>
        </p:nvGrpSpPr>
        <p:grpSpPr>
          <a:xfrm>
            <a:off x="424269" y="1331229"/>
            <a:ext cx="2718981" cy="5109780"/>
            <a:chOff x="424269" y="1331229"/>
            <a:chExt cx="2718981" cy="5109780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AB9CB8A0-BE7F-4BAB-91EF-B3B48E5A681A}"/>
                </a:ext>
              </a:extLst>
            </p:cNvPr>
            <p:cNvSpPr/>
            <p:nvPr/>
          </p:nvSpPr>
          <p:spPr>
            <a:xfrm>
              <a:off x="424271" y="1331229"/>
              <a:ext cx="2718979" cy="621396"/>
            </a:xfrm>
            <a:prstGeom prst="roundRect">
              <a:avLst>
                <a:gd name="adj" fmla="val 4862"/>
              </a:avLst>
            </a:prstGeom>
            <a:solidFill>
              <a:schemeClr val="bg1"/>
            </a:solidFill>
            <a:ln>
              <a:noFill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3600">
                  <a:solidFill>
                    <a:srgbClr val="C00000"/>
                  </a:solidFill>
                  <a:latin typeface="Ink Free" panose="03080402000500000000" pitchFamily="66" charset="0"/>
                </a:rPr>
                <a:t>What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DD684041-0261-EAB1-6CA0-D6ECCCC402AE}"/>
                </a:ext>
              </a:extLst>
            </p:cNvPr>
            <p:cNvSpPr/>
            <p:nvPr/>
          </p:nvSpPr>
          <p:spPr>
            <a:xfrm>
              <a:off x="424270" y="2204064"/>
              <a:ext cx="2718979" cy="621396"/>
            </a:xfrm>
            <a:prstGeom prst="roundRect">
              <a:avLst>
                <a:gd name="adj" fmla="val 4862"/>
              </a:avLst>
            </a:prstGeom>
            <a:solidFill>
              <a:schemeClr val="bg1"/>
            </a:solidFill>
            <a:ln>
              <a:noFill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3600">
                  <a:solidFill>
                    <a:srgbClr val="C00000"/>
                  </a:solidFill>
                  <a:latin typeface="Ink Free" panose="03080402000500000000" pitchFamily="66" charset="0"/>
                </a:rPr>
                <a:t>Interest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6E7837A1-834F-ED45-1D3C-770723E08376}"/>
                </a:ext>
              </a:extLst>
            </p:cNvPr>
            <p:cNvSpPr/>
            <p:nvPr/>
          </p:nvSpPr>
          <p:spPr>
            <a:xfrm>
              <a:off x="424270" y="3118302"/>
              <a:ext cx="2718979" cy="621396"/>
            </a:xfrm>
            <a:prstGeom prst="roundRect">
              <a:avLst>
                <a:gd name="adj" fmla="val 4862"/>
              </a:avLst>
            </a:prstGeom>
            <a:solidFill>
              <a:schemeClr val="bg1"/>
            </a:solidFill>
            <a:ln>
              <a:noFill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3600">
                  <a:solidFill>
                    <a:srgbClr val="C00000"/>
                  </a:solidFill>
                  <a:latin typeface="Ink Free" panose="03080402000500000000" pitchFamily="66" charset="0"/>
                </a:rPr>
                <a:t>Need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0711273-F259-7801-BA23-0883F1D27948}"/>
                </a:ext>
              </a:extLst>
            </p:cNvPr>
            <p:cNvSpPr/>
            <p:nvPr/>
          </p:nvSpPr>
          <p:spPr>
            <a:xfrm>
              <a:off x="424270" y="4032540"/>
              <a:ext cx="2718979" cy="621396"/>
            </a:xfrm>
            <a:prstGeom prst="roundRect">
              <a:avLst>
                <a:gd name="adj" fmla="val 4862"/>
              </a:avLst>
            </a:prstGeom>
            <a:solidFill>
              <a:schemeClr val="bg1"/>
            </a:solidFill>
            <a:ln>
              <a:noFill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3600">
                  <a:solidFill>
                    <a:srgbClr val="C00000"/>
                  </a:solidFill>
                  <a:latin typeface="Ink Free" panose="03080402000500000000" pitchFamily="66" charset="0"/>
                </a:rPr>
                <a:t>Objectives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227E617-72B7-9E1B-3A5E-759BC11CBE8F}"/>
                </a:ext>
              </a:extLst>
            </p:cNvPr>
            <p:cNvSpPr/>
            <p:nvPr/>
          </p:nvSpPr>
          <p:spPr>
            <a:xfrm>
              <a:off x="424269" y="4905375"/>
              <a:ext cx="2718979" cy="621396"/>
            </a:xfrm>
            <a:prstGeom prst="roundRect">
              <a:avLst>
                <a:gd name="adj" fmla="val 4862"/>
              </a:avLst>
            </a:prstGeom>
            <a:solidFill>
              <a:schemeClr val="bg1"/>
            </a:solidFill>
            <a:ln>
              <a:noFill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3600">
                  <a:solidFill>
                    <a:srgbClr val="C00000"/>
                  </a:solidFill>
                  <a:latin typeface="Ink Free" panose="03080402000500000000" pitchFamily="66" charset="0"/>
                </a:rPr>
                <a:t>Outline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A3D797E4-58CD-DBCD-1111-A0D3BEB0A5AA}"/>
                </a:ext>
              </a:extLst>
            </p:cNvPr>
            <p:cNvSpPr/>
            <p:nvPr/>
          </p:nvSpPr>
          <p:spPr>
            <a:xfrm>
              <a:off x="424269" y="5819613"/>
              <a:ext cx="2718979" cy="621396"/>
            </a:xfrm>
            <a:prstGeom prst="roundRect">
              <a:avLst>
                <a:gd name="adj" fmla="val 4862"/>
              </a:avLst>
            </a:prstGeom>
            <a:solidFill>
              <a:schemeClr val="bg1"/>
            </a:solidFill>
            <a:ln>
              <a:noFill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3600">
                  <a:solidFill>
                    <a:srgbClr val="C00000"/>
                  </a:solidFill>
                  <a:latin typeface="Ink Free" panose="03080402000500000000" pitchFamily="66" charset="0"/>
                </a:rPr>
                <a:t>Timing</a:t>
              </a:r>
            </a:p>
          </p:txBody>
        </p:sp>
      </p:grp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4DE371-BE4B-D1C3-3531-9E5284886AE2}"/>
              </a:ext>
            </a:extLst>
          </p:cNvPr>
          <p:cNvSpPr/>
          <p:nvPr/>
        </p:nvSpPr>
        <p:spPr>
          <a:xfrm>
            <a:off x="3413330" y="1331229"/>
            <a:ext cx="6464095" cy="621396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  <a:t>The topic of the presentation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ED7762F-336A-250C-99AA-BFFD4ABA9164}"/>
              </a:ext>
            </a:extLst>
          </p:cNvPr>
          <p:cNvSpPr/>
          <p:nvPr/>
        </p:nvSpPr>
        <p:spPr>
          <a:xfrm>
            <a:off x="3413329" y="2204064"/>
            <a:ext cx="6464095" cy="621396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2000" dirty="0">
                <a:solidFill>
                  <a:schemeClr val="tx1"/>
                </a:solidFill>
                <a:latin typeface="Ink Free" panose="03080402000500000000" pitchFamily="66" charset="0"/>
              </a:rPr>
              <a:t>Raise the audience’s interest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2F72CDE5-BA58-4834-AE28-9F7340F3D9B6}"/>
              </a:ext>
            </a:extLst>
          </p:cNvPr>
          <p:cNvSpPr/>
          <p:nvPr/>
        </p:nvSpPr>
        <p:spPr>
          <a:xfrm>
            <a:off x="3413329" y="3118302"/>
            <a:ext cx="6464095" cy="621396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2000" dirty="0">
                <a:solidFill>
                  <a:schemeClr val="tx1"/>
                </a:solidFill>
                <a:latin typeface="Ink Free" panose="03080402000500000000" pitchFamily="66" charset="0"/>
              </a:rPr>
              <a:t>The reason for the audience to join your presentation.</a:t>
            </a:r>
            <a:br>
              <a:rPr lang="nl-NL" sz="2000" dirty="0">
                <a:solidFill>
                  <a:schemeClr val="tx1"/>
                </a:solidFill>
                <a:latin typeface="Ink Free" panose="03080402000500000000" pitchFamily="66" charset="0"/>
              </a:rPr>
            </a:br>
            <a:r>
              <a:rPr lang="nl-NL" sz="2000" dirty="0">
                <a:solidFill>
                  <a:schemeClr val="tx1"/>
                </a:solidFill>
                <a:latin typeface="Ink Free" panose="03080402000500000000" pitchFamily="66" charset="0"/>
              </a:rPr>
              <a:t>Why is it beneficial for them?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3E57C236-D40E-5ED9-4EE2-1D079E8CB6D0}"/>
              </a:ext>
            </a:extLst>
          </p:cNvPr>
          <p:cNvSpPr/>
          <p:nvPr/>
        </p:nvSpPr>
        <p:spPr>
          <a:xfrm>
            <a:off x="3413329" y="4032540"/>
            <a:ext cx="6464095" cy="621396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  <a:t>What is the presentation aiming for?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B4F93BFF-B3BF-6EF5-6763-696A8EF0C67E}"/>
              </a:ext>
            </a:extLst>
          </p:cNvPr>
          <p:cNvSpPr/>
          <p:nvPr/>
        </p:nvSpPr>
        <p:spPr>
          <a:xfrm>
            <a:off x="3413328" y="4905375"/>
            <a:ext cx="6464095" cy="621396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  <a:t>How will the presentation run (agenda)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4A42275-341F-886F-79D3-76D5D178BED4}"/>
              </a:ext>
            </a:extLst>
          </p:cNvPr>
          <p:cNvSpPr/>
          <p:nvPr/>
        </p:nvSpPr>
        <p:spPr>
          <a:xfrm>
            <a:off x="3413328" y="5819613"/>
            <a:ext cx="6464095" cy="621396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  <a:t>The duration of the presentation</a:t>
            </a:r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761DE566-12CE-2C9E-C861-34A3A092885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0"/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-10575"/>
          <a:stretch/>
        </p:blipFill>
        <p:spPr>
          <a:xfrm rot="5400000">
            <a:off x="7899759" y="268724"/>
            <a:ext cx="4583981" cy="40005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 descr="A stack of wooden blocks with letters on them&#10;&#10;Description automatically generated with low confidence">
            <a:extLst>
              <a:ext uri="{FF2B5EF4-FFF2-40B4-BE49-F238E27FC236}">
                <a16:creationId xmlns:a16="http://schemas.microsoft.com/office/drawing/2014/main" id="{2E26CC62-2185-FC8E-6481-CF58B101BB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backgroundMark x1="52100" y1="50291" x2="52100" y2="50291"/>
                        <a14:backgroundMark x1="53700" y1="87355" x2="53700" y2="87355"/>
                        <a14:backgroundMark x1="53700" y1="85320" x2="53700" y2="85320"/>
                        <a14:backgroundMark x1="61000" y1="87209" x2="61000" y2="87209"/>
                        <a14:backgroundMark x1="61500" y1="87355" x2="61500" y2="87355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596" t="10239" r="15513" b="11993"/>
          <a:stretch/>
        </p:blipFill>
        <p:spPr>
          <a:xfrm>
            <a:off x="8425285" y="3562350"/>
            <a:ext cx="3606562" cy="3068269"/>
          </a:xfrm>
          <a:prstGeom prst="rect">
            <a:avLst/>
          </a:prstGeom>
        </p:spPr>
      </p:pic>
      <p:pic>
        <p:nvPicPr>
          <p:cNvPr id="7" name="Picture 6" descr="A stack of wooden blocks with letters on them&#10;&#10;Description automatically generated with low confidence">
            <a:extLst>
              <a:ext uri="{FF2B5EF4-FFF2-40B4-BE49-F238E27FC236}">
                <a16:creationId xmlns:a16="http://schemas.microsoft.com/office/drawing/2014/main" id="{3F621081-E98C-3652-B151-3AECCF0501E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backgroundMark x1="52100" y1="50291" x2="52100" y2="50291"/>
                        <a14:backgroundMark x1="53700" y1="87355" x2="53700" y2="87355"/>
                        <a14:backgroundMark x1="53700" y1="85320" x2="53700" y2="85320"/>
                        <a14:backgroundMark x1="61000" y1="87209" x2="61000" y2="87209"/>
                        <a14:backgroundMark x1="61500" y1="87355" x2="61500" y2="87355"/>
                        <a14:backgroundMark x1="23500" y1="59012" x2="82300" y2="69186"/>
                        <a14:backgroundMark x1="35000" y1="52180" x2="67200" y2="57849"/>
                        <a14:backgroundMark x1="32900" y1="70785" x2="62700" y2="69913"/>
                        <a14:backgroundMark x1="31700" y1="57994" x2="30700" y2="75436"/>
                        <a14:backgroundMark x1="27400" y1="59302" x2="31400" y2="89680"/>
                        <a14:backgroundMark x1="28400" y1="81977" x2="53800" y2="81977"/>
                        <a14:backgroundMark x1="60900" y1="57267" x2="74500" y2="54360"/>
                        <a14:backgroundMark x1="59400" y1="52035" x2="82500" y2="5436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596" t="10239" r="15513" b="11993"/>
          <a:stretch/>
        </p:blipFill>
        <p:spPr>
          <a:xfrm>
            <a:off x="8425285" y="3562350"/>
            <a:ext cx="3606562" cy="3068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000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stack of wooden blocks with letters on them&#10;&#10;Description automatically generated with low confidence">
            <a:extLst>
              <a:ext uri="{FF2B5EF4-FFF2-40B4-BE49-F238E27FC236}">
                <a16:creationId xmlns:a16="http://schemas.microsoft.com/office/drawing/2014/main" id="{CADB1EA9-DCBD-8EFE-4D39-46E2642C089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backgroundMark x1="52100" y1="50291" x2="52100" y2="50291"/>
                        <a14:backgroundMark x1="53700" y1="87355" x2="53700" y2="87355"/>
                        <a14:backgroundMark x1="53700" y1="85320" x2="53700" y2="85320"/>
                        <a14:backgroundMark x1="61000" y1="87209" x2="61000" y2="87209"/>
                        <a14:backgroundMark x1="61500" y1="87355" x2="61500" y2="873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596" t="10239" r="15513" b="11993"/>
          <a:stretch/>
        </p:blipFill>
        <p:spPr>
          <a:xfrm>
            <a:off x="3647838" y="1973226"/>
            <a:ext cx="5037834" cy="4285918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CAFDEBF-F3F6-9340-0412-8E769BC56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 GOOD STRUCTURE ... SIMPLE AS ABC</a:t>
            </a:r>
          </a:p>
        </p:txBody>
      </p:sp>
      <p:sp>
        <p:nvSpPr>
          <p:cNvPr id="5" name="Text Box 5">
            <a:extLst>
              <a:ext uri="{FF2B5EF4-FFF2-40B4-BE49-F238E27FC236}">
                <a16:creationId xmlns:a16="http://schemas.microsoft.com/office/drawing/2014/main" id="{39077DD3-FCDD-30C7-5480-C1A08E3944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7838" y="1075646"/>
            <a:ext cx="5201396" cy="979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19290" tIns="119290" rIns="119290" bIns="119290">
            <a:spAutoFit/>
          </a:bodyPr>
          <a:lstStyle>
            <a:lvl1pPr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400">
                <a:latin typeface="Ink Free" panose="03080402000500000000" pitchFamily="66" charset="0"/>
              </a:rPr>
              <a:t>Introduction to draw ‘</a:t>
            </a:r>
            <a:r>
              <a:rPr lang="en-US" altLang="en-US" sz="2400" b="1">
                <a:solidFill>
                  <a:srgbClr val="C00000"/>
                </a:solidFill>
                <a:latin typeface="Ink Free" panose="03080402000500000000" pitchFamily="66" charset="0"/>
              </a:rPr>
              <a:t>ATTENTION</a:t>
            </a:r>
            <a:r>
              <a:rPr lang="en-US" altLang="en-US" sz="2400">
                <a:latin typeface="Ink Free" panose="03080402000500000000" pitchFamily="66" charset="0"/>
              </a:rPr>
              <a:t>’</a:t>
            </a:r>
            <a:br>
              <a:rPr lang="en-US" altLang="en-US" sz="2400">
                <a:latin typeface="Ink Free" panose="03080402000500000000" pitchFamily="66" charset="0"/>
              </a:rPr>
            </a:br>
            <a:r>
              <a:rPr lang="en-US" altLang="en-US" sz="2400">
                <a:latin typeface="Ink Free" panose="03080402000500000000" pitchFamily="66" charset="0"/>
              </a:rPr>
              <a:t>and raise interest</a:t>
            </a:r>
          </a:p>
        </p:txBody>
      </p:sp>
      <p:sp>
        <p:nvSpPr>
          <p:cNvPr id="6" name="Text Box 6">
            <a:extLst>
              <a:ext uri="{FF2B5EF4-FFF2-40B4-BE49-F238E27FC236}">
                <a16:creationId xmlns:a16="http://schemas.microsoft.com/office/drawing/2014/main" id="{AE4264F6-105D-962D-91FA-7687A44C3A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1572" y="4322602"/>
            <a:ext cx="3236266" cy="1718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19290" tIns="119290" rIns="119290" bIns="119290">
            <a:spAutoFit/>
          </a:bodyPr>
          <a:lstStyle>
            <a:lvl1pPr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400" b="1">
                <a:solidFill>
                  <a:schemeClr val="accent6">
                    <a:lumMod val="75000"/>
                  </a:schemeClr>
                </a:solidFill>
                <a:latin typeface="Ink Free" panose="03080402000500000000" pitchFamily="66" charset="0"/>
              </a:rPr>
              <a:t>BODY</a:t>
            </a:r>
            <a:r>
              <a:rPr lang="en-US" altLang="en-US" sz="2400">
                <a:latin typeface="Ink Free" panose="03080402000500000000" pitchFamily="66" charset="0"/>
              </a:rPr>
              <a:t> to deliver the</a:t>
            </a:r>
          </a:p>
          <a:p>
            <a:pPr algn="ctr"/>
            <a:r>
              <a:rPr lang="en-US" altLang="en-US" sz="2400">
                <a:latin typeface="Ink Free" panose="03080402000500000000" pitchFamily="66" charset="0"/>
              </a:rPr>
              <a:t>messages clearly, short</a:t>
            </a:r>
            <a:br>
              <a:rPr lang="en-US" altLang="en-US" sz="2400">
                <a:latin typeface="Ink Free" panose="03080402000500000000" pitchFamily="66" charset="0"/>
              </a:rPr>
            </a:br>
            <a:r>
              <a:rPr lang="en-US" altLang="en-US" sz="2400">
                <a:latin typeface="Ink Free" panose="03080402000500000000" pitchFamily="66" charset="0"/>
              </a:rPr>
              <a:t>and to the point (KISS)</a:t>
            </a:r>
          </a:p>
        </p:txBody>
      </p:sp>
      <p:sp>
        <p:nvSpPr>
          <p:cNvPr id="7" name="Text Box 7">
            <a:extLst>
              <a:ext uri="{FF2B5EF4-FFF2-40B4-BE49-F238E27FC236}">
                <a16:creationId xmlns:a16="http://schemas.microsoft.com/office/drawing/2014/main" id="{0D6484F5-76C1-835C-50B8-BB61D5B4A9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5672" y="4433448"/>
            <a:ext cx="3195127" cy="13489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19290" tIns="119290" rIns="119290" bIns="119290">
            <a:spAutoFit/>
          </a:bodyPr>
          <a:lstStyle>
            <a:lvl1pPr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2391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400" b="1">
                <a:solidFill>
                  <a:srgbClr val="0070C0"/>
                </a:solidFill>
                <a:latin typeface="Ink Free" panose="03080402000500000000" pitchFamily="66" charset="0"/>
              </a:rPr>
              <a:t>CONCLUSION</a:t>
            </a:r>
            <a:r>
              <a:rPr lang="en-US" altLang="en-US" sz="2400">
                <a:latin typeface="Ink Free" panose="03080402000500000000" pitchFamily="66" charset="0"/>
              </a:rPr>
              <a:t> to make a Professional and memorable ending</a:t>
            </a:r>
          </a:p>
        </p:txBody>
      </p:sp>
    </p:spTree>
    <p:extLst>
      <p:ext uri="{BB962C8B-B14F-4D97-AF65-F5344CB8AC3E}">
        <p14:creationId xmlns:p14="http://schemas.microsoft.com/office/powerpoint/2010/main" val="754143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10">
            <a:extLst>
              <a:ext uri="{FF2B5EF4-FFF2-40B4-BE49-F238E27FC236}">
                <a16:creationId xmlns:a16="http://schemas.microsoft.com/office/drawing/2014/main" id="{C8B048EE-0773-5BA5-3F74-23C5E4F596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93" r="46339" b="29827"/>
          <a:stretch/>
        </p:blipFill>
        <p:spPr bwMode="auto">
          <a:xfrm flipH="1">
            <a:off x="6979859" y="2553017"/>
            <a:ext cx="1482024" cy="224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511BBD94-9246-CC57-6239-A2397D434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RAISING INTEREST</a:t>
            </a:r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761DE566-12CE-2C9E-C861-34A3A092885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 descr="A stack of wooden blocks with letters on them&#10;&#10;Description automatically generated with low confidence">
            <a:extLst>
              <a:ext uri="{FF2B5EF4-FFF2-40B4-BE49-F238E27FC236}">
                <a16:creationId xmlns:a16="http://schemas.microsoft.com/office/drawing/2014/main" id="{2E26CC62-2185-FC8E-6481-CF58B101BB1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backgroundMark x1="52100" y1="50291" x2="52100" y2="50291"/>
                        <a14:backgroundMark x1="53700" y1="87355" x2="53700" y2="87355"/>
                        <a14:backgroundMark x1="53700" y1="85320" x2="53700" y2="85320"/>
                        <a14:backgroundMark x1="61000" y1="87209" x2="61000" y2="87209"/>
                        <a14:backgroundMark x1="61500" y1="87355" x2="61500" y2="87355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596" t="10239" r="15513" b="11993"/>
          <a:stretch/>
        </p:blipFill>
        <p:spPr>
          <a:xfrm>
            <a:off x="8425285" y="3562350"/>
            <a:ext cx="3606562" cy="3068269"/>
          </a:xfrm>
          <a:prstGeom prst="rect">
            <a:avLst/>
          </a:prstGeom>
        </p:spPr>
      </p:pic>
      <p:pic>
        <p:nvPicPr>
          <p:cNvPr id="7" name="Picture 6" descr="A stack of wooden blocks with letters on them&#10;&#10;Description automatically generated with low confidence">
            <a:extLst>
              <a:ext uri="{FF2B5EF4-FFF2-40B4-BE49-F238E27FC236}">
                <a16:creationId xmlns:a16="http://schemas.microsoft.com/office/drawing/2014/main" id="{3F621081-E98C-3652-B151-3AECCF0501E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backgroundMark x1="52100" y1="50291" x2="52100" y2="50291"/>
                        <a14:backgroundMark x1="53700" y1="87355" x2="53700" y2="87355"/>
                        <a14:backgroundMark x1="53700" y1="85320" x2="53700" y2="85320"/>
                        <a14:backgroundMark x1="61000" y1="87209" x2="61000" y2="87209"/>
                        <a14:backgroundMark x1="61500" y1="87355" x2="61500" y2="87355"/>
                        <a14:backgroundMark x1="23500" y1="59012" x2="82300" y2="69186"/>
                        <a14:backgroundMark x1="35000" y1="52180" x2="67200" y2="57849"/>
                        <a14:backgroundMark x1="32900" y1="70785" x2="62700" y2="69913"/>
                        <a14:backgroundMark x1="31700" y1="57994" x2="30700" y2="75436"/>
                        <a14:backgroundMark x1="27400" y1="59302" x2="31400" y2="89680"/>
                        <a14:backgroundMark x1="28400" y1="81977" x2="53800" y2="81977"/>
                        <a14:backgroundMark x1="60900" y1="57267" x2="74500" y2="54360"/>
                        <a14:backgroundMark x1="59400" y1="52035" x2="82500" y2="5436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596" t="10239" r="15513" b="11993"/>
          <a:stretch/>
        </p:blipFill>
        <p:spPr>
          <a:xfrm>
            <a:off x="8425285" y="3562350"/>
            <a:ext cx="3606562" cy="3068269"/>
          </a:xfrm>
          <a:prstGeom prst="rect">
            <a:avLst/>
          </a:prstGeom>
        </p:spPr>
      </p:pic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06F013C-B2FC-D6EF-87C4-0A7A55591ECB}"/>
              </a:ext>
            </a:extLst>
          </p:cNvPr>
          <p:cNvSpPr/>
          <p:nvPr/>
        </p:nvSpPr>
        <p:spPr>
          <a:xfrm>
            <a:off x="1051835" y="1562418"/>
            <a:ext cx="5942332" cy="3999866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endParaRPr lang="en-US" sz="2800">
              <a:solidFill>
                <a:schemeClr val="tx1"/>
              </a:solidFill>
              <a:latin typeface="Ink Free" panose="03080402000500000000" pitchFamily="66" charset="0"/>
            </a:endParaRPr>
          </a:p>
        </p:txBody>
      </p:sp>
      <p:pic>
        <p:nvPicPr>
          <p:cNvPr id="7176" name="Picture 8">
            <a:extLst>
              <a:ext uri="{FF2B5EF4-FFF2-40B4-BE49-F238E27FC236}">
                <a16:creationId xmlns:a16="http://schemas.microsoft.com/office/drawing/2014/main" id="{D323237E-00BE-F48F-3C67-61A4F117C4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22" y="1676400"/>
            <a:ext cx="1333500" cy="3771900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>
            <a:extLst>
              <a:ext uri="{FF2B5EF4-FFF2-40B4-BE49-F238E27FC236}">
                <a16:creationId xmlns:a16="http://schemas.microsoft.com/office/drawing/2014/main" id="{6D193ECC-1117-2E07-76C3-32D020FB44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89" b="79454"/>
          <a:stretch/>
        </p:blipFill>
        <p:spPr bwMode="auto">
          <a:xfrm flipH="1">
            <a:off x="5725443" y="2080320"/>
            <a:ext cx="1602170" cy="796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FA43A87E-0F10-B3CB-5448-63DB660B900A}"/>
              </a:ext>
            </a:extLst>
          </p:cNvPr>
          <p:cNvSpPr/>
          <p:nvPr/>
        </p:nvSpPr>
        <p:spPr>
          <a:xfrm>
            <a:off x="1328737" y="1792028"/>
            <a:ext cx="5213283" cy="3540643"/>
          </a:xfrm>
          <a:prstGeom prst="roundRect">
            <a:avLst>
              <a:gd name="adj" fmla="val 4862"/>
            </a:avLst>
          </a:prstGeom>
          <a:noFill/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Ask a question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Use nice images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Tell a story or anecdote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Use statements or quotes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Statistics and graphs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Humor (!!!)</a:t>
            </a:r>
          </a:p>
        </p:txBody>
      </p:sp>
      <p:pic>
        <p:nvPicPr>
          <p:cNvPr id="7180" name="Picture 12">
            <a:extLst>
              <a:ext uri="{FF2B5EF4-FFF2-40B4-BE49-F238E27FC236}">
                <a16:creationId xmlns:a16="http://schemas.microsoft.com/office/drawing/2014/main" id="{3DB7683F-D71D-1455-2D87-1B7E83569A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880"/>
          <a:stretch/>
        </p:blipFill>
        <p:spPr bwMode="auto">
          <a:xfrm flipH="1">
            <a:off x="5699124" y="4092692"/>
            <a:ext cx="2774299" cy="1908758"/>
          </a:xfrm>
          <a:prstGeom prst="rect">
            <a:avLst/>
          </a:prstGeom>
          <a:noFill/>
          <a:effectLst>
            <a:softEdge rad="63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3317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1324253-0A73-0912-3843-DC0777BA86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BODY: HOW TO GET THERE</a:t>
            </a:r>
          </a:p>
        </p:txBody>
      </p:sp>
      <p:pic>
        <p:nvPicPr>
          <p:cNvPr id="6" name="Picture 5" descr="A stack of wooden blocks with letters on them&#10;&#10;Description automatically generated with low confidence">
            <a:extLst>
              <a:ext uri="{FF2B5EF4-FFF2-40B4-BE49-F238E27FC236}">
                <a16:creationId xmlns:a16="http://schemas.microsoft.com/office/drawing/2014/main" id="{2E26CC62-2185-FC8E-6481-CF58B101BB1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backgroundMark x1="52100" y1="50291" x2="52100" y2="50291"/>
                        <a14:backgroundMark x1="53700" y1="87355" x2="53700" y2="87355"/>
                        <a14:backgroundMark x1="53700" y1="85320" x2="53700" y2="85320"/>
                        <a14:backgroundMark x1="61000" y1="87209" x2="61000" y2="87209"/>
                        <a14:backgroundMark x1="61500" y1="87355" x2="61500" y2="87355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596" t="10239" r="15513" b="11993"/>
          <a:stretch/>
        </p:blipFill>
        <p:spPr>
          <a:xfrm>
            <a:off x="8425285" y="3562350"/>
            <a:ext cx="3606562" cy="3068269"/>
          </a:xfrm>
          <a:prstGeom prst="rect">
            <a:avLst/>
          </a:prstGeom>
        </p:spPr>
      </p:pic>
      <p:pic>
        <p:nvPicPr>
          <p:cNvPr id="2" name="Picture 1" descr="A stack of wooden blocks with letters on them&#10;&#10;Description automatically generated with low confidence">
            <a:extLst>
              <a:ext uri="{FF2B5EF4-FFF2-40B4-BE49-F238E27FC236}">
                <a16:creationId xmlns:a16="http://schemas.microsoft.com/office/drawing/2014/main" id="{2F6311C2-547A-2EF3-29E1-92529C6BAFA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50400" y1="51017" x2="50900" y2="83140"/>
                        <a14:backgroundMark x1="52100" y1="50291" x2="52100" y2="50291"/>
                        <a14:backgroundMark x1="53700" y1="87355" x2="53700" y2="87355"/>
                        <a14:backgroundMark x1="53700" y1="85320" x2="53700" y2="85320"/>
                        <a14:backgroundMark x1="61000" y1="87209" x2="61000" y2="87209"/>
                        <a14:backgroundMark x1="61500" y1="87355" x2="61500" y2="87355"/>
                        <a14:backgroundMark x1="38600" y1="15262" x2="66600" y2="45640"/>
                        <a14:backgroundMark x1="66600" y1="45640" x2="68800" y2="46657"/>
                        <a14:backgroundMark x1="36900" y1="32413" x2="52900" y2="45494"/>
                        <a14:backgroundMark x1="52900" y1="45494" x2="52900" y2="45494"/>
                        <a14:backgroundMark x1="42600" y1="47384" x2="59000" y2="47674"/>
                        <a14:backgroundMark x1="36100" y1="47384" x2="43600" y2="47238"/>
                        <a14:backgroundMark x1="36900" y1="48692" x2="41900" y2="48837"/>
                        <a14:backgroundMark x1="41700" y1="49855" x2="42700" y2="49855"/>
                        <a14:backgroundMark x1="57700" y1="50581" x2="64200" y2="82849"/>
                        <a14:backgroundMark x1="62700" y1="52180" x2="62700" y2="78343"/>
                        <a14:backgroundMark x1="56200" y1="54360" x2="57700" y2="82413"/>
                        <a14:backgroundMark x1="53900" y1="51744" x2="56900" y2="73547"/>
                        <a14:backgroundMark x1="56900" y1="73547" x2="55000" y2="7732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596" t="10239" r="15513" b="11993"/>
          <a:stretch/>
        </p:blipFill>
        <p:spPr>
          <a:xfrm>
            <a:off x="8427189" y="3562350"/>
            <a:ext cx="3606561" cy="3068268"/>
          </a:xfrm>
          <a:prstGeom prst="rect">
            <a:avLst/>
          </a:prstGeom>
        </p:spPr>
      </p:pic>
      <p:pic>
        <p:nvPicPr>
          <p:cNvPr id="3" name="Picture 2" descr="Shape, circle&#10;&#10;Description automatically generated">
            <a:extLst>
              <a:ext uri="{FF2B5EF4-FFF2-40B4-BE49-F238E27FC236}">
                <a16:creationId xmlns:a16="http://schemas.microsoft.com/office/drawing/2014/main" id="{2DC90BE8-D27D-3687-28EE-8E010B093C8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alphaModFix amt="50000"/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92F1691-EE48-2835-1239-9409F0EA0D3D}"/>
              </a:ext>
            </a:extLst>
          </p:cNvPr>
          <p:cNvSpPr/>
          <p:nvPr/>
        </p:nvSpPr>
        <p:spPr>
          <a:xfrm>
            <a:off x="1051835" y="2181224"/>
            <a:ext cx="5942332" cy="3381059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endParaRPr lang="en-US" sz="2800">
              <a:solidFill>
                <a:schemeClr val="tx1"/>
              </a:solidFill>
              <a:latin typeface="Ink Free" panose="03080402000500000000" pitchFamily="66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0481C5B-1D00-908B-4809-B39FB993AFB9}"/>
              </a:ext>
            </a:extLst>
          </p:cNvPr>
          <p:cNvSpPr/>
          <p:nvPr/>
        </p:nvSpPr>
        <p:spPr>
          <a:xfrm>
            <a:off x="1190286" y="2466975"/>
            <a:ext cx="5665430" cy="2865696"/>
          </a:xfrm>
          <a:prstGeom prst="roundRect">
            <a:avLst>
              <a:gd name="adj" fmla="val 4862"/>
            </a:avLst>
          </a:prstGeom>
          <a:noFill/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Brainstorm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Mind map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Leave out the unimportant bits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Bite size chunks of information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Logical order</a:t>
            </a:r>
          </a:p>
        </p:txBody>
      </p:sp>
    </p:spTree>
    <p:extLst>
      <p:ext uri="{BB962C8B-B14F-4D97-AF65-F5344CB8AC3E}">
        <p14:creationId xmlns:p14="http://schemas.microsoft.com/office/powerpoint/2010/main" val="1368075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1324253-0A73-0912-3843-DC0777BA86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CONCLUSION: SO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09A6436-8C34-B7BB-0000-B166CE79D51C}"/>
              </a:ext>
            </a:extLst>
          </p:cNvPr>
          <p:cNvGrpSpPr/>
          <p:nvPr/>
        </p:nvGrpSpPr>
        <p:grpSpPr>
          <a:xfrm>
            <a:off x="431834" y="2209800"/>
            <a:ext cx="4305087" cy="3175077"/>
            <a:chOff x="431834" y="2209800"/>
            <a:chExt cx="4305087" cy="3175077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F8A87CEB-07A1-B5DF-D186-8EDC2955F724}"/>
                </a:ext>
              </a:extLst>
            </p:cNvPr>
            <p:cNvSpPr/>
            <p:nvPr/>
          </p:nvSpPr>
          <p:spPr>
            <a:xfrm>
              <a:off x="431835" y="2209800"/>
              <a:ext cx="4305086" cy="921279"/>
            </a:xfrm>
            <a:prstGeom prst="roundRect">
              <a:avLst>
                <a:gd name="adj" fmla="val 4862"/>
              </a:avLst>
            </a:prstGeom>
            <a:solidFill>
              <a:schemeClr val="bg1"/>
            </a:solidFill>
            <a:ln>
              <a:noFill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2800">
                  <a:solidFill>
                    <a:srgbClr val="00AEEF"/>
                  </a:solidFill>
                  <a:latin typeface="Ink Free" panose="03080402000500000000" pitchFamily="66" charset="0"/>
                </a:rPr>
                <a:t>Summary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FAC044F7-1D04-9AA6-8C09-41C5C1BF5391}"/>
                </a:ext>
              </a:extLst>
            </p:cNvPr>
            <p:cNvSpPr/>
            <p:nvPr/>
          </p:nvSpPr>
          <p:spPr>
            <a:xfrm>
              <a:off x="431834" y="3339810"/>
              <a:ext cx="4305086" cy="921279"/>
            </a:xfrm>
            <a:prstGeom prst="roundRect">
              <a:avLst>
                <a:gd name="adj" fmla="val 4862"/>
              </a:avLst>
            </a:prstGeom>
            <a:solidFill>
              <a:schemeClr val="bg1"/>
            </a:solidFill>
            <a:ln>
              <a:noFill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2800">
                  <a:solidFill>
                    <a:srgbClr val="00AEEF"/>
                  </a:solidFill>
                  <a:latin typeface="Ink Free" panose="03080402000500000000" pitchFamily="66" charset="0"/>
                </a:rPr>
                <a:t>Offer positive expect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31E79BB7-5207-7EE0-FD0E-5B82FA208013}"/>
                </a:ext>
              </a:extLst>
            </p:cNvPr>
            <p:cNvSpPr/>
            <p:nvPr/>
          </p:nvSpPr>
          <p:spPr>
            <a:xfrm>
              <a:off x="431834" y="4463598"/>
              <a:ext cx="4305086" cy="921279"/>
            </a:xfrm>
            <a:prstGeom prst="roundRect">
              <a:avLst>
                <a:gd name="adj" fmla="val 4862"/>
              </a:avLst>
            </a:prstGeom>
            <a:solidFill>
              <a:schemeClr val="bg1"/>
            </a:solidFill>
            <a:ln>
              <a:noFill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2800">
                  <a:solidFill>
                    <a:srgbClr val="00AEEF"/>
                  </a:solidFill>
                  <a:latin typeface="Ink Free" panose="03080402000500000000" pitchFamily="66" charset="0"/>
                </a:rPr>
                <a:t>Say thank you, stay available ... and stop</a:t>
              </a:r>
            </a:p>
          </p:txBody>
        </p:sp>
      </p:grp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A70F109-94F0-D993-9C23-F1A5AD39309A}"/>
              </a:ext>
            </a:extLst>
          </p:cNvPr>
          <p:cNvSpPr/>
          <p:nvPr/>
        </p:nvSpPr>
        <p:spPr>
          <a:xfrm>
            <a:off x="4883801" y="2209800"/>
            <a:ext cx="5001187" cy="921279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  <a:t>Make sure the audience remembers the</a:t>
            </a:r>
            <a:b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</a:br>
            <a: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  <a:t>key points (memorable ending)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8AE026A-F70B-7903-97A8-3A67F225D976}"/>
              </a:ext>
            </a:extLst>
          </p:cNvPr>
          <p:cNvSpPr/>
          <p:nvPr/>
        </p:nvSpPr>
        <p:spPr>
          <a:xfrm>
            <a:off x="4883800" y="3339810"/>
            <a:ext cx="5001187" cy="921279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  <a:t>Ensure they leave the meeting with a</a:t>
            </a:r>
            <a:b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</a:br>
            <a: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  <a:t>positive feeling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1585F11-342D-7521-ED7B-2A093FDF8129}"/>
              </a:ext>
            </a:extLst>
          </p:cNvPr>
          <p:cNvSpPr/>
          <p:nvPr/>
        </p:nvSpPr>
        <p:spPr>
          <a:xfrm>
            <a:off x="4883800" y="4463598"/>
            <a:ext cx="5001187" cy="921279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  <a:t>Leave contact details in case of</a:t>
            </a:r>
            <a:b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</a:br>
            <a:r>
              <a:rPr lang="nl-NL" sz="2000">
                <a:solidFill>
                  <a:schemeClr val="tx1"/>
                </a:solidFill>
                <a:latin typeface="Ink Free" panose="03080402000500000000" pitchFamily="66" charset="0"/>
              </a:rPr>
              <a:t>further questions and ... stop!</a:t>
            </a:r>
          </a:p>
        </p:txBody>
      </p:sp>
      <p:pic>
        <p:nvPicPr>
          <p:cNvPr id="6" name="Picture 5" descr="A stack of wooden blocks with letters on them&#10;&#10;Description automatically generated with low confidence">
            <a:extLst>
              <a:ext uri="{FF2B5EF4-FFF2-40B4-BE49-F238E27FC236}">
                <a16:creationId xmlns:a16="http://schemas.microsoft.com/office/drawing/2014/main" id="{2E26CC62-2185-FC8E-6481-CF58B101BB1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backgroundMark x1="52100" y1="50291" x2="52100" y2="50291"/>
                        <a14:backgroundMark x1="53700" y1="87355" x2="53700" y2="87355"/>
                        <a14:backgroundMark x1="53700" y1="85320" x2="53700" y2="85320"/>
                        <a14:backgroundMark x1="61000" y1="87209" x2="61000" y2="87209"/>
                        <a14:backgroundMark x1="61500" y1="87355" x2="61500" y2="87355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596" t="10239" r="15513" b="11993"/>
          <a:stretch/>
        </p:blipFill>
        <p:spPr>
          <a:xfrm>
            <a:off x="8425285" y="3562350"/>
            <a:ext cx="3606562" cy="3068269"/>
          </a:xfrm>
          <a:prstGeom prst="rect">
            <a:avLst/>
          </a:prstGeom>
        </p:spPr>
      </p:pic>
      <p:pic>
        <p:nvPicPr>
          <p:cNvPr id="2" name="Picture 1" descr="A stack of wooden blocks with letters on them&#10;&#10;Description automatically generated with low confidence">
            <a:extLst>
              <a:ext uri="{FF2B5EF4-FFF2-40B4-BE49-F238E27FC236}">
                <a16:creationId xmlns:a16="http://schemas.microsoft.com/office/drawing/2014/main" id="{40071259-7DD4-04CD-75C6-077F60C5F8D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backgroundMark x1="52100" y1="50291" x2="52100" y2="50291"/>
                        <a14:backgroundMark x1="53700" y1="87355" x2="53700" y2="87355"/>
                        <a14:backgroundMark x1="53700" y1="85320" x2="53700" y2="85320"/>
                        <a14:backgroundMark x1="61000" y1="87209" x2="61000" y2="87209"/>
                        <a14:backgroundMark x1="61500" y1="87355" x2="61500" y2="87355"/>
                        <a14:backgroundMark x1="65700" y1="14535" x2="53400" y2="33576"/>
                        <a14:backgroundMark x1="53400" y1="33576" x2="28400" y2="92442"/>
                        <a14:backgroundMark x1="28400" y1="92442" x2="24300" y2="85610"/>
                        <a14:backgroundMark x1="59200" y1="24709" x2="58800" y2="48837"/>
                        <a14:backgroundMark x1="63000" y1="23692" x2="62700" y2="45785"/>
                        <a14:backgroundMark x1="65700" y1="18023" x2="64800" y2="50145"/>
                        <a14:backgroundMark x1="59000" y1="48401" x2="48200" y2="48837"/>
                        <a14:backgroundMark x1="49000" y1="52035" x2="44700" y2="80669"/>
                        <a14:backgroundMark x1="43100" y1="56395" x2="42100" y2="86483"/>
                        <a14:backgroundMark x1="31900" y1="85756" x2="46700" y2="85901"/>
                        <a14:backgroundMark x1="46700" y1="85901" x2="50000" y2="83576"/>
                        <a14:backgroundMark x1="50700" y1="53488" x2="50500" y2="81977"/>
                        <a14:backgroundMark x1="50500" y1="49855" x2="51400" y2="571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596" t="10239" r="15513" b="11993"/>
          <a:stretch/>
        </p:blipFill>
        <p:spPr>
          <a:xfrm>
            <a:off x="8427189" y="3562350"/>
            <a:ext cx="3606561" cy="3068268"/>
          </a:xfrm>
          <a:prstGeom prst="rect">
            <a:avLst/>
          </a:prstGeom>
        </p:spPr>
      </p:pic>
      <p:pic>
        <p:nvPicPr>
          <p:cNvPr id="3" name="Picture 2" descr="Shape, circle&#10;&#10;Description automatically generated">
            <a:extLst>
              <a:ext uri="{FF2B5EF4-FFF2-40B4-BE49-F238E27FC236}">
                <a16:creationId xmlns:a16="http://schemas.microsoft.com/office/drawing/2014/main" id="{E4FDAF2F-ADAE-B35E-B2F5-1AD47181EB3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alphaModFix amt="5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63034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505191-D401-4B1F-A0FD-9DA8DF3EA3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Ink Free" panose="03080402000500000000" pitchFamily="66" charset="0"/>
              <a:buChar char="•"/>
            </a:pPr>
            <a:r>
              <a:rPr lang="nl-NL"/>
              <a:t>List the key principles for designing and delivering an effective presentation</a:t>
            </a:r>
            <a:endParaRPr lang="nl-NL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6CC01A-D8F6-4AE1-A79C-B9423066DA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457200" indent="-457200">
              <a:buFont typeface="Ink Free" panose="03080402000500000000" pitchFamily="66" charset="0"/>
              <a:buChar char="•"/>
            </a:pPr>
            <a:r>
              <a:rPr lang="nl-NL" sz="2400"/>
              <a:t>Expl</a:t>
            </a:r>
            <a:r>
              <a:rPr lang="nl-NL"/>
              <a:t>ain how to collect and structure relevant information for designing a presentation</a:t>
            </a:r>
            <a:endParaRPr lang="nl-NL" sz="24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0A048D-D80F-4F76-9FB5-FE1C09E5CE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457200" indent="-457200">
              <a:buFont typeface="Ink Free" panose="03080402000500000000" pitchFamily="66" charset="0"/>
              <a:buChar char="•"/>
            </a:pPr>
            <a:r>
              <a:rPr lang="nl-NL"/>
              <a:t>Explain how to use body language effectively when presenting</a:t>
            </a:r>
            <a:endParaRPr lang="nl-NL" sz="24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58F3D82-D7F8-A038-82E6-D355B6757A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/>
              <a:t>Design and deliver a 5-minute presentation on a topic of your choice</a:t>
            </a:r>
            <a:endParaRPr lang="nl-NL" sz="2400"/>
          </a:p>
        </p:txBody>
      </p:sp>
      <p:pic>
        <p:nvPicPr>
          <p:cNvPr id="10" name="Picture Placeholder 9" descr="A microphone on a podium&#10;&#10;Description automatically generated with low confidence">
            <a:extLst>
              <a:ext uri="{FF2B5EF4-FFF2-40B4-BE49-F238E27FC236}">
                <a16:creationId xmlns:a16="http://schemas.microsoft.com/office/drawing/2014/main" id="{9B31DD68-FCF9-A806-DB9B-52C06347129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89" r="13395" b="9661"/>
          <a:stretch/>
        </p:blipFill>
        <p:spPr>
          <a:xfrm>
            <a:off x="8654777" y="-346796"/>
            <a:ext cx="3892823" cy="3892823"/>
          </a:xfrm>
        </p:spPr>
      </p:pic>
    </p:spTree>
    <p:extLst>
      <p:ext uri="{BB962C8B-B14F-4D97-AF65-F5344CB8AC3E}">
        <p14:creationId xmlns:p14="http://schemas.microsoft.com/office/powerpoint/2010/main" val="22195431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534A2D9-3072-26C4-1EBB-218B5532DD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 QUICK QUESTION ...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AC2ACEC-F66D-402A-C111-2902D0534414}"/>
              </a:ext>
            </a:extLst>
          </p:cNvPr>
          <p:cNvSpPr/>
          <p:nvPr/>
        </p:nvSpPr>
        <p:spPr>
          <a:xfrm>
            <a:off x="5982790" y="3428999"/>
            <a:ext cx="5634444" cy="201385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930FC171-2D7B-0F6D-C5FC-E0B98F1F5B10}"/>
              </a:ext>
            </a:extLst>
          </p:cNvPr>
          <p:cNvSpPr txBox="1">
            <a:spLocks/>
          </p:cNvSpPr>
          <p:nvPr/>
        </p:nvSpPr>
        <p:spPr>
          <a:xfrm>
            <a:off x="6137940" y="3885846"/>
            <a:ext cx="5324144" cy="12716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3600">
                <a:latin typeface="Ink Free" panose="03080402000500000000" pitchFamily="66" charset="0"/>
              </a:rPr>
              <a:t>What is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brainstorming</a:t>
            </a:r>
            <a:r>
              <a:rPr lang="nl-NL" sz="3600">
                <a:latin typeface="Ink Free" panose="03080402000500000000" pitchFamily="66" charset="0"/>
              </a:rPr>
              <a:t> and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mindmapping</a:t>
            </a:r>
            <a:r>
              <a:rPr lang="nl-NL" sz="3600">
                <a:latin typeface="Ink Free" panose="03080402000500000000" pitchFamily="66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5575362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sky, outdoor, building, cloud&#10;&#10;Description automatically generated">
            <a:extLst>
              <a:ext uri="{FF2B5EF4-FFF2-40B4-BE49-F238E27FC236}">
                <a16:creationId xmlns:a16="http://schemas.microsoft.com/office/drawing/2014/main" id="{E07A7832-823E-3FFB-689E-9B198B768CD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1" b="8099"/>
          <a:stretch/>
        </p:blipFill>
        <p:spPr>
          <a:xfrm>
            <a:off x="-1" y="-32396"/>
            <a:ext cx="12192001" cy="6890396"/>
          </a:xfrm>
          <a:prstGeom prst="rect">
            <a:avLst/>
          </a:prstGeom>
        </p:spPr>
      </p:pic>
      <p:pic>
        <p:nvPicPr>
          <p:cNvPr id="21" name="Picture 20" descr="Shape, circle&#10;&#10;Description automatically generated">
            <a:extLst>
              <a:ext uri="{FF2B5EF4-FFF2-40B4-BE49-F238E27FC236}">
                <a16:creationId xmlns:a16="http://schemas.microsoft.com/office/drawing/2014/main" id="{94EFD196-B658-E7D9-E99A-1758A4B49E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483027" y="2757044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 descr="Shape, circle&#10;&#10;Description automatically generated">
            <a:extLst>
              <a:ext uri="{FF2B5EF4-FFF2-40B4-BE49-F238E27FC236}">
                <a16:creationId xmlns:a16="http://schemas.microsoft.com/office/drawing/2014/main" id="{AAD7AAD6-5C89-4B62-BB30-0F58080CB7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B55963-2ED2-C1E7-9ABD-D06F094C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>
                <a:solidFill>
                  <a:schemeClr val="accent5">
                    <a:lumMod val="20000"/>
                    <a:lumOff val="80000"/>
                  </a:schemeClr>
                </a:solidFill>
              </a:rPr>
              <a:t>BRAINSTORM: A CAPITAL CITY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DDA39FF-D1F9-E839-58EB-4A7ECE2A284C}"/>
              </a:ext>
            </a:extLst>
          </p:cNvPr>
          <p:cNvSpPr/>
          <p:nvPr/>
        </p:nvSpPr>
        <p:spPr>
          <a:xfrm>
            <a:off x="586303" y="1132258"/>
            <a:ext cx="3320140" cy="5092127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endParaRPr lang="en-US" sz="2800">
              <a:solidFill>
                <a:schemeClr val="tx1"/>
              </a:solidFill>
              <a:latin typeface="Ink Free" panose="03080402000500000000" pitchFamily="66" charset="0"/>
            </a:endParaRPr>
          </a:p>
        </p:txBody>
      </p:sp>
      <p:sp>
        <p:nvSpPr>
          <p:cNvPr id="13" name="Text Box 6">
            <a:extLst>
              <a:ext uri="{FF2B5EF4-FFF2-40B4-BE49-F238E27FC236}">
                <a16:creationId xmlns:a16="http://schemas.microsoft.com/office/drawing/2014/main" id="{4787A2F4-E205-7542-E806-71C8EBEB63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2394" y="1324072"/>
            <a:ext cx="3167606" cy="4722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144000" rIns="144000" bIns="144000">
            <a:spAutoFit/>
          </a:bodyPr>
          <a:lstStyle>
            <a:lvl1pPr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Chinese food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United Nations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DHL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Grand Place</a:t>
            </a:r>
          </a:p>
          <a:p>
            <a:pPr algn="ctr"/>
            <a:r>
              <a:rPr lang="en-US" altLang="en-US" sz="2400" b="1" err="1">
                <a:latin typeface="Ink Free" panose="03080402000500000000" pitchFamily="66" charset="0"/>
              </a:rPr>
              <a:t>Manneke</a:t>
            </a:r>
            <a:r>
              <a:rPr lang="en-US" altLang="en-US" sz="2400" b="1">
                <a:latin typeface="Ink Free" panose="03080402000500000000" pitchFamily="66" charset="0"/>
              </a:rPr>
              <a:t> </a:t>
            </a:r>
            <a:r>
              <a:rPr lang="en-US" altLang="en-US" sz="2400" b="1" err="1">
                <a:latin typeface="Ink Free" panose="03080402000500000000" pitchFamily="66" charset="0"/>
              </a:rPr>
              <a:t>Pis</a:t>
            </a:r>
            <a:endParaRPr lang="en-US" altLang="en-US" sz="2400" b="1">
              <a:latin typeface="Ink Free" panose="03080402000500000000" pitchFamily="66" charset="0"/>
            </a:endParaRPr>
          </a:p>
          <a:p>
            <a:pPr algn="ctr"/>
            <a:r>
              <a:rPr lang="en-US" altLang="en-US" sz="2400" b="1" err="1">
                <a:latin typeface="Ink Free" panose="03080402000500000000" pitchFamily="66" charset="0"/>
              </a:rPr>
              <a:t>Janneke</a:t>
            </a:r>
            <a:r>
              <a:rPr lang="en-US" altLang="en-US" sz="2400" b="1">
                <a:latin typeface="Ink Free" panose="03080402000500000000" pitchFamily="66" charset="0"/>
              </a:rPr>
              <a:t> </a:t>
            </a:r>
            <a:r>
              <a:rPr lang="en-US" altLang="en-US" sz="2400" b="1" err="1">
                <a:latin typeface="Ink Free" panose="03080402000500000000" pitchFamily="66" charset="0"/>
              </a:rPr>
              <a:t>Pis</a:t>
            </a:r>
            <a:endParaRPr lang="en-US" altLang="en-US" sz="2400" b="1">
              <a:latin typeface="Ink Free" panose="03080402000500000000" pitchFamily="66" charset="0"/>
            </a:endParaRP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Taxis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Airport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Weather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Royal Palace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Chocolate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Music museum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E5018CC-D22B-2889-9794-21F0484F2487}"/>
              </a:ext>
            </a:extLst>
          </p:cNvPr>
          <p:cNvSpPr/>
          <p:nvPr/>
        </p:nvSpPr>
        <p:spPr>
          <a:xfrm>
            <a:off x="4492747" y="1132258"/>
            <a:ext cx="3320140" cy="5092127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endParaRPr lang="en-US" sz="2800">
              <a:solidFill>
                <a:schemeClr val="tx1"/>
              </a:solidFill>
              <a:latin typeface="Ink Free" panose="03080402000500000000" pitchFamily="66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40329FC-4C14-860B-7E3C-47C0E94A1A76}"/>
              </a:ext>
            </a:extLst>
          </p:cNvPr>
          <p:cNvSpPr/>
          <p:nvPr/>
        </p:nvSpPr>
        <p:spPr>
          <a:xfrm>
            <a:off x="8285557" y="1132258"/>
            <a:ext cx="3320140" cy="5092127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endParaRPr lang="en-US" sz="2800">
              <a:solidFill>
                <a:schemeClr val="tx1"/>
              </a:solidFill>
              <a:latin typeface="Ink Free" panose="03080402000500000000" pitchFamily="66" charset="0"/>
            </a:endParaRPr>
          </a:p>
        </p:txBody>
      </p:sp>
      <p:sp>
        <p:nvSpPr>
          <p:cNvPr id="16" name="Text Box 7">
            <a:extLst>
              <a:ext uri="{FF2B5EF4-FFF2-40B4-BE49-F238E27FC236}">
                <a16:creationId xmlns:a16="http://schemas.microsoft.com/office/drawing/2014/main" id="{D194D3DA-2AD6-54DD-DD3E-F2EFA9CF63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6400" y="1324072"/>
            <a:ext cx="3132854" cy="4722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144000" rIns="144000" bIns="144000">
            <a:spAutoFit/>
          </a:bodyPr>
          <a:lstStyle>
            <a:lvl1pPr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Public transportation</a:t>
            </a:r>
          </a:p>
          <a:p>
            <a:pPr algn="ctr"/>
            <a:r>
              <a:rPr lang="en-US" altLang="en-US" sz="2400" b="1" err="1">
                <a:latin typeface="Ink Free" panose="03080402000500000000" pitchFamily="66" charset="0"/>
              </a:rPr>
              <a:t>Atomium</a:t>
            </a:r>
            <a:endParaRPr lang="en-US" altLang="en-US" sz="2400" b="1">
              <a:latin typeface="Ink Free" panose="03080402000500000000" pitchFamily="66" charset="0"/>
            </a:endParaRP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Restaurants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Museums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European Union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DHL Express HUB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Languages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Politics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History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Medieval Center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Mini Europe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Public transportation</a:t>
            </a:r>
          </a:p>
        </p:txBody>
      </p:sp>
      <p:sp>
        <p:nvSpPr>
          <p:cNvPr id="17" name="Text Box 8">
            <a:extLst>
              <a:ext uri="{FF2B5EF4-FFF2-40B4-BE49-F238E27FC236}">
                <a16:creationId xmlns:a16="http://schemas.microsoft.com/office/drawing/2014/main" id="{D7CF0875-61EB-1860-D99D-979D24B2E6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34087" y="1209115"/>
            <a:ext cx="3423080" cy="5092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44000" tIns="144000" rIns="144000" bIns="144000">
            <a:spAutoFit/>
          </a:bodyPr>
          <a:lstStyle>
            <a:lvl1pPr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Mussels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Museum natural history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Auto world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Museum of comic books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Dining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Pubs and bars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Trains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Music concerts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Environment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Summertime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Winter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Concert venues</a:t>
            </a:r>
          </a:p>
          <a:p>
            <a:pPr algn="ctr"/>
            <a:r>
              <a:rPr lang="en-US" altLang="en-US" sz="2400" b="1">
                <a:latin typeface="Ink Free" panose="03080402000500000000" pitchFamily="66" charset="0"/>
              </a:rPr>
              <a:t>Etcetera …</a:t>
            </a:r>
          </a:p>
        </p:txBody>
      </p:sp>
    </p:spTree>
    <p:extLst>
      <p:ext uri="{BB962C8B-B14F-4D97-AF65-F5344CB8AC3E}">
        <p14:creationId xmlns:p14="http://schemas.microsoft.com/office/powerpoint/2010/main" val="668524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7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4" grpId="0" animBg="1"/>
      <p:bldP spid="15" grpId="0" animBg="1"/>
      <p:bldP spid="16" grpId="0"/>
      <p:bldP spid="1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FBC54A0-8289-F154-5432-EB608B7638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MINDMAP YOUR BRAINSTORM</a:t>
            </a:r>
          </a:p>
        </p:txBody>
      </p:sp>
      <p:sp>
        <p:nvSpPr>
          <p:cNvPr id="7" name="Oval 4">
            <a:extLst>
              <a:ext uri="{FF2B5EF4-FFF2-40B4-BE49-F238E27FC236}">
                <a16:creationId xmlns:a16="http://schemas.microsoft.com/office/drawing/2014/main" id="{BA3591F1-9746-FBC4-DA24-C37E5E8479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4948" y="4079879"/>
            <a:ext cx="1211923" cy="384207"/>
          </a:xfrm>
          <a:prstGeom prst="ellipse">
            <a:avLst/>
          </a:prstGeom>
          <a:noFill/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44000" tIns="144000" rIns="144000" bIns="144000" anchor="ctr"/>
          <a:lstStyle>
            <a:lvl1pPr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br>
              <a:rPr lang="en-US" altLang="en-US" sz="2800" b="1">
                <a:latin typeface="Ink Free" panose="03080402000500000000" pitchFamily="66" charset="0"/>
              </a:rPr>
            </a:br>
            <a:r>
              <a:rPr lang="en-US" altLang="en-US" sz="2800" b="1">
                <a:latin typeface="Ink Free" panose="03080402000500000000" pitchFamily="66" charset="0"/>
              </a:rPr>
              <a:t>(</a:t>
            </a:r>
            <a:r>
              <a:rPr lang="en-US" altLang="en-US" sz="2800">
                <a:latin typeface="Ink Free" panose="03080402000500000000" pitchFamily="66" charset="0"/>
              </a:rPr>
              <a:t>TOPIC</a:t>
            </a:r>
            <a:r>
              <a:rPr lang="en-US" altLang="en-US" sz="2800" b="1">
                <a:latin typeface="Ink Free" panose="03080402000500000000" pitchFamily="66" charset="0"/>
              </a:rPr>
              <a:t>)</a:t>
            </a:r>
            <a:br>
              <a:rPr lang="en-US" altLang="en-US" sz="2800" b="1">
                <a:latin typeface="Ink Free" panose="03080402000500000000" pitchFamily="66" charset="0"/>
              </a:rPr>
            </a:br>
            <a:r>
              <a:rPr lang="en-US" altLang="en-US" sz="2800" b="1">
                <a:latin typeface="Ink Free" panose="03080402000500000000" pitchFamily="66" charset="0"/>
              </a:rPr>
              <a:t>Brussels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F7828C3-C1BB-B06C-E9CD-36D69B8057AE}"/>
              </a:ext>
            </a:extLst>
          </p:cNvPr>
          <p:cNvGrpSpPr/>
          <p:nvPr/>
        </p:nvGrpSpPr>
        <p:grpSpPr>
          <a:xfrm>
            <a:off x="-339296" y="2634574"/>
            <a:ext cx="5410824" cy="3988825"/>
            <a:chOff x="-339296" y="2634574"/>
            <a:chExt cx="5410824" cy="3988825"/>
          </a:xfrm>
        </p:grpSpPr>
        <p:sp>
          <p:nvSpPr>
            <p:cNvPr id="8" name="Line 5">
              <a:extLst>
                <a:ext uri="{FF2B5EF4-FFF2-40B4-BE49-F238E27FC236}">
                  <a16:creationId xmlns:a16="http://schemas.microsoft.com/office/drawing/2014/main" id="{13EBD71D-4F65-9965-957E-75784589F0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38671" y="2925492"/>
              <a:ext cx="2465869" cy="102623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9" name="Line 6">
              <a:extLst>
                <a:ext uri="{FF2B5EF4-FFF2-40B4-BE49-F238E27FC236}">
                  <a16:creationId xmlns:a16="http://schemas.microsoft.com/office/drawing/2014/main" id="{F0684AED-2CC3-B76E-BCD1-5B09CD599C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93000" y="2634574"/>
              <a:ext cx="1483317" cy="128865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10" name="Line 8">
              <a:extLst>
                <a:ext uri="{FF2B5EF4-FFF2-40B4-BE49-F238E27FC236}">
                  <a16:creationId xmlns:a16="http://schemas.microsoft.com/office/drawing/2014/main" id="{46948CED-672F-DC6E-F0AB-8F7ACF80AA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0859" y="4928153"/>
              <a:ext cx="2300669" cy="16952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11" name="Text Box 9">
              <a:extLst>
                <a:ext uri="{FF2B5EF4-FFF2-40B4-BE49-F238E27FC236}">
                  <a16:creationId xmlns:a16="http://schemas.microsoft.com/office/drawing/2014/main" id="{5A241183-979A-C60B-7D9D-248CC29A9D1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20278513">
              <a:off x="2559338" y="2975235"/>
              <a:ext cx="1993202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D40511"/>
                  </a:solidFill>
                  <a:latin typeface="Ink Free" panose="03080402000500000000" pitchFamily="66" charset="0"/>
                </a:rPr>
                <a:t>(CHAPTER)</a:t>
              </a:r>
              <a:br>
                <a:rPr lang="en-US" altLang="en-US" sz="2000">
                  <a:solidFill>
                    <a:srgbClr val="D40511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rgbClr val="D40511"/>
                  </a:solidFill>
                  <a:latin typeface="Ink Free" panose="03080402000500000000" pitchFamily="66" charset="0"/>
                </a:rPr>
                <a:t>Food and Drinks</a:t>
              </a:r>
            </a:p>
          </p:txBody>
        </p:sp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E0C13ABB-59AC-39C8-563B-8D61201A23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2352577">
              <a:off x="2685518" y="5137055"/>
              <a:ext cx="1956332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D40511"/>
                  </a:solidFill>
                  <a:latin typeface="Ink Free" panose="03080402000500000000" pitchFamily="66" charset="0"/>
                </a:rPr>
                <a:t>(CHAPTER)</a:t>
              </a:r>
            </a:p>
            <a:p>
              <a:pPr algn="ctr"/>
              <a:r>
                <a:rPr lang="en-US" altLang="en-US" sz="2000" b="1">
                  <a:solidFill>
                    <a:srgbClr val="D40511"/>
                  </a:solidFill>
                  <a:latin typeface="Ink Free" panose="03080402000500000000" pitchFamily="66" charset="0"/>
                </a:rPr>
                <a:t>Getting around</a:t>
              </a:r>
            </a:p>
          </p:txBody>
        </p:sp>
        <p:sp>
          <p:nvSpPr>
            <p:cNvPr id="13" name="Text Box 11">
              <a:extLst>
                <a:ext uri="{FF2B5EF4-FFF2-40B4-BE49-F238E27FC236}">
                  <a16:creationId xmlns:a16="http://schemas.microsoft.com/office/drawing/2014/main" id="{AEA0FDDA-6825-E904-5F67-4B33536C28B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2624418">
              <a:off x="-339296" y="2812803"/>
              <a:ext cx="2244975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D40511"/>
                  </a:solidFill>
                  <a:latin typeface="Ink Free" panose="03080402000500000000" pitchFamily="66" charset="0"/>
                </a:rPr>
                <a:t>(CHAPTER)</a:t>
              </a:r>
            </a:p>
            <a:p>
              <a:pPr algn="ctr"/>
              <a:r>
                <a:rPr lang="en-US" altLang="en-US" sz="2000" b="1">
                  <a:solidFill>
                    <a:srgbClr val="D40511"/>
                  </a:solidFill>
                  <a:latin typeface="Ink Free" panose="03080402000500000000" pitchFamily="66" charset="0"/>
                </a:rPr>
                <a:t>Sightseeing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94D03BA-854A-1871-9CEA-0170EB6FC244}"/>
              </a:ext>
            </a:extLst>
          </p:cNvPr>
          <p:cNvGrpSpPr/>
          <p:nvPr/>
        </p:nvGrpSpPr>
        <p:grpSpPr>
          <a:xfrm>
            <a:off x="4474050" y="680591"/>
            <a:ext cx="3375669" cy="3669463"/>
            <a:chOff x="4474050" y="680591"/>
            <a:chExt cx="3375669" cy="3669463"/>
          </a:xfrm>
        </p:grpSpPr>
        <p:sp>
          <p:nvSpPr>
            <p:cNvPr id="14" name="Line 21">
              <a:extLst>
                <a:ext uri="{FF2B5EF4-FFF2-40B4-BE49-F238E27FC236}">
                  <a16:creationId xmlns:a16="http://schemas.microsoft.com/office/drawing/2014/main" id="{0CAFC6AE-5C1D-0256-F3B5-3F80D513261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739456" y="2386519"/>
              <a:ext cx="3110263" cy="53185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15" name="Line 24">
              <a:extLst>
                <a:ext uri="{FF2B5EF4-FFF2-40B4-BE49-F238E27FC236}">
                  <a16:creationId xmlns:a16="http://schemas.microsoft.com/office/drawing/2014/main" id="{2C03E6E9-F9A4-05A3-2909-A0897C188AB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687428" y="1245323"/>
              <a:ext cx="2367495" cy="169465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16" name="Text Box 25">
              <a:extLst>
                <a:ext uri="{FF2B5EF4-FFF2-40B4-BE49-F238E27FC236}">
                  <a16:creationId xmlns:a16="http://schemas.microsoft.com/office/drawing/2014/main" id="{91C9CD02-DB5F-BB3E-4672-EC577B3028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442226">
              <a:off x="5296182" y="1413376"/>
              <a:ext cx="1778399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chemeClr val="accent2"/>
                  </a:solidFill>
                  <a:latin typeface="Ink Free" panose="03080402000500000000" pitchFamily="66" charset="0"/>
                </a:rPr>
                <a:t>(KEYPOINT)</a:t>
              </a:r>
              <a:br>
                <a:rPr lang="en-US" altLang="en-US" sz="2000">
                  <a:solidFill>
                    <a:schemeClr val="accent2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chemeClr val="accent2"/>
                  </a:solidFill>
                  <a:latin typeface="Ink Free" panose="03080402000500000000" pitchFamily="66" charset="0"/>
                </a:rPr>
                <a:t>Restaurants</a:t>
              </a:r>
            </a:p>
          </p:txBody>
        </p:sp>
        <p:sp>
          <p:nvSpPr>
            <p:cNvPr id="17" name="Text Box 26">
              <a:extLst>
                <a:ext uri="{FF2B5EF4-FFF2-40B4-BE49-F238E27FC236}">
                  <a16:creationId xmlns:a16="http://schemas.microsoft.com/office/drawing/2014/main" id="{755E8AB9-A790-8ECC-F9F0-881B3B0AEBF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679362">
              <a:off x="4038033" y="1146234"/>
              <a:ext cx="1778400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chemeClr val="accent2"/>
                  </a:solidFill>
                  <a:latin typeface="Ink Free" panose="03080402000500000000" pitchFamily="66" charset="0"/>
                </a:rPr>
                <a:t>(KEYPOINT)</a:t>
              </a:r>
              <a:br>
                <a:rPr lang="en-US" altLang="en-US" sz="2000">
                  <a:solidFill>
                    <a:schemeClr val="accent2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chemeClr val="accent2"/>
                  </a:solidFill>
                  <a:latin typeface="Ink Free" panose="03080402000500000000" pitchFamily="66" charset="0"/>
                </a:rPr>
                <a:t>Clubs</a:t>
              </a:r>
            </a:p>
          </p:txBody>
        </p:sp>
        <p:sp>
          <p:nvSpPr>
            <p:cNvPr id="18" name="Text Box 27">
              <a:extLst>
                <a:ext uri="{FF2B5EF4-FFF2-40B4-BE49-F238E27FC236}">
                  <a16:creationId xmlns:a16="http://schemas.microsoft.com/office/drawing/2014/main" id="{0FF7E4C4-5682-49D0-BC20-E522E615BBF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20973689">
              <a:off x="5921261" y="2104813"/>
              <a:ext cx="1861756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chemeClr val="accent2"/>
                  </a:solidFill>
                  <a:latin typeface="Ink Free" panose="03080402000500000000" pitchFamily="66" charset="0"/>
                </a:rPr>
                <a:t>(KEYPOINT)</a:t>
              </a:r>
              <a:br>
                <a:rPr lang="en-US" altLang="en-US" sz="2000">
                  <a:solidFill>
                    <a:schemeClr val="accent2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chemeClr val="accent2"/>
                  </a:solidFill>
                  <a:latin typeface="Ink Free" panose="03080402000500000000" pitchFamily="66" charset="0"/>
                </a:rPr>
                <a:t>Pubs and Bars</a:t>
              </a:r>
            </a:p>
          </p:txBody>
        </p:sp>
        <p:sp>
          <p:nvSpPr>
            <p:cNvPr id="19" name="Text Box 28">
              <a:extLst>
                <a:ext uri="{FF2B5EF4-FFF2-40B4-BE49-F238E27FC236}">
                  <a16:creationId xmlns:a16="http://schemas.microsoft.com/office/drawing/2014/main" id="{06594170-00A4-7E98-271A-09EB3AEEA9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2466335">
              <a:off x="4836488" y="2998791"/>
              <a:ext cx="1778399" cy="12141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br>
                <a:rPr lang="en-US" altLang="en-US" sz="2000">
                  <a:solidFill>
                    <a:schemeClr val="accent2"/>
                  </a:solidFill>
                  <a:latin typeface="Ink Free" panose="03080402000500000000" pitchFamily="66" charset="0"/>
                </a:rPr>
              </a:br>
              <a:r>
                <a:rPr lang="en-US" altLang="en-US" sz="2000">
                  <a:solidFill>
                    <a:schemeClr val="accent2"/>
                  </a:solidFill>
                  <a:latin typeface="Ink Free" panose="03080402000500000000" pitchFamily="66" charset="0"/>
                </a:rPr>
                <a:t>(KEYPOINT)</a:t>
              </a:r>
              <a:br>
                <a:rPr lang="en-US" altLang="en-US" sz="2000">
                  <a:solidFill>
                    <a:schemeClr val="accent2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chemeClr val="accent2"/>
                  </a:solidFill>
                  <a:latin typeface="Ink Free" panose="03080402000500000000" pitchFamily="66" charset="0"/>
                </a:rPr>
                <a:t>Typical food</a:t>
              </a:r>
            </a:p>
          </p:txBody>
        </p:sp>
        <p:sp>
          <p:nvSpPr>
            <p:cNvPr id="20" name="Line 29">
              <a:extLst>
                <a:ext uri="{FF2B5EF4-FFF2-40B4-BE49-F238E27FC236}">
                  <a16:creationId xmlns:a16="http://schemas.microsoft.com/office/drawing/2014/main" id="{9A8934D0-12D3-08CE-BB2A-A045682E2D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719904" y="2922324"/>
              <a:ext cx="1653607" cy="14277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21" name="Line 30">
              <a:extLst>
                <a:ext uri="{FF2B5EF4-FFF2-40B4-BE49-F238E27FC236}">
                  <a16:creationId xmlns:a16="http://schemas.microsoft.com/office/drawing/2014/main" id="{FDAE1180-883A-38EC-8F64-4732B3F504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713692" y="680591"/>
              <a:ext cx="318083" cy="224639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D1BEBA0-2783-5349-CC7F-F92559FEE909}"/>
              </a:ext>
            </a:extLst>
          </p:cNvPr>
          <p:cNvGrpSpPr/>
          <p:nvPr/>
        </p:nvGrpSpPr>
        <p:grpSpPr>
          <a:xfrm>
            <a:off x="5932134" y="3267638"/>
            <a:ext cx="2854040" cy="3527708"/>
            <a:chOff x="5932134" y="3267638"/>
            <a:chExt cx="2854040" cy="3527708"/>
          </a:xfrm>
        </p:grpSpPr>
        <p:sp>
          <p:nvSpPr>
            <p:cNvPr id="22" name="Line 31">
              <a:extLst>
                <a:ext uri="{FF2B5EF4-FFF2-40B4-BE49-F238E27FC236}">
                  <a16:creationId xmlns:a16="http://schemas.microsoft.com/office/drawing/2014/main" id="{186D7083-6436-E690-CE9A-550EE5A718C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357516" y="3276866"/>
              <a:ext cx="2254354" cy="10731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23" name="Line 32">
              <a:extLst>
                <a:ext uri="{FF2B5EF4-FFF2-40B4-BE49-F238E27FC236}">
                  <a16:creationId xmlns:a16="http://schemas.microsoft.com/office/drawing/2014/main" id="{0C076FBE-2CF1-BAE3-C1CA-225D659B89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60323" y="4343164"/>
              <a:ext cx="55490" cy="245218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24" name="Line 33">
              <a:extLst>
                <a:ext uri="{FF2B5EF4-FFF2-40B4-BE49-F238E27FC236}">
                  <a16:creationId xmlns:a16="http://schemas.microsoft.com/office/drawing/2014/main" id="{14A52B35-E81B-430D-AFED-E9A7930C54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84080" y="4352104"/>
              <a:ext cx="2114502" cy="210511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26" name="Text Box 35">
              <a:extLst>
                <a:ext uri="{FF2B5EF4-FFF2-40B4-BE49-F238E27FC236}">
                  <a16:creationId xmlns:a16="http://schemas.microsoft.com/office/drawing/2014/main" id="{39FF209D-F58A-8953-0107-A2AF5D120C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2798189">
              <a:off x="6451570" y="5099371"/>
              <a:ext cx="2249682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0033CC"/>
                  </a:solidFill>
                  <a:latin typeface="Ink Free" panose="03080402000500000000" pitchFamily="66" charset="0"/>
                </a:rPr>
                <a:t>(EXPLANATION)</a:t>
              </a:r>
              <a:br>
                <a:rPr lang="en-US" altLang="en-US" sz="2000">
                  <a:solidFill>
                    <a:srgbClr val="0033CC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rgbClr val="0033CC"/>
                  </a:solidFill>
                  <a:latin typeface="Ink Free" panose="03080402000500000000" pitchFamily="66" charset="0"/>
                </a:rPr>
                <a:t>Waffles</a:t>
              </a:r>
            </a:p>
          </p:txBody>
        </p:sp>
        <p:sp>
          <p:nvSpPr>
            <p:cNvPr id="27" name="Text Box 36">
              <a:extLst>
                <a:ext uri="{FF2B5EF4-FFF2-40B4-BE49-F238E27FC236}">
                  <a16:creationId xmlns:a16="http://schemas.microsoft.com/office/drawing/2014/main" id="{A5DEC339-FC06-4157-077D-6A1A29AE6C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5400000">
              <a:off x="5260476" y="5217322"/>
              <a:ext cx="2249682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0033CC"/>
                  </a:solidFill>
                  <a:latin typeface="Ink Free" panose="03080402000500000000" pitchFamily="66" charset="0"/>
                </a:rPr>
                <a:t>(EXPLANATION)</a:t>
              </a:r>
              <a:br>
                <a:rPr lang="en-US" altLang="en-US" sz="2000">
                  <a:solidFill>
                    <a:srgbClr val="0033CC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rgbClr val="0033CC"/>
                  </a:solidFill>
                  <a:latin typeface="Ink Free" panose="03080402000500000000" pitchFamily="66" charset="0"/>
                </a:rPr>
                <a:t>Beverages</a:t>
              </a:r>
            </a:p>
          </p:txBody>
        </p:sp>
        <p:sp>
          <p:nvSpPr>
            <p:cNvPr id="29" name="Text Box 38">
              <a:extLst>
                <a:ext uri="{FF2B5EF4-FFF2-40B4-BE49-F238E27FC236}">
                  <a16:creationId xmlns:a16="http://schemas.microsoft.com/office/drawing/2014/main" id="{6BCB5976-5741-65E1-BD42-E48E0821A6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20111263">
              <a:off x="6536492" y="3267638"/>
              <a:ext cx="2249682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0033CC"/>
                  </a:solidFill>
                  <a:latin typeface="Ink Free" panose="03080402000500000000" pitchFamily="66" charset="0"/>
                </a:rPr>
                <a:t>(EXPLANATION)</a:t>
              </a:r>
              <a:br>
                <a:rPr lang="en-US" altLang="en-US" sz="2000">
                  <a:solidFill>
                    <a:srgbClr val="0033CC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rgbClr val="0033CC"/>
                  </a:solidFill>
                  <a:latin typeface="Ink Free" panose="03080402000500000000" pitchFamily="66" charset="0"/>
                </a:rPr>
                <a:t>Chocolate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F3800B6-7B74-A83B-1320-5589EA903DFB}"/>
              </a:ext>
            </a:extLst>
          </p:cNvPr>
          <p:cNvGrpSpPr/>
          <p:nvPr/>
        </p:nvGrpSpPr>
        <p:grpSpPr>
          <a:xfrm>
            <a:off x="8594628" y="3281829"/>
            <a:ext cx="2585028" cy="2500998"/>
            <a:chOff x="8594628" y="3281829"/>
            <a:chExt cx="2585028" cy="2500998"/>
          </a:xfrm>
        </p:grpSpPr>
        <p:sp>
          <p:nvSpPr>
            <p:cNvPr id="31" name="Line 40">
              <a:extLst>
                <a:ext uri="{FF2B5EF4-FFF2-40B4-BE49-F238E27FC236}">
                  <a16:creationId xmlns:a16="http://schemas.microsoft.com/office/drawing/2014/main" id="{2104AC3C-997B-4CA6-0481-F21EA55F9B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94628" y="3286497"/>
              <a:ext cx="2585028" cy="133423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32" name="Line 41">
              <a:extLst>
                <a:ext uri="{FF2B5EF4-FFF2-40B4-BE49-F238E27FC236}">
                  <a16:creationId xmlns:a16="http://schemas.microsoft.com/office/drawing/2014/main" id="{6ED2E19C-EA6D-32E2-F000-86CA301DC1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94629" y="3281829"/>
              <a:ext cx="1029796" cy="237398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34" name="Text Box 46">
              <a:extLst>
                <a:ext uri="{FF2B5EF4-FFF2-40B4-BE49-F238E27FC236}">
                  <a16:creationId xmlns:a16="http://schemas.microsoft.com/office/drawing/2014/main" id="{3EEB123E-E235-FEA8-91E7-6FF1A164185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8392">
              <a:off x="9176503" y="3626696"/>
              <a:ext cx="1818560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  <a:t>(DETAIL)</a:t>
              </a:r>
              <a:b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rgbClr val="008000"/>
                  </a:solidFill>
                  <a:latin typeface="Ink Free" panose="03080402000500000000" pitchFamily="66" charset="0"/>
                </a:rPr>
                <a:t>Brands</a:t>
              </a:r>
            </a:p>
          </p:txBody>
        </p:sp>
        <p:sp>
          <p:nvSpPr>
            <p:cNvPr id="35" name="Text Box 47">
              <a:extLst>
                <a:ext uri="{FF2B5EF4-FFF2-40B4-BE49-F238E27FC236}">
                  <a16:creationId xmlns:a16="http://schemas.microsoft.com/office/drawing/2014/main" id="{51E436AA-155D-46D1-EFEA-F6A10791639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3952898">
              <a:off x="8067128" y="4196788"/>
              <a:ext cx="2265713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  <a:t>(DETAIL)</a:t>
              </a:r>
              <a:b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</a:br>
              <a: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  <a:t>Production process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16DB0181-B8AC-84BF-D7F6-46525A9918A9}"/>
              </a:ext>
            </a:extLst>
          </p:cNvPr>
          <p:cNvGrpSpPr/>
          <p:nvPr/>
        </p:nvGrpSpPr>
        <p:grpSpPr>
          <a:xfrm>
            <a:off x="8607327" y="-60662"/>
            <a:ext cx="3648189" cy="3347460"/>
            <a:chOff x="8607327" y="-60662"/>
            <a:chExt cx="3648189" cy="3347460"/>
          </a:xfrm>
        </p:grpSpPr>
        <p:sp>
          <p:nvSpPr>
            <p:cNvPr id="39" name="Text Box 45">
              <a:extLst>
                <a:ext uri="{FF2B5EF4-FFF2-40B4-BE49-F238E27FC236}">
                  <a16:creationId xmlns:a16="http://schemas.microsoft.com/office/drawing/2014/main" id="{56093C9A-632E-9056-246D-BCF76679DC0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2489023">
              <a:off x="9973626" y="2352932"/>
              <a:ext cx="2256094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  <a:t>(MORE DETAIL)</a:t>
              </a:r>
              <a:b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rgbClr val="008000"/>
                  </a:solidFill>
                  <a:latin typeface="Ink Free" panose="03080402000500000000" pitchFamily="66" charset="0"/>
                </a:rPr>
                <a:t>Crispy Crunch</a:t>
              </a:r>
            </a:p>
          </p:txBody>
        </p:sp>
        <p:sp>
          <p:nvSpPr>
            <p:cNvPr id="30" name="Line 39">
              <a:extLst>
                <a:ext uri="{FF2B5EF4-FFF2-40B4-BE49-F238E27FC236}">
                  <a16:creationId xmlns:a16="http://schemas.microsoft.com/office/drawing/2014/main" id="{71192544-456E-398E-D470-DCAD844998E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607327" y="1993322"/>
              <a:ext cx="1530457" cy="128784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33" name="Text Box 45">
              <a:extLst>
                <a:ext uri="{FF2B5EF4-FFF2-40B4-BE49-F238E27FC236}">
                  <a16:creationId xmlns:a16="http://schemas.microsoft.com/office/drawing/2014/main" id="{3F38D74B-0D23-B7BD-7CF3-B7402DA299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339986">
              <a:off x="8677888" y="2174920"/>
              <a:ext cx="1478638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  <a:t>(DETAIL)</a:t>
              </a:r>
              <a:b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rgbClr val="008000"/>
                  </a:solidFill>
                  <a:latin typeface="Ink Free" panose="03080402000500000000" pitchFamily="66" charset="0"/>
                </a:rPr>
                <a:t>flavors</a:t>
              </a:r>
            </a:p>
          </p:txBody>
        </p:sp>
        <p:sp>
          <p:nvSpPr>
            <p:cNvPr id="36" name="Line 39">
              <a:extLst>
                <a:ext uri="{FF2B5EF4-FFF2-40B4-BE49-F238E27FC236}">
                  <a16:creationId xmlns:a16="http://schemas.microsoft.com/office/drawing/2014/main" id="{C0FBED8D-2725-0ED9-CC62-A269D7A847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137785" y="383644"/>
              <a:ext cx="245630" cy="162101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37" name="Text Box 45">
              <a:extLst>
                <a:ext uri="{FF2B5EF4-FFF2-40B4-BE49-F238E27FC236}">
                  <a16:creationId xmlns:a16="http://schemas.microsoft.com/office/drawing/2014/main" id="{F53425A1-1B20-DF08-9FAC-8351D7B2D2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842655">
              <a:off x="9158040" y="614202"/>
              <a:ext cx="2256094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  <a:t>(MORE DETAIL)</a:t>
              </a:r>
              <a:b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rgbClr val="008000"/>
                  </a:solidFill>
                  <a:latin typeface="Ink Free" panose="03080402000500000000" pitchFamily="66" charset="0"/>
                </a:rPr>
                <a:t>Milky</a:t>
              </a:r>
            </a:p>
          </p:txBody>
        </p:sp>
        <p:sp>
          <p:nvSpPr>
            <p:cNvPr id="38" name="Text Box 45">
              <a:extLst>
                <a:ext uri="{FF2B5EF4-FFF2-40B4-BE49-F238E27FC236}">
                  <a16:creationId xmlns:a16="http://schemas.microsoft.com/office/drawing/2014/main" id="{6D0FC2A3-E122-5557-8799-74D4CEC36E1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568092">
              <a:off x="9999422" y="928441"/>
              <a:ext cx="2256094" cy="906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  <a:t>(MORE DETAIL)</a:t>
              </a:r>
              <a:br>
                <a:rPr lang="en-US" altLang="en-US" sz="2000">
                  <a:solidFill>
                    <a:srgbClr val="008000"/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rgbClr val="008000"/>
                  </a:solidFill>
                  <a:latin typeface="Ink Free" panose="03080402000500000000" pitchFamily="66" charset="0"/>
                </a:rPr>
                <a:t>Salted Caramel</a:t>
              </a:r>
            </a:p>
          </p:txBody>
        </p:sp>
        <p:sp>
          <p:nvSpPr>
            <p:cNvPr id="40" name="Line 39">
              <a:extLst>
                <a:ext uri="{FF2B5EF4-FFF2-40B4-BE49-F238E27FC236}">
                  <a16:creationId xmlns:a16="http://schemas.microsoft.com/office/drawing/2014/main" id="{63970EE3-EE7A-3F25-9F85-E1BEF22A8D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145996" y="816829"/>
              <a:ext cx="1711385" cy="11815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  <p:sp>
          <p:nvSpPr>
            <p:cNvPr id="41" name="Line 39">
              <a:extLst>
                <a:ext uri="{FF2B5EF4-FFF2-40B4-BE49-F238E27FC236}">
                  <a16:creationId xmlns:a16="http://schemas.microsoft.com/office/drawing/2014/main" id="{CEAA137E-2B00-32D0-85C2-784CFBA476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45996" y="1998957"/>
              <a:ext cx="1544741" cy="128784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latin typeface="Ink Free" panose="03080402000500000000" pitchFamily="66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2A74BB5-168A-21ED-5055-914DE251D8AF}"/>
              </a:ext>
            </a:extLst>
          </p:cNvPr>
          <p:cNvGrpSpPr/>
          <p:nvPr/>
        </p:nvGrpSpPr>
        <p:grpSpPr>
          <a:xfrm>
            <a:off x="8604153" y="-56472"/>
            <a:ext cx="3648189" cy="3347460"/>
            <a:chOff x="8607327" y="-60662"/>
            <a:chExt cx="3648189" cy="3347460"/>
          </a:xfrm>
        </p:grpSpPr>
        <p:sp>
          <p:nvSpPr>
            <p:cNvPr id="61" name="Text Box 45">
              <a:extLst>
                <a:ext uri="{FF2B5EF4-FFF2-40B4-BE49-F238E27FC236}">
                  <a16:creationId xmlns:a16="http://schemas.microsoft.com/office/drawing/2014/main" id="{7270564C-3A19-F7B6-57CF-483B541C1A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2489023">
              <a:off x="9973626" y="2352932"/>
              <a:ext cx="2256094" cy="906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chemeClr val="bg1">
                      <a:lumMod val="95000"/>
                    </a:schemeClr>
                  </a:solidFill>
                  <a:latin typeface="Ink Free" panose="03080402000500000000" pitchFamily="66" charset="0"/>
                </a:rPr>
                <a:t>(MORE DETAIL)</a:t>
              </a:r>
              <a:br>
                <a:rPr lang="en-US" altLang="en-US" sz="2000">
                  <a:solidFill>
                    <a:schemeClr val="bg1">
                      <a:lumMod val="95000"/>
                    </a:schemeClr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chemeClr val="bg1">
                      <a:lumMod val="95000"/>
                    </a:schemeClr>
                  </a:solidFill>
                  <a:latin typeface="Ink Free" panose="03080402000500000000" pitchFamily="66" charset="0"/>
                </a:rPr>
                <a:t>Crispy Crunch</a:t>
              </a:r>
            </a:p>
          </p:txBody>
        </p:sp>
        <p:sp>
          <p:nvSpPr>
            <p:cNvPr id="62" name="Line 39">
              <a:extLst>
                <a:ext uri="{FF2B5EF4-FFF2-40B4-BE49-F238E27FC236}">
                  <a16:creationId xmlns:a16="http://schemas.microsoft.com/office/drawing/2014/main" id="{C08881B8-632A-8AD5-D175-EA066ADCE43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607327" y="1993322"/>
              <a:ext cx="1530457" cy="1287841"/>
            </a:xfrm>
            <a:prstGeom prst="line">
              <a:avLst/>
            </a:prstGeom>
            <a:noFill/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Ink Free" panose="03080402000500000000" pitchFamily="66" charset="0"/>
              </a:endParaRPr>
            </a:p>
          </p:txBody>
        </p:sp>
        <p:sp>
          <p:nvSpPr>
            <p:cNvPr id="63" name="Text Box 45">
              <a:extLst>
                <a:ext uri="{FF2B5EF4-FFF2-40B4-BE49-F238E27FC236}">
                  <a16:creationId xmlns:a16="http://schemas.microsoft.com/office/drawing/2014/main" id="{B737C576-3863-4A7E-F131-346D5D9592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339986">
              <a:off x="8677888" y="2174920"/>
              <a:ext cx="1478638" cy="906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chemeClr val="bg1">
                      <a:lumMod val="95000"/>
                    </a:schemeClr>
                  </a:solidFill>
                  <a:latin typeface="Ink Free" panose="03080402000500000000" pitchFamily="66" charset="0"/>
                </a:rPr>
                <a:t>(DETAIL)</a:t>
              </a:r>
              <a:br>
                <a:rPr lang="en-US" altLang="en-US" sz="2000">
                  <a:solidFill>
                    <a:schemeClr val="bg1">
                      <a:lumMod val="95000"/>
                    </a:schemeClr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chemeClr val="bg1">
                      <a:lumMod val="95000"/>
                    </a:schemeClr>
                  </a:solidFill>
                  <a:latin typeface="Ink Free" panose="03080402000500000000" pitchFamily="66" charset="0"/>
                </a:rPr>
                <a:t>flavors</a:t>
              </a:r>
            </a:p>
          </p:txBody>
        </p:sp>
        <p:sp>
          <p:nvSpPr>
            <p:cNvPr id="64" name="Line 39">
              <a:extLst>
                <a:ext uri="{FF2B5EF4-FFF2-40B4-BE49-F238E27FC236}">
                  <a16:creationId xmlns:a16="http://schemas.microsoft.com/office/drawing/2014/main" id="{CC8B686A-2607-4277-C841-41EB11C64B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137785" y="383644"/>
              <a:ext cx="245630" cy="1621011"/>
            </a:xfrm>
            <a:prstGeom prst="line">
              <a:avLst/>
            </a:prstGeom>
            <a:noFill/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Ink Free" panose="03080402000500000000" pitchFamily="66" charset="0"/>
              </a:endParaRPr>
            </a:p>
          </p:txBody>
        </p:sp>
        <p:sp>
          <p:nvSpPr>
            <p:cNvPr id="65" name="Text Box 45">
              <a:extLst>
                <a:ext uri="{FF2B5EF4-FFF2-40B4-BE49-F238E27FC236}">
                  <a16:creationId xmlns:a16="http://schemas.microsoft.com/office/drawing/2014/main" id="{5FF95F18-B57C-9223-F285-72BFD81D4D3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842655">
              <a:off x="9158040" y="614202"/>
              <a:ext cx="2256094" cy="906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chemeClr val="bg1">
                      <a:lumMod val="95000"/>
                    </a:schemeClr>
                  </a:solidFill>
                  <a:latin typeface="Ink Free" panose="03080402000500000000" pitchFamily="66" charset="0"/>
                </a:rPr>
                <a:t>(MORE DETAIL)</a:t>
              </a:r>
              <a:br>
                <a:rPr lang="en-US" altLang="en-US" sz="2000">
                  <a:solidFill>
                    <a:schemeClr val="bg1">
                      <a:lumMod val="95000"/>
                    </a:schemeClr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chemeClr val="bg1">
                      <a:lumMod val="95000"/>
                    </a:schemeClr>
                  </a:solidFill>
                  <a:latin typeface="Ink Free" panose="03080402000500000000" pitchFamily="66" charset="0"/>
                </a:rPr>
                <a:t>Milky</a:t>
              </a:r>
            </a:p>
          </p:txBody>
        </p:sp>
        <p:sp>
          <p:nvSpPr>
            <p:cNvPr id="66" name="Text Box 45">
              <a:extLst>
                <a:ext uri="{FF2B5EF4-FFF2-40B4-BE49-F238E27FC236}">
                  <a16:creationId xmlns:a16="http://schemas.microsoft.com/office/drawing/2014/main" id="{DB67F58A-D7B8-40EB-4310-5CA9CCA908B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568092">
              <a:off x="9999422" y="928441"/>
              <a:ext cx="2256094" cy="906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>
              <a:spAutoFit/>
            </a:bodyPr>
            <a:lstStyle>
              <a:lvl1pPr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5363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chemeClr val="bg1">
                      <a:lumMod val="95000"/>
                    </a:schemeClr>
                  </a:solidFill>
                  <a:latin typeface="Ink Free" panose="03080402000500000000" pitchFamily="66" charset="0"/>
                </a:rPr>
                <a:t>(MORE DETAIL)</a:t>
              </a:r>
              <a:br>
                <a:rPr lang="en-US" altLang="en-US" sz="2000">
                  <a:solidFill>
                    <a:schemeClr val="bg1">
                      <a:lumMod val="95000"/>
                    </a:schemeClr>
                  </a:solidFill>
                  <a:latin typeface="Ink Free" panose="03080402000500000000" pitchFamily="66" charset="0"/>
                </a:rPr>
              </a:br>
              <a:r>
                <a:rPr lang="en-US" altLang="en-US" sz="2000" b="1">
                  <a:solidFill>
                    <a:schemeClr val="bg1">
                      <a:lumMod val="95000"/>
                    </a:schemeClr>
                  </a:solidFill>
                  <a:latin typeface="Ink Free" panose="03080402000500000000" pitchFamily="66" charset="0"/>
                </a:rPr>
                <a:t>Salted Caramel</a:t>
              </a:r>
            </a:p>
          </p:txBody>
        </p:sp>
        <p:sp>
          <p:nvSpPr>
            <p:cNvPr id="67" name="Line 39">
              <a:extLst>
                <a:ext uri="{FF2B5EF4-FFF2-40B4-BE49-F238E27FC236}">
                  <a16:creationId xmlns:a16="http://schemas.microsoft.com/office/drawing/2014/main" id="{BFFF86DE-559B-6EBC-9048-52B9E83F5D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145996" y="816829"/>
              <a:ext cx="1711385" cy="1181587"/>
            </a:xfrm>
            <a:prstGeom prst="line">
              <a:avLst/>
            </a:prstGeom>
            <a:noFill/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Ink Free" panose="03080402000500000000" pitchFamily="66" charset="0"/>
              </a:endParaRPr>
            </a:p>
          </p:txBody>
        </p:sp>
        <p:sp>
          <p:nvSpPr>
            <p:cNvPr id="68" name="Line 39">
              <a:extLst>
                <a:ext uri="{FF2B5EF4-FFF2-40B4-BE49-F238E27FC236}">
                  <a16:creationId xmlns:a16="http://schemas.microsoft.com/office/drawing/2014/main" id="{C30833C5-8E09-6371-7431-31ED5B44AE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45996" y="1998957"/>
              <a:ext cx="1544741" cy="1287841"/>
            </a:xfrm>
            <a:prstGeom prst="line">
              <a:avLst/>
            </a:prstGeom>
            <a:noFill/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44000" tIns="144000" rIns="144000" bIns="144000" anchor="ctr"/>
            <a:lstStyle/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Ink Free" panose="03080402000500000000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7100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FE7F1C1-8710-6168-FCEA-201392ED6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YOUR STORY</a:t>
            </a:r>
          </a:p>
        </p:txBody>
      </p:sp>
    </p:spTree>
    <p:extLst>
      <p:ext uri="{BB962C8B-B14F-4D97-AF65-F5344CB8AC3E}">
        <p14:creationId xmlns:p14="http://schemas.microsoft.com/office/powerpoint/2010/main" val="16601033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1A0043-F3B5-6559-FC6F-49C9EA76B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CTIVITY – YOUR STOR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919911-2845-E0CF-FE03-16B2D089C4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/>
              <a:t>In groups of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90832DE-331E-643A-B8A6-9F439E55BD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/>
              <a:t>20 minutes (you will be informed when to move on to the next stage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CFFF7D-F27D-D78A-32A4-D67C9A3400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79600" y="2963176"/>
            <a:ext cx="7334511" cy="1704073"/>
          </a:xfrm>
        </p:spPr>
        <p:txBody>
          <a:bodyPr/>
          <a:lstStyle/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/>
              <a:t>Define a topic that you know a lot of</a:t>
            </a:r>
          </a:p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/>
              <a:t>Brainstorm and write down all your thoughts</a:t>
            </a:r>
          </a:p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/>
              <a:t>Create a mindmap using a Flip Chart</a:t>
            </a:r>
          </a:p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/>
              <a:t>Decide: what is least relevant (unimportant)</a:t>
            </a:r>
          </a:p>
        </p:txBody>
      </p:sp>
    </p:spTree>
    <p:extLst>
      <p:ext uri="{BB962C8B-B14F-4D97-AF65-F5344CB8AC3E}">
        <p14:creationId xmlns:p14="http://schemas.microsoft.com/office/powerpoint/2010/main" val="29145716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C315370-1AB0-6C6A-216E-71689F4C101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B55963-2ED2-C1E7-9ABD-D06F094C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PREPARING FOR A PRESENTATION</a:t>
            </a:r>
          </a:p>
        </p:txBody>
      </p:sp>
      <p:pic>
        <p:nvPicPr>
          <p:cNvPr id="7" name="Picture 6" descr="Shape, circle&#10;&#10;Description automatically generated">
            <a:extLst>
              <a:ext uri="{FF2B5EF4-FFF2-40B4-BE49-F238E27FC236}">
                <a16:creationId xmlns:a16="http://schemas.microsoft.com/office/drawing/2014/main" id="{FBA83C8A-1A94-B247-C641-EAEE03BC2BD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483027" y="2757044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 descr="Shape, circle&#10;&#10;Description automatically generated">
            <a:extLst>
              <a:ext uri="{FF2B5EF4-FFF2-40B4-BE49-F238E27FC236}">
                <a16:creationId xmlns:a16="http://schemas.microsoft.com/office/drawing/2014/main" id="{2DA4A7FC-444E-0843-5820-5393169D6DC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89C9732-996A-9CE2-68DC-CF9FD8FFC664}"/>
              </a:ext>
            </a:extLst>
          </p:cNvPr>
          <p:cNvSpPr/>
          <p:nvPr/>
        </p:nvSpPr>
        <p:spPr>
          <a:xfrm>
            <a:off x="447675" y="1543049"/>
            <a:ext cx="4772026" cy="2133283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endParaRPr lang="en-US" sz="2800">
              <a:solidFill>
                <a:schemeClr val="tx1"/>
              </a:solidFill>
              <a:latin typeface="Ink Free" panose="03080402000500000000" pitchFamily="66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AC05E4D-A294-5CD0-868E-B9BBAD562044}"/>
              </a:ext>
            </a:extLst>
          </p:cNvPr>
          <p:cNvSpPr/>
          <p:nvPr/>
        </p:nvSpPr>
        <p:spPr>
          <a:xfrm>
            <a:off x="744447" y="1800729"/>
            <a:ext cx="4341903" cy="1617921"/>
          </a:xfrm>
          <a:prstGeom prst="roundRect">
            <a:avLst>
              <a:gd name="adj" fmla="val 4862"/>
            </a:avLst>
          </a:prstGeom>
          <a:noFill/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IF YOU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FAIL TO PREPARE</a:t>
            </a: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, YOU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PREPARE TO FAIL</a:t>
            </a:r>
          </a:p>
        </p:txBody>
      </p:sp>
    </p:spTree>
    <p:extLst>
      <p:ext uri="{BB962C8B-B14F-4D97-AF65-F5344CB8AC3E}">
        <p14:creationId xmlns:p14="http://schemas.microsoft.com/office/powerpoint/2010/main" val="640046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AFD63A7-6206-31C7-DCAC-BB742278C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 QUICK QUESTION ...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B6D3F0C-9758-5E6D-A5B6-34876E80A672}"/>
              </a:ext>
            </a:extLst>
          </p:cNvPr>
          <p:cNvSpPr/>
          <p:nvPr/>
        </p:nvSpPr>
        <p:spPr>
          <a:xfrm>
            <a:off x="6328410" y="497473"/>
            <a:ext cx="5619750" cy="2133283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endParaRPr lang="en-US" sz="2800">
              <a:solidFill>
                <a:schemeClr val="tx1"/>
              </a:solidFill>
              <a:latin typeface="Ink Free" panose="03080402000500000000" pitchFamily="66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545F7DA-0DF0-9FE8-A80F-7D74586FEA80}"/>
              </a:ext>
            </a:extLst>
          </p:cNvPr>
          <p:cNvSpPr/>
          <p:nvPr/>
        </p:nvSpPr>
        <p:spPr>
          <a:xfrm>
            <a:off x="6418471" y="755153"/>
            <a:ext cx="5581649" cy="1617921"/>
          </a:xfrm>
          <a:prstGeom prst="roundRect">
            <a:avLst>
              <a:gd name="adj" fmla="val 4862"/>
            </a:avLst>
          </a:prstGeom>
          <a:noFill/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What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preparation</a:t>
            </a: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 would be required to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design</a:t>
            </a: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 the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content</a:t>
            </a: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 of a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presentation</a:t>
            </a: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? </a:t>
            </a:r>
            <a:endParaRPr lang="en-US" sz="3600" b="1">
              <a:solidFill>
                <a:srgbClr val="00AEEF"/>
              </a:solidFill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227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B55963-2ED2-C1E7-9ABD-D06F094C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/>
              <a:t>PREPARING FOR PRESENTATION DESIG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048999F-F3AD-2C6B-8A81-AF3CDF7C8D41}"/>
              </a:ext>
            </a:extLst>
          </p:cNvPr>
          <p:cNvSpPr/>
          <p:nvPr/>
        </p:nvSpPr>
        <p:spPr>
          <a:xfrm>
            <a:off x="1037885" y="2809875"/>
            <a:ext cx="7142019" cy="2865696"/>
          </a:xfrm>
          <a:prstGeom prst="roundRect">
            <a:avLst>
              <a:gd name="adj" fmla="val 4862"/>
            </a:avLst>
          </a:prstGeom>
          <a:noFill/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Choice of topic</a:t>
            </a:r>
          </a:p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Gathering all the facts (brainstorm)</a:t>
            </a:r>
          </a:p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Structure the content (mind-map)</a:t>
            </a:r>
          </a:p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Adapt to your audience (relevance / unimportant bits)</a:t>
            </a:r>
          </a:p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Consider which materials and methods to use</a:t>
            </a:r>
          </a:p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Set aside time to prepare!</a:t>
            </a:r>
          </a:p>
        </p:txBody>
      </p:sp>
    </p:spTree>
    <p:extLst>
      <p:ext uri="{BB962C8B-B14F-4D97-AF65-F5344CB8AC3E}">
        <p14:creationId xmlns:p14="http://schemas.microsoft.com/office/powerpoint/2010/main" val="34313923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0775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1278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23EAA7-BB14-447D-9B4F-24CD22ED19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51861" y="5304906"/>
            <a:ext cx="1900351" cy="766364"/>
          </a:xfrm>
        </p:spPr>
        <p:txBody>
          <a:bodyPr/>
          <a:lstStyle/>
          <a:p>
            <a:r>
              <a:rPr lang="nl-NL" sz="2400"/>
              <a:t>Design your presen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F250CE-3AB6-4002-A51C-C849F93A07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4535" y="1096752"/>
            <a:ext cx="1939546" cy="1431161"/>
          </a:xfrm>
        </p:spPr>
        <p:txBody>
          <a:bodyPr/>
          <a:lstStyle/>
          <a:p>
            <a:r>
              <a:rPr lang="nl-NL" sz="2400"/>
              <a:t>Session introduction:</a:t>
            </a:r>
            <a:br>
              <a:rPr lang="nl-NL" sz="2400"/>
            </a:br>
            <a:r>
              <a:rPr lang="nl-NL" sz="2400"/>
              <a:t>Presenting yourself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A0FEB2-254F-4E23-92E2-B92B7140DB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26209" y="3639137"/>
            <a:ext cx="1969124" cy="1098762"/>
          </a:xfrm>
        </p:spPr>
        <p:txBody>
          <a:bodyPr/>
          <a:lstStyle/>
          <a:p>
            <a:r>
              <a:rPr lang="nl-NL" sz="2400"/>
              <a:t>From theory to practice: its your turn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BBA3A47-0FFF-4B6A-B7D5-2196E5E8A1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018259" y="4188518"/>
            <a:ext cx="1736030" cy="433965"/>
          </a:xfrm>
        </p:spPr>
        <p:txBody>
          <a:bodyPr/>
          <a:lstStyle/>
          <a:p>
            <a:r>
              <a:rPr lang="nl-NL" sz="2400"/>
              <a:t>Wrap up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CEAB483-8E21-42CC-870F-BE6C52E578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27558" y="1768061"/>
            <a:ext cx="2702699" cy="1103379"/>
          </a:xfrm>
        </p:spPr>
        <p:txBody>
          <a:bodyPr/>
          <a:lstStyle/>
          <a:p>
            <a:r>
              <a:rPr lang="nl-NL"/>
              <a:t>Duration:</a:t>
            </a:r>
            <a:br>
              <a:rPr lang="nl-NL"/>
            </a:br>
            <a:r>
              <a:rPr lang="nl-NL"/>
              <a:t>05:10 hour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71EC199-378B-46BD-83F4-84B74CC41D1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nl-NL"/>
              <a:t>1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114B0DA-52AD-4DD1-8D54-C074196BBC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nl-NL"/>
              <a:t>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AB4BA21-80BB-4B16-A020-7A53175195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nl-NL"/>
              <a:t>4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C59A59-270D-40B4-B2F2-F10F577A052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nl-NL"/>
              <a:t>5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A33BB-1BC0-435B-B1F4-9FFA9D0EC3C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nl-NL"/>
              <a:t>3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B3BAEA-7E2A-4CC7-BE54-E5D3CE10348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19027" y="1280203"/>
            <a:ext cx="1969123" cy="766364"/>
          </a:xfrm>
        </p:spPr>
        <p:txBody>
          <a:bodyPr/>
          <a:lstStyle/>
          <a:p>
            <a:r>
              <a:rPr lang="nl-NL" sz="2400"/>
              <a:t>Deliver your presentation</a:t>
            </a:r>
          </a:p>
        </p:txBody>
      </p:sp>
    </p:spTree>
    <p:extLst>
      <p:ext uri="{BB962C8B-B14F-4D97-AF65-F5344CB8AC3E}">
        <p14:creationId xmlns:p14="http://schemas.microsoft.com/office/powerpoint/2010/main" val="8813674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3B30BEF-4E7F-6F3B-B587-647DCE280F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1</a:t>
            </a:r>
          </a:p>
        </p:txBody>
      </p:sp>
      <p:sp>
        <p:nvSpPr>
          <p:cNvPr id="5" name="Timer bar">
            <a:extLst>
              <a:ext uri="{FF2B5EF4-FFF2-40B4-BE49-F238E27FC236}">
                <a16:creationId xmlns:a16="http://schemas.microsoft.com/office/drawing/2014/main" id="{8D089CCA-75B0-1411-D054-D3DF75233D32}"/>
              </a:ext>
            </a:extLst>
          </p:cNvPr>
          <p:cNvSpPr/>
          <p:nvPr/>
        </p:nvSpPr>
        <p:spPr bwMode="auto">
          <a:xfrm rot="5400000">
            <a:off x="3015746" y="3654403"/>
            <a:ext cx="3710516" cy="1678119"/>
          </a:xfrm>
          <a:prstGeom prst="rect">
            <a:avLst/>
          </a:prstGeom>
          <a:pattFill prst="ltHorz">
            <a:fgClr>
              <a:srgbClr val="C00000"/>
            </a:fgClr>
            <a:bgClr>
              <a:schemeClr val="bg1"/>
            </a:bgClr>
          </a:patt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068A040-2921-396B-B6EE-DF67745CDFF0}"/>
              </a:ext>
            </a:extLst>
          </p:cNvPr>
          <p:cNvGrpSpPr/>
          <p:nvPr/>
        </p:nvGrpSpPr>
        <p:grpSpPr>
          <a:xfrm>
            <a:off x="495803" y="1926906"/>
            <a:ext cx="4630852" cy="4446139"/>
            <a:chOff x="443626" y="-1728722"/>
            <a:chExt cx="4630852" cy="4446139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87C9A9F4-11BA-BFFB-E75C-8A0323A060FA}"/>
                </a:ext>
              </a:extLst>
            </p:cNvPr>
            <p:cNvSpPr/>
            <p:nvPr/>
          </p:nvSpPr>
          <p:spPr>
            <a:xfrm>
              <a:off x="443626" y="-1046022"/>
              <a:ext cx="4015003" cy="3763439"/>
            </a:xfrm>
            <a:prstGeom prst="roundRect">
              <a:avLst>
                <a:gd name="adj" fmla="val 826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  <p:pic>
          <p:nvPicPr>
            <p:cNvPr id="7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66D12B3C-3300-829A-626D-20F5AF52D6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5281" y="-1728722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90DEA33-B0FB-9F60-E0EF-B9A286BB54B7}"/>
              </a:ext>
            </a:extLst>
          </p:cNvPr>
          <p:cNvSpPr/>
          <p:nvPr/>
        </p:nvSpPr>
        <p:spPr>
          <a:xfrm>
            <a:off x="495803" y="2600081"/>
            <a:ext cx="4015002" cy="3772964"/>
          </a:xfrm>
          <a:prstGeom prst="roundRect">
            <a:avLst>
              <a:gd name="adj" fmla="val 893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2" name="object 18">
            <a:extLst>
              <a:ext uri="{FF2B5EF4-FFF2-40B4-BE49-F238E27FC236}">
                <a16:creationId xmlns:a16="http://schemas.microsoft.com/office/drawing/2014/main" id="{D0218144-1658-2E84-29BA-B7FDFB9FFEB8}"/>
              </a:ext>
            </a:extLst>
          </p:cNvPr>
          <p:cNvSpPr txBox="1"/>
          <p:nvPr/>
        </p:nvSpPr>
        <p:spPr>
          <a:xfrm>
            <a:off x="880787" y="1232610"/>
            <a:ext cx="7522541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What would be good reasons for developing your presentation skills?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0208628-8BC8-191F-E06A-2158BAC99A7D}"/>
              </a:ext>
            </a:extLst>
          </p:cNvPr>
          <p:cNvSpPr/>
          <p:nvPr/>
        </p:nvSpPr>
        <p:spPr>
          <a:xfrm>
            <a:off x="546100" y="2899844"/>
            <a:ext cx="3823305" cy="32624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342900" marR="40640" indent="-3429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Express your ideas, views and needs better</a:t>
            </a:r>
          </a:p>
          <a:p>
            <a:pPr marL="342900" marR="40640" indent="-3429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Increase your self-confidence</a:t>
            </a:r>
          </a:p>
          <a:p>
            <a:pPr marL="342900" marR="40640" indent="-3429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Help building your career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B840E246-AB9C-0DDB-2E18-FB3ADAC0BA40}"/>
              </a:ext>
            </a:extLst>
          </p:cNvPr>
          <p:cNvSpPr/>
          <p:nvPr/>
        </p:nvSpPr>
        <p:spPr>
          <a:xfrm>
            <a:off x="5283281" y="2638204"/>
            <a:ext cx="4015002" cy="3772964"/>
          </a:xfrm>
          <a:prstGeom prst="roundRect">
            <a:avLst>
              <a:gd name="adj" fmla="val 9940"/>
            </a:avLst>
          </a:prstGeom>
          <a:solidFill>
            <a:srgbClr val="D2EE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5E92DC5-D366-4DFF-8D9A-68FAC3551031}"/>
              </a:ext>
            </a:extLst>
          </p:cNvPr>
          <p:cNvSpPr/>
          <p:nvPr/>
        </p:nvSpPr>
        <p:spPr>
          <a:xfrm>
            <a:off x="5422900" y="2899846"/>
            <a:ext cx="3823305" cy="32624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342900" marR="40640" indent="-3429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You will be offered a good job or internship </a:t>
            </a:r>
          </a:p>
          <a:p>
            <a:pPr marL="342900" marR="40640" indent="-3429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It will result in earning a lot of money</a:t>
            </a:r>
          </a:p>
          <a:p>
            <a:pPr marL="342900" marR="40640" indent="-3429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Your peers will admire  you for it</a:t>
            </a:r>
          </a:p>
        </p:txBody>
      </p:sp>
    </p:spTree>
    <p:extLst>
      <p:ext uri="{BB962C8B-B14F-4D97-AF65-F5344CB8AC3E}">
        <p14:creationId xmlns:p14="http://schemas.microsoft.com/office/powerpoint/2010/main" val="3070242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10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3B30BEF-4E7F-6F3B-B587-647DCE280F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2</a:t>
            </a:r>
          </a:p>
        </p:txBody>
      </p:sp>
      <p:sp>
        <p:nvSpPr>
          <p:cNvPr id="12" name="Timer bar">
            <a:extLst>
              <a:ext uri="{FF2B5EF4-FFF2-40B4-BE49-F238E27FC236}">
                <a16:creationId xmlns:a16="http://schemas.microsoft.com/office/drawing/2014/main" id="{C02C976E-4385-C416-0F6B-3916EF856DF6}"/>
              </a:ext>
            </a:extLst>
          </p:cNvPr>
          <p:cNvSpPr/>
          <p:nvPr/>
        </p:nvSpPr>
        <p:spPr bwMode="auto">
          <a:xfrm rot="5400000">
            <a:off x="3015746" y="3654403"/>
            <a:ext cx="3710516" cy="1678119"/>
          </a:xfrm>
          <a:prstGeom prst="rect">
            <a:avLst/>
          </a:prstGeom>
          <a:pattFill prst="ltHorz">
            <a:fgClr>
              <a:srgbClr val="C00000"/>
            </a:fgClr>
            <a:bgClr>
              <a:schemeClr val="bg1"/>
            </a:bgClr>
          </a:patt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7AAF036-71EE-C8D5-17AA-D4DE776383AD}"/>
              </a:ext>
            </a:extLst>
          </p:cNvPr>
          <p:cNvGrpSpPr/>
          <p:nvPr/>
        </p:nvGrpSpPr>
        <p:grpSpPr>
          <a:xfrm>
            <a:off x="495803" y="1926906"/>
            <a:ext cx="4630852" cy="4446139"/>
            <a:chOff x="443626" y="-1728722"/>
            <a:chExt cx="4630852" cy="4446139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4AFBFADC-CDB9-03BA-5A69-7F86F641A30E}"/>
                </a:ext>
              </a:extLst>
            </p:cNvPr>
            <p:cNvSpPr/>
            <p:nvPr/>
          </p:nvSpPr>
          <p:spPr>
            <a:xfrm>
              <a:off x="443626" y="-1046022"/>
              <a:ext cx="4015003" cy="3763439"/>
            </a:xfrm>
            <a:prstGeom prst="roundRect">
              <a:avLst>
                <a:gd name="adj" fmla="val 826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  <p:pic>
          <p:nvPicPr>
            <p:cNvPr id="15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2EF7C558-7099-4DDA-B19A-612897DA52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5281" y="-1728722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7057A0A-40C4-9EF0-F20E-AEF11D17DABF}"/>
              </a:ext>
            </a:extLst>
          </p:cNvPr>
          <p:cNvSpPr/>
          <p:nvPr/>
        </p:nvSpPr>
        <p:spPr>
          <a:xfrm>
            <a:off x="499848" y="2600081"/>
            <a:ext cx="4015002" cy="3772964"/>
          </a:xfrm>
          <a:prstGeom prst="roundRect">
            <a:avLst>
              <a:gd name="adj" fmla="val 893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7" name="object 18">
            <a:extLst>
              <a:ext uri="{FF2B5EF4-FFF2-40B4-BE49-F238E27FC236}">
                <a16:creationId xmlns:a16="http://schemas.microsoft.com/office/drawing/2014/main" id="{8D1BF86C-BC55-2536-A9AB-B455FC4A74AE}"/>
              </a:ext>
            </a:extLst>
          </p:cNvPr>
          <p:cNvSpPr txBox="1"/>
          <p:nvPr/>
        </p:nvSpPr>
        <p:spPr>
          <a:xfrm>
            <a:off x="880787" y="1232610"/>
            <a:ext cx="7522541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What are the two key principles for designing presentations?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C850902-7076-C11F-36D1-491C9DC57297}"/>
              </a:ext>
            </a:extLst>
          </p:cNvPr>
          <p:cNvSpPr/>
          <p:nvPr/>
        </p:nvSpPr>
        <p:spPr>
          <a:xfrm>
            <a:off x="584200" y="3304366"/>
            <a:ext cx="3850406" cy="230832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342900" marR="40640" indent="-342900">
              <a:buFont typeface="Ink Free" panose="03080402000500000000" pitchFamily="66" charset="0"/>
              <a:buChar char="•"/>
            </a:pPr>
            <a:r>
              <a:rPr lang="en-US" sz="36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Keep it short and simple (KISS)</a:t>
            </a:r>
          </a:p>
          <a:p>
            <a:pPr marL="342900" marR="40640" indent="-342900">
              <a:buFont typeface="Ink Free" panose="03080402000500000000" pitchFamily="66" charset="0"/>
              <a:buChar char="•"/>
            </a:pPr>
            <a:r>
              <a:rPr lang="en-US" sz="36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Less = More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8D90213-6ED1-7B62-4329-81EB15330EB2}"/>
              </a:ext>
            </a:extLst>
          </p:cNvPr>
          <p:cNvSpPr/>
          <p:nvPr/>
        </p:nvSpPr>
        <p:spPr>
          <a:xfrm>
            <a:off x="5283281" y="2638204"/>
            <a:ext cx="4015002" cy="3772964"/>
          </a:xfrm>
          <a:prstGeom prst="roundRect">
            <a:avLst>
              <a:gd name="adj" fmla="val 9940"/>
            </a:avLst>
          </a:prstGeom>
          <a:solidFill>
            <a:srgbClr val="D2EE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5A87442-9C7D-44E9-E88F-C6D461B57808}"/>
              </a:ext>
            </a:extLst>
          </p:cNvPr>
          <p:cNvSpPr/>
          <p:nvPr/>
        </p:nvSpPr>
        <p:spPr>
          <a:xfrm>
            <a:off x="5372100" y="3384904"/>
            <a:ext cx="3831960" cy="230832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342900" marR="40640" indent="-342900">
              <a:buFont typeface="Ink Free" panose="03080402000500000000" pitchFamily="66" charset="0"/>
              <a:buChar char="•"/>
            </a:pPr>
            <a:r>
              <a:rPr lang="en-US" sz="36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Make it smart and speedy (MISS)</a:t>
            </a:r>
          </a:p>
          <a:p>
            <a:pPr marL="342900" marR="40640" indent="-342900">
              <a:buFont typeface="Ink Free" panose="03080402000500000000" pitchFamily="66" charset="0"/>
              <a:buChar char="•"/>
            </a:pPr>
            <a:r>
              <a:rPr lang="en-US" sz="36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More = Best</a:t>
            </a:r>
          </a:p>
        </p:txBody>
      </p:sp>
    </p:spTree>
    <p:extLst>
      <p:ext uri="{BB962C8B-B14F-4D97-AF65-F5344CB8AC3E}">
        <p14:creationId xmlns:p14="http://schemas.microsoft.com/office/powerpoint/2010/main" val="1022156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10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3B30BEF-4E7F-6F3B-B587-647DCE280F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3</a:t>
            </a:r>
          </a:p>
        </p:txBody>
      </p:sp>
      <p:sp>
        <p:nvSpPr>
          <p:cNvPr id="2" name="Timer bar">
            <a:extLst>
              <a:ext uri="{FF2B5EF4-FFF2-40B4-BE49-F238E27FC236}">
                <a16:creationId xmlns:a16="http://schemas.microsoft.com/office/drawing/2014/main" id="{2FA8D177-1F17-EBBC-C7C8-77C16FC8B0A2}"/>
              </a:ext>
            </a:extLst>
          </p:cNvPr>
          <p:cNvSpPr/>
          <p:nvPr/>
        </p:nvSpPr>
        <p:spPr bwMode="auto">
          <a:xfrm rot="5400000">
            <a:off x="3015746" y="3654403"/>
            <a:ext cx="3710516" cy="1678119"/>
          </a:xfrm>
          <a:prstGeom prst="rect">
            <a:avLst/>
          </a:prstGeom>
          <a:pattFill prst="ltHorz">
            <a:fgClr>
              <a:srgbClr val="C00000"/>
            </a:fgClr>
            <a:bgClr>
              <a:schemeClr val="bg1"/>
            </a:bgClr>
          </a:patt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450B891-9185-8ECF-585E-8B5A7C24C36F}"/>
              </a:ext>
            </a:extLst>
          </p:cNvPr>
          <p:cNvGrpSpPr/>
          <p:nvPr/>
        </p:nvGrpSpPr>
        <p:grpSpPr>
          <a:xfrm>
            <a:off x="5302331" y="1965029"/>
            <a:ext cx="4630852" cy="4446139"/>
            <a:chOff x="443626" y="-1728722"/>
            <a:chExt cx="4630852" cy="4446139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B690AA4E-4CA9-FF5E-883B-AB35684F11AA}"/>
                </a:ext>
              </a:extLst>
            </p:cNvPr>
            <p:cNvSpPr/>
            <p:nvPr/>
          </p:nvSpPr>
          <p:spPr>
            <a:xfrm>
              <a:off x="443626" y="-1046022"/>
              <a:ext cx="4015003" cy="3763439"/>
            </a:xfrm>
            <a:prstGeom prst="roundRect">
              <a:avLst>
                <a:gd name="adj" fmla="val 826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  <p:pic>
          <p:nvPicPr>
            <p:cNvPr id="6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0260AD57-0F2A-C4D1-6BF7-7578FB2AC3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5281" y="-1728722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3C25FE2-1B67-4225-CB8E-5FAA118582FB}"/>
              </a:ext>
            </a:extLst>
          </p:cNvPr>
          <p:cNvSpPr/>
          <p:nvPr/>
        </p:nvSpPr>
        <p:spPr>
          <a:xfrm>
            <a:off x="499848" y="2600081"/>
            <a:ext cx="4015002" cy="3772964"/>
          </a:xfrm>
          <a:prstGeom prst="roundRect">
            <a:avLst>
              <a:gd name="adj" fmla="val 893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8" name="object 18">
            <a:extLst>
              <a:ext uri="{FF2B5EF4-FFF2-40B4-BE49-F238E27FC236}">
                <a16:creationId xmlns:a16="http://schemas.microsoft.com/office/drawing/2014/main" id="{F5A6BE59-9030-627D-4D63-258A37AFF037}"/>
              </a:ext>
            </a:extLst>
          </p:cNvPr>
          <p:cNvSpPr txBox="1"/>
          <p:nvPr/>
        </p:nvSpPr>
        <p:spPr>
          <a:xfrm>
            <a:off x="880787" y="1232610"/>
            <a:ext cx="752254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What does the abbreviation ABC stand for?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8E96B24-B5B4-544C-3F6B-D8EC0B3B2A6D}"/>
              </a:ext>
            </a:extLst>
          </p:cNvPr>
          <p:cNvSpPr/>
          <p:nvPr/>
        </p:nvSpPr>
        <p:spPr>
          <a:xfrm>
            <a:off x="5283281" y="2638204"/>
            <a:ext cx="4015002" cy="3772964"/>
          </a:xfrm>
          <a:prstGeom prst="roundRect">
            <a:avLst>
              <a:gd name="adj" fmla="val 9940"/>
            </a:avLst>
          </a:prstGeom>
          <a:solidFill>
            <a:srgbClr val="D2EE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551663-52B3-89CE-6AED-F63CC987C79E}"/>
              </a:ext>
            </a:extLst>
          </p:cNvPr>
          <p:cNvSpPr/>
          <p:nvPr/>
        </p:nvSpPr>
        <p:spPr>
          <a:xfrm>
            <a:off x="957959" y="3495781"/>
            <a:ext cx="3151157" cy="193899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342900" marR="40640" indent="-342900">
              <a:buFont typeface="Ink Free" panose="03080402000500000000" pitchFamily="66" charset="0"/>
              <a:buChar char="•"/>
            </a:pPr>
            <a:r>
              <a:rPr lang="en-US" sz="40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Awareness</a:t>
            </a:r>
          </a:p>
          <a:p>
            <a:pPr marL="342900" marR="40640" indent="-342900">
              <a:buFont typeface="Ink Free" panose="03080402000500000000" pitchFamily="66" charset="0"/>
              <a:buChar char="•"/>
            </a:pPr>
            <a:r>
              <a:rPr lang="en-US" sz="40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Brief</a:t>
            </a:r>
          </a:p>
          <a:p>
            <a:pPr marL="342900" marR="40640" indent="-342900">
              <a:buFont typeface="Ink Free" panose="03080402000500000000" pitchFamily="66" charset="0"/>
              <a:buChar char="•"/>
            </a:pPr>
            <a:r>
              <a:rPr lang="en-US" sz="40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Closu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E051E4-FB50-0C05-441D-BC6F913092A0}"/>
              </a:ext>
            </a:extLst>
          </p:cNvPr>
          <p:cNvSpPr/>
          <p:nvPr/>
        </p:nvSpPr>
        <p:spPr>
          <a:xfrm>
            <a:off x="5773046" y="3533904"/>
            <a:ext cx="3067126" cy="193899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342900" marR="40640" indent="-342900">
              <a:buFont typeface="Ink Free" panose="03080402000500000000" pitchFamily="66" charset="0"/>
              <a:buChar char="•"/>
            </a:pPr>
            <a:r>
              <a:rPr lang="en-US" sz="40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Attention</a:t>
            </a:r>
          </a:p>
          <a:p>
            <a:pPr marL="342900" marR="40640" indent="-342900">
              <a:buFont typeface="Ink Free" panose="03080402000500000000" pitchFamily="66" charset="0"/>
              <a:buChar char="•"/>
            </a:pPr>
            <a:r>
              <a:rPr lang="en-US" sz="40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Body</a:t>
            </a:r>
          </a:p>
          <a:p>
            <a:pPr marL="342900" marR="40640" indent="-342900">
              <a:buFont typeface="Ink Free" panose="03080402000500000000" pitchFamily="66" charset="0"/>
              <a:buChar char="•"/>
            </a:pPr>
            <a:r>
              <a:rPr lang="en-US" sz="40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160420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10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3B30BEF-4E7F-6F3B-B587-647DCE280F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4</a:t>
            </a:r>
          </a:p>
        </p:txBody>
      </p:sp>
      <p:sp>
        <p:nvSpPr>
          <p:cNvPr id="2" name="Timer bar">
            <a:extLst>
              <a:ext uri="{FF2B5EF4-FFF2-40B4-BE49-F238E27FC236}">
                <a16:creationId xmlns:a16="http://schemas.microsoft.com/office/drawing/2014/main" id="{25E09F39-F6E1-FAE6-7AA1-C9A673853692}"/>
              </a:ext>
            </a:extLst>
          </p:cNvPr>
          <p:cNvSpPr/>
          <p:nvPr/>
        </p:nvSpPr>
        <p:spPr bwMode="auto">
          <a:xfrm rot="5400000">
            <a:off x="3015746" y="3654403"/>
            <a:ext cx="3710516" cy="1678119"/>
          </a:xfrm>
          <a:prstGeom prst="rect">
            <a:avLst/>
          </a:prstGeom>
          <a:pattFill prst="ltHorz">
            <a:fgClr>
              <a:srgbClr val="C00000"/>
            </a:fgClr>
            <a:bgClr>
              <a:schemeClr val="bg1"/>
            </a:bgClr>
          </a:patt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5C6BED5-AE00-CE39-C2B1-3DA22B092220}"/>
              </a:ext>
            </a:extLst>
          </p:cNvPr>
          <p:cNvGrpSpPr/>
          <p:nvPr/>
        </p:nvGrpSpPr>
        <p:grpSpPr>
          <a:xfrm>
            <a:off x="495803" y="1926906"/>
            <a:ext cx="4630852" cy="4446139"/>
            <a:chOff x="443626" y="-1728722"/>
            <a:chExt cx="4630852" cy="4446139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604867F9-7EAA-433A-AD30-93458DBD7402}"/>
                </a:ext>
              </a:extLst>
            </p:cNvPr>
            <p:cNvSpPr/>
            <p:nvPr/>
          </p:nvSpPr>
          <p:spPr>
            <a:xfrm>
              <a:off x="443626" y="-1046022"/>
              <a:ext cx="4015003" cy="3763439"/>
            </a:xfrm>
            <a:prstGeom prst="roundRect">
              <a:avLst>
                <a:gd name="adj" fmla="val 826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  <p:pic>
          <p:nvPicPr>
            <p:cNvPr id="6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19753670-2D97-75E4-7676-71643A5F40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5281" y="-1728722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3D1ED58-37B4-933E-73EA-7C3395F87946}"/>
              </a:ext>
            </a:extLst>
          </p:cNvPr>
          <p:cNvSpPr/>
          <p:nvPr/>
        </p:nvSpPr>
        <p:spPr>
          <a:xfrm>
            <a:off x="499848" y="2600081"/>
            <a:ext cx="4015002" cy="3772964"/>
          </a:xfrm>
          <a:prstGeom prst="roundRect">
            <a:avLst>
              <a:gd name="adj" fmla="val 893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8" name="object 18">
            <a:extLst>
              <a:ext uri="{FF2B5EF4-FFF2-40B4-BE49-F238E27FC236}">
                <a16:creationId xmlns:a16="http://schemas.microsoft.com/office/drawing/2014/main" id="{DBB19BDA-7C0A-995A-F2BD-353D0C1235D8}"/>
              </a:ext>
            </a:extLst>
          </p:cNvPr>
          <p:cNvSpPr txBox="1"/>
          <p:nvPr/>
        </p:nvSpPr>
        <p:spPr>
          <a:xfrm>
            <a:off x="880787" y="1232610"/>
            <a:ext cx="7522541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Why is it important to Brainstorm and Mindmap when desiging content for a presentation?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A571D4-733E-10E8-79C0-79D7CA936315}"/>
              </a:ext>
            </a:extLst>
          </p:cNvPr>
          <p:cNvSpPr/>
          <p:nvPr/>
        </p:nvSpPr>
        <p:spPr>
          <a:xfrm>
            <a:off x="593783" y="3178195"/>
            <a:ext cx="3810956" cy="267765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 algn="ctr"/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It is a good way to find content for a presentation and subsequently structure the content in a logical way.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645ED43-87BC-6F66-92E4-D9A327FC5651}"/>
              </a:ext>
            </a:extLst>
          </p:cNvPr>
          <p:cNvSpPr/>
          <p:nvPr/>
        </p:nvSpPr>
        <p:spPr>
          <a:xfrm>
            <a:off x="5283281" y="2638204"/>
            <a:ext cx="4015002" cy="3772964"/>
          </a:xfrm>
          <a:prstGeom prst="roundRect">
            <a:avLst>
              <a:gd name="adj" fmla="val 9940"/>
            </a:avLst>
          </a:prstGeom>
          <a:solidFill>
            <a:srgbClr val="D2EE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5E9AC99-679E-3F1D-4862-2AC4759F0033}"/>
              </a:ext>
            </a:extLst>
          </p:cNvPr>
          <p:cNvSpPr/>
          <p:nvPr/>
        </p:nvSpPr>
        <p:spPr>
          <a:xfrm>
            <a:off x="5389349" y="3217986"/>
            <a:ext cx="3810956" cy="267765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 algn="ctr"/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It is a great way to deliver a presentation when you are not sure who is the target audience for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066968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10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3627CEC-EB08-0178-90BB-5F4C1A2A72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COMFORT BREAK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69208A1-27B7-E047-DC7C-E6FD3FC80E78}"/>
              </a:ext>
            </a:extLst>
          </p:cNvPr>
          <p:cNvSpPr/>
          <p:nvPr/>
        </p:nvSpPr>
        <p:spPr>
          <a:xfrm>
            <a:off x="6096000" y="1655884"/>
            <a:ext cx="4648103" cy="2705389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8686DF0-AF92-8FD1-8461-54182E29CD22}"/>
              </a:ext>
            </a:extLst>
          </p:cNvPr>
          <p:cNvSpPr txBox="1">
            <a:spLocks/>
          </p:cNvSpPr>
          <p:nvPr/>
        </p:nvSpPr>
        <p:spPr>
          <a:xfrm>
            <a:off x="6214713" y="1911817"/>
            <a:ext cx="4529390" cy="21935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3600">
                <a:latin typeface="Ink Free" panose="03080402000500000000" pitchFamily="66" charset="0"/>
              </a:rPr>
              <a:t>Let’s take a short  break for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15 minutes </a:t>
            </a:r>
            <a:r>
              <a:rPr lang="nl-NL" sz="3600">
                <a:latin typeface="Ink Free" panose="03080402000500000000" pitchFamily="66" charset="0"/>
              </a:rPr>
              <a:t>and then we will resume</a:t>
            </a:r>
          </a:p>
        </p:txBody>
      </p:sp>
    </p:spTree>
    <p:extLst>
      <p:ext uri="{BB962C8B-B14F-4D97-AF65-F5344CB8AC3E}">
        <p14:creationId xmlns:p14="http://schemas.microsoft.com/office/powerpoint/2010/main" val="29009832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191DD66-56FE-1B2F-2838-FB62679B8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800"/>
              <a:t>DELIVERING YOUR PRESENTATION</a:t>
            </a:r>
          </a:p>
        </p:txBody>
      </p:sp>
    </p:spTree>
    <p:extLst>
      <p:ext uri="{BB962C8B-B14F-4D97-AF65-F5344CB8AC3E}">
        <p14:creationId xmlns:p14="http://schemas.microsoft.com/office/powerpoint/2010/main" val="7021206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C315370-1AB0-6C6A-216E-71689F4C101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B55963-2ED2-C1E7-9ABD-D06F094C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PREPARING FOR A PRESENTATION</a:t>
            </a:r>
          </a:p>
        </p:txBody>
      </p:sp>
      <p:pic>
        <p:nvPicPr>
          <p:cNvPr id="7" name="Picture 6" descr="Shape, circle&#10;&#10;Description automatically generated">
            <a:extLst>
              <a:ext uri="{FF2B5EF4-FFF2-40B4-BE49-F238E27FC236}">
                <a16:creationId xmlns:a16="http://schemas.microsoft.com/office/drawing/2014/main" id="{FBA83C8A-1A94-B247-C641-EAEE03BC2BD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483027" y="2757044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 descr="Shape, circle&#10;&#10;Description automatically generated">
            <a:extLst>
              <a:ext uri="{FF2B5EF4-FFF2-40B4-BE49-F238E27FC236}">
                <a16:creationId xmlns:a16="http://schemas.microsoft.com/office/drawing/2014/main" id="{2DA4A7FC-444E-0843-5820-5393169D6DC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89C9732-996A-9CE2-68DC-CF9FD8FFC664}"/>
              </a:ext>
            </a:extLst>
          </p:cNvPr>
          <p:cNvSpPr/>
          <p:nvPr/>
        </p:nvSpPr>
        <p:spPr>
          <a:xfrm>
            <a:off x="447675" y="1543049"/>
            <a:ext cx="4772026" cy="2133283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endParaRPr lang="en-US" sz="2800">
              <a:solidFill>
                <a:schemeClr val="tx1"/>
              </a:solidFill>
              <a:latin typeface="Ink Free" panose="03080402000500000000" pitchFamily="66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AC05E4D-A294-5CD0-868E-B9BBAD562044}"/>
              </a:ext>
            </a:extLst>
          </p:cNvPr>
          <p:cNvSpPr/>
          <p:nvPr/>
        </p:nvSpPr>
        <p:spPr>
          <a:xfrm>
            <a:off x="744447" y="1800729"/>
            <a:ext cx="4341903" cy="1617921"/>
          </a:xfrm>
          <a:prstGeom prst="roundRect">
            <a:avLst>
              <a:gd name="adj" fmla="val 4862"/>
            </a:avLst>
          </a:prstGeom>
          <a:noFill/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IF YOU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FAIL TO PREPARE</a:t>
            </a: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, YOU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PREPARE TO FAIL</a:t>
            </a:r>
          </a:p>
        </p:txBody>
      </p:sp>
    </p:spTree>
    <p:extLst>
      <p:ext uri="{BB962C8B-B14F-4D97-AF65-F5344CB8AC3E}">
        <p14:creationId xmlns:p14="http://schemas.microsoft.com/office/powerpoint/2010/main" val="1275688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AFD63A7-6206-31C7-DCAC-BB742278C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 QUICK QUESTION ...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B6D3F0C-9758-5E6D-A5B6-34876E80A672}"/>
              </a:ext>
            </a:extLst>
          </p:cNvPr>
          <p:cNvSpPr/>
          <p:nvPr/>
        </p:nvSpPr>
        <p:spPr>
          <a:xfrm>
            <a:off x="5657850" y="2038890"/>
            <a:ext cx="5619750" cy="2133283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endParaRPr lang="en-US" sz="2800">
              <a:solidFill>
                <a:schemeClr val="tx1"/>
              </a:solidFill>
              <a:latin typeface="Ink Free" panose="03080402000500000000" pitchFamily="66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545F7DA-0DF0-9FE8-A80F-7D74586FEA80}"/>
              </a:ext>
            </a:extLst>
          </p:cNvPr>
          <p:cNvSpPr/>
          <p:nvPr/>
        </p:nvSpPr>
        <p:spPr>
          <a:xfrm>
            <a:off x="5747911" y="2296570"/>
            <a:ext cx="5581649" cy="1617921"/>
          </a:xfrm>
          <a:prstGeom prst="roundRect">
            <a:avLst>
              <a:gd name="adj" fmla="val 4862"/>
            </a:avLst>
          </a:prstGeom>
          <a:noFill/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What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preparation</a:t>
            </a: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 would be required for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delivering</a:t>
            </a: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 your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face-to-face </a:t>
            </a:r>
            <a:r>
              <a:rPr lang="en-US" sz="3600">
                <a:solidFill>
                  <a:schemeClr val="tx1"/>
                </a:solidFill>
                <a:latin typeface="Ink Free" panose="03080402000500000000" pitchFamily="66" charset="0"/>
              </a:rPr>
              <a:t>presentation? </a:t>
            </a:r>
            <a:endParaRPr lang="en-US" sz="3600" b="1">
              <a:solidFill>
                <a:srgbClr val="00AEEF"/>
              </a:solidFill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893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B55963-2ED2-C1E7-9ABD-D06F094CD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34" y="62654"/>
            <a:ext cx="7526135" cy="706438"/>
          </a:xfrm>
        </p:spPr>
        <p:txBody>
          <a:bodyPr>
            <a:normAutofit/>
          </a:bodyPr>
          <a:lstStyle/>
          <a:p>
            <a:r>
              <a:rPr lang="nl-NL"/>
              <a:t>PREPARING FOR PRESENTATION DELIVERY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048999F-F3AD-2C6B-8A81-AF3CDF7C8D41}"/>
              </a:ext>
            </a:extLst>
          </p:cNvPr>
          <p:cNvSpPr/>
          <p:nvPr/>
        </p:nvSpPr>
        <p:spPr>
          <a:xfrm>
            <a:off x="663415" y="1863635"/>
            <a:ext cx="7862275" cy="4615543"/>
          </a:xfrm>
          <a:prstGeom prst="roundRect">
            <a:avLst>
              <a:gd name="adj" fmla="val 4862"/>
            </a:avLst>
          </a:prstGeom>
          <a:noFill/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Content development</a:t>
            </a:r>
          </a:p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Ensure a date, time and location are set and agreed</a:t>
            </a:r>
          </a:p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Know the audience</a:t>
            </a:r>
          </a:p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Review the content: still up to date</a:t>
            </a:r>
          </a:p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Practice</a:t>
            </a: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, </a:t>
            </a: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practice</a:t>
            </a: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 ... and did I say ... </a:t>
            </a: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practice</a:t>
            </a: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?</a:t>
            </a:r>
          </a:p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Get a good night's sleep</a:t>
            </a:r>
          </a:p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Check material and equipment: all there, does everything work?</a:t>
            </a:r>
          </a:p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Visualize the first minutes and then ... </a:t>
            </a: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relax and enjoy</a:t>
            </a: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.</a:t>
            </a:r>
            <a:endParaRPr lang="en-US" sz="2400" b="1">
              <a:solidFill>
                <a:srgbClr val="00AEEF"/>
              </a:solidFill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694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779B177-98FD-748B-DE61-91FCB07C5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NOTHER QUICK QUESTION ..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1D76B54-18E2-8746-2BB4-7A36F3555193}"/>
              </a:ext>
            </a:extLst>
          </p:cNvPr>
          <p:cNvSpPr/>
          <p:nvPr/>
        </p:nvSpPr>
        <p:spPr>
          <a:xfrm>
            <a:off x="5692683" y="2107475"/>
            <a:ext cx="5933259" cy="2899954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endParaRPr lang="en-US" sz="2800">
              <a:solidFill>
                <a:schemeClr val="tx1"/>
              </a:solidFill>
              <a:latin typeface="Ink Free" panose="03080402000500000000" pitchFamily="66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70C1C81-D696-CCDB-6369-175DA9ACF39B}"/>
              </a:ext>
            </a:extLst>
          </p:cNvPr>
          <p:cNvSpPr/>
          <p:nvPr/>
        </p:nvSpPr>
        <p:spPr>
          <a:xfrm>
            <a:off x="5868487" y="2740707"/>
            <a:ext cx="5581649" cy="1617921"/>
          </a:xfrm>
          <a:prstGeom prst="roundRect">
            <a:avLst>
              <a:gd name="adj" fmla="val 4862"/>
            </a:avLst>
          </a:prstGeom>
          <a:noFill/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sz="3200">
                <a:solidFill>
                  <a:schemeClr val="tx1"/>
                </a:solidFill>
                <a:latin typeface="Ink Free" panose="03080402000500000000" pitchFamily="66" charset="0"/>
              </a:rPr>
              <a:t>When you are in the audience during a presentation …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3200">
                <a:solidFill>
                  <a:schemeClr val="tx1"/>
                </a:solidFill>
                <a:latin typeface="Ink Free" panose="03080402000500000000" pitchFamily="66" charset="0"/>
              </a:rPr>
              <a:t>What are the things that make you </a:t>
            </a:r>
            <a:r>
              <a:rPr lang="en-US" sz="3200" b="1">
                <a:solidFill>
                  <a:srgbClr val="00AEEF"/>
                </a:solidFill>
                <a:latin typeface="Ink Free" panose="03080402000500000000" pitchFamily="66" charset="0"/>
              </a:rPr>
              <a:t>switch off</a:t>
            </a:r>
            <a:r>
              <a:rPr lang="en-US" sz="3200">
                <a:solidFill>
                  <a:schemeClr val="tx1"/>
                </a:solidFill>
                <a:latin typeface="Ink Free" panose="03080402000500000000" pitchFamily="66" charset="0"/>
              </a:rPr>
              <a:t>? 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3200">
                <a:solidFill>
                  <a:schemeClr val="tx1"/>
                </a:solidFill>
                <a:latin typeface="Ink Free" panose="03080402000500000000" pitchFamily="66" charset="0"/>
              </a:rPr>
              <a:t>When do you </a:t>
            </a:r>
            <a:r>
              <a:rPr lang="en-US" sz="3200" b="1">
                <a:solidFill>
                  <a:srgbClr val="00AEEF"/>
                </a:solidFill>
                <a:latin typeface="Ink Free" panose="03080402000500000000" pitchFamily="66" charset="0"/>
              </a:rPr>
              <a:t>stop listening</a:t>
            </a:r>
            <a:r>
              <a:rPr lang="en-US" sz="3200">
                <a:solidFill>
                  <a:schemeClr val="tx1"/>
                </a:solidFill>
                <a:latin typeface="Ink Free" panose="03080402000500000000" pitchFamily="66" charset="0"/>
              </a:rPr>
              <a:t>?</a:t>
            </a:r>
            <a:endParaRPr lang="en-US" sz="3200" b="1">
              <a:solidFill>
                <a:srgbClr val="00AEEF"/>
              </a:solidFill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3681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41C8CD2-FA6F-476D-A0C0-119ADFF1FB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GROUNDRU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E92E2D1-B950-4E7C-AB98-B63DD7E4A4F9}"/>
              </a:ext>
            </a:extLst>
          </p:cNvPr>
          <p:cNvGrpSpPr/>
          <p:nvPr/>
        </p:nvGrpSpPr>
        <p:grpSpPr>
          <a:xfrm>
            <a:off x="4077869" y="1259238"/>
            <a:ext cx="6666331" cy="4339523"/>
            <a:chOff x="4077869" y="1259238"/>
            <a:chExt cx="6666331" cy="433952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40AD80F-C076-4973-B807-CC8F2D65FAF5}"/>
                </a:ext>
              </a:extLst>
            </p:cNvPr>
            <p:cNvGrpSpPr/>
            <p:nvPr/>
          </p:nvGrpSpPr>
          <p:grpSpPr>
            <a:xfrm>
              <a:off x="4077869" y="1259238"/>
              <a:ext cx="1849178" cy="1916899"/>
              <a:chOff x="8661422" y="1202334"/>
              <a:chExt cx="1649729" cy="1649729"/>
            </a:xfrm>
          </p:grpSpPr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1E34D171-7493-4946-8718-244ACEF81249}"/>
                  </a:ext>
                </a:extLst>
              </p:cNvPr>
              <p:cNvSpPr/>
              <p:nvPr/>
            </p:nvSpPr>
            <p:spPr bwMode="auto">
              <a:xfrm>
                <a:off x="8661422" y="1202334"/>
                <a:ext cx="1649729" cy="1649729"/>
              </a:xfrm>
              <a:prstGeom prst="roundRect">
                <a:avLst/>
              </a:prstGeom>
              <a:solidFill>
                <a:srgbClr val="FFCC0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CB6976D2-9B3F-4522-BAD8-396E62AE9622}"/>
                  </a:ext>
                </a:extLst>
              </p:cNvPr>
              <p:cNvGrpSpPr/>
              <p:nvPr/>
            </p:nvGrpSpPr>
            <p:grpSpPr>
              <a:xfrm>
                <a:off x="9168377" y="1478728"/>
                <a:ext cx="615569" cy="1011080"/>
                <a:chOff x="6210063" y="1390499"/>
                <a:chExt cx="552451" cy="907407"/>
              </a:xfrm>
            </p:grpSpPr>
            <p:sp>
              <p:nvSpPr>
                <p:cNvPr id="18" name="Rounded Rectangle 16">
                  <a:extLst>
                    <a:ext uri="{FF2B5EF4-FFF2-40B4-BE49-F238E27FC236}">
                      <a16:creationId xmlns:a16="http://schemas.microsoft.com/office/drawing/2014/main" id="{8C5D45F9-0C85-4980-B286-B154C8D01395}"/>
                    </a:ext>
                  </a:extLst>
                </p:cNvPr>
                <p:cNvSpPr/>
                <p:nvPr/>
              </p:nvSpPr>
              <p:spPr bwMode="auto">
                <a:xfrm>
                  <a:off x="6210063" y="1390499"/>
                  <a:ext cx="552451" cy="907407"/>
                </a:xfrm>
                <a:prstGeom prst="roundRect">
                  <a:avLst>
                    <a:gd name="adj" fmla="val 8477"/>
                  </a:avLst>
                </a:prstGeom>
                <a:solidFill>
                  <a:srgbClr val="666666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6000" tIns="48000" rIns="48000" bIns="4800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1327117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/>
                </a:p>
              </p:txBody>
            </p:sp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871D73BC-87E5-4AD6-8B13-94438DCF2CBB}"/>
                    </a:ext>
                  </a:extLst>
                </p:cNvPr>
                <p:cNvSpPr/>
                <p:nvPr/>
              </p:nvSpPr>
              <p:spPr bwMode="auto">
                <a:xfrm>
                  <a:off x="6255307" y="1434432"/>
                  <a:ext cx="461962" cy="757442"/>
                </a:xfrm>
                <a:prstGeom prst="rect">
                  <a:avLst/>
                </a:prstGeom>
                <a:solidFill>
                  <a:schemeClr val="bg1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6000" tIns="48000" rIns="48000" bIns="4800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1327117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/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2CE2AE64-C546-425B-B0E7-22188370B6A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6447237" y="2205839"/>
                  <a:ext cx="78101" cy="78101"/>
                </a:xfrm>
                <a:prstGeom prst="ellipse">
                  <a:avLst/>
                </a:prstGeom>
                <a:solidFill>
                  <a:schemeClr val="bg1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6000" tIns="48000" rIns="48000" bIns="4800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1327117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/>
                </a:p>
              </p:txBody>
            </p:sp>
          </p:grpSp>
          <p:sp>
            <p:nvSpPr>
              <p:cNvPr id="17" name="Rounded Rectangle 15">
                <a:extLst>
                  <a:ext uri="{FF2B5EF4-FFF2-40B4-BE49-F238E27FC236}">
                    <a16:creationId xmlns:a16="http://schemas.microsoft.com/office/drawing/2014/main" id="{C33CE444-B541-40C3-BBD3-0100FB626825}"/>
                  </a:ext>
                </a:extLst>
              </p:cNvPr>
              <p:cNvSpPr/>
              <p:nvPr/>
            </p:nvSpPr>
            <p:spPr bwMode="auto">
              <a:xfrm rot="19050173">
                <a:off x="8750658" y="1889859"/>
                <a:ext cx="1439333" cy="93627"/>
              </a:xfrm>
              <a:prstGeom prst="roundRect">
                <a:avLst/>
              </a:prstGeom>
              <a:solidFill>
                <a:srgbClr val="666666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905B6D7-8B88-4ED6-9440-7A11839ED3AE}"/>
                </a:ext>
              </a:extLst>
            </p:cNvPr>
            <p:cNvGrpSpPr/>
            <p:nvPr/>
          </p:nvGrpSpPr>
          <p:grpSpPr>
            <a:xfrm>
              <a:off x="8895022" y="3681862"/>
              <a:ext cx="1849178" cy="1916899"/>
              <a:chOff x="8622237" y="3779104"/>
              <a:chExt cx="1649729" cy="1649729"/>
            </a:xfrm>
          </p:grpSpPr>
          <p:sp>
            <p:nvSpPr>
              <p:cNvPr id="28" name="Rectangle: Rounded Corners 27">
                <a:extLst>
                  <a:ext uri="{FF2B5EF4-FFF2-40B4-BE49-F238E27FC236}">
                    <a16:creationId xmlns:a16="http://schemas.microsoft.com/office/drawing/2014/main" id="{6830A36F-1663-4B48-B1D9-B8C3D1EB8D9E}"/>
                  </a:ext>
                </a:extLst>
              </p:cNvPr>
              <p:cNvSpPr/>
              <p:nvPr/>
            </p:nvSpPr>
            <p:spPr bwMode="auto">
              <a:xfrm>
                <a:off x="8622237" y="3779104"/>
                <a:ext cx="1649729" cy="1649729"/>
              </a:xfrm>
              <a:prstGeom prst="roundRect">
                <a:avLst/>
              </a:prstGeom>
              <a:solidFill>
                <a:srgbClr val="FFCC0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  <p:pic>
            <p:nvPicPr>
              <p:cNvPr id="29" name="Picture 12" descr="C:\Users\hageliss\AppData\Local\Temp\1\SNAGHTML2142b5a.PNG">
                <a:extLst>
                  <a:ext uri="{FF2B5EF4-FFF2-40B4-BE49-F238E27FC236}">
                    <a16:creationId xmlns:a16="http://schemas.microsoft.com/office/drawing/2014/main" id="{1D877FC8-AF0C-4F0C-8F9F-A5B10B737F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02803" y="3890994"/>
                <a:ext cx="1488595" cy="14006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A3876A19-DFC0-4A4A-8743-9850641D92D8}"/>
                </a:ext>
              </a:extLst>
            </p:cNvPr>
            <p:cNvGrpSpPr/>
            <p:nvPr/>
          </p:nvGrpSpPr>
          <p:grpSpPr>
            <a:xfrm>
              <a:off x="6510950" y="3546316"/>
              <a:ext cx="1849178" cy="2052445"/>
              <a:chOff x="3417578" y="4309971"/>
              <a:chExt cx="1649729" cy="1766383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3F8D0AFC-3CD0-4BE4-9B04-0962E85641F7}"/>
                  </a:ext>
                </a:extLst>
              </p:cNvPr>
              <p:cNvSpPr/>
              <p:nvPr/>
            </p:nvSpPr>
            <p:spPr bwMode="auto">
              <a:xfrm>
                <a:off x="3417578" y="4426625"/>
                <a:ext cx="1649729" cy="1649729"/>
              </a:xfrm>
              <a:prstGeom prst="roundRect">
                <a:avLst/>
              </a:prstGeom>
              <a:solidFill>
                <a:srgbClr val="FFCC0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02309FE-D811-4CF7-8ABF-9CE6D5601360}"/>
                  </a:ext>
                </a:extLst>
              </p:cNvPr>
              <p:cNvSpPr txBox="1"/>
              <p:nvPr/>
            </p:nvSpPr>
            <p:spPr>
              <a:xfrm>
                <a:off x="3467599" y="4309971"/>
                <a:ext cx="1395536" cy="168676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nl-NL" sz="13800" b="1">
                    <a:solidFill>
                      <a:schemeClr val="bg1"/>
                    </a:solidFill>
                    <a:latin typeface="Delivery" panose="020F0503020204020204" pitchFamily="34" charset="0"/>
                    <a:ea typeface="Delivery" panose="020F0503020204020204" pitchFamily="34" charset="0"/>
                    <a:cs typeface="Delivery" panose="020F0503020204020204" pitchFamily="34" charset="0"/>
                  </a:rPr>
                  <a:t>?</a:t>
                </a:r>
                <a:r>
                  <a:rPr lang="nl-NL" sz="13800" b="1">
                    <a:solidFill>
                      <a:schemeClr val="bg2">
                        <a:lumMod val="25000"/>
                      </a:schemeClr>
                    </a:solidFill>
                    <a:latin typeface="Delivery" panose="020F0503020204020204" pitchFamily="34" charset="0"/>
                    <a:ea typeface="Delivery" panose="020F0503020204020204" pitchFamily="34" charset="0"/>
                    <a:cs typeface="Delivery" panose="020F0503020204020204" pitchFamily="34" charset="0"/>
                  </a:rPr>
                  <a:t>!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9C5672D-ED68-4BFC-ABB7-F49966619428}"/>
                </a:ext>
              </a:extLst>
            </p:cNvPr>
            <p:cNvGrpSpPr/>
            <p:nvPr/>
          </p:nvGrpSpPr>
          <p:grpSpPr>
            <a:xfrm>
              <a:off x="4077869" y="3681861"/>
              <a:ext cx="1849178" cy="1916899"/>
              <a:chOff x="5544507" y="2203303"/>
              <a:chExt cx="1649729" cy="1649729"/>
            </a:xfrm>
          </p:grpSpPr>
          <p:sp>
            <p:nvSpPr>
              <p:cNvPr id="42" name="Rectangle: Rounded Corners 41">
                <a:extLst>
                  <a:ext uri="{FF2B5EF4-FFF2-40B4-BE49-F238E27FC236}">
                    <a16:creationId xmlns:a16="http://schemas.microsoft.com/office/drawing/2014/main" id="{B56DB980-6D86-4336-ADCB-5BCA9695E44C}"/>
                  </a:ext>
                </a:extLst>
              </p:cNvPr>
              <p:cNvSpPr/>
              <p:nvPr/>
            </p:nvSpPr>
            <p:spPr bwMode="auto">
              <a:xfrm>
                <a:off x="5544507" y="2203303"/>
                <a:ext cx="1649729" cy="1649729"/>
              </a:xfrm>
              <a:prstGeom prst="roundRect">
                <a:avLst>
                  <a:gd name="adj" fmla="val 13980"/>
                </a:avLst>
              </a:prstGeom>
              <a:solidFill>
                <a:srgbClr val="FFCC0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6A787EBE-B5F9-447F-A918-E568C62392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42161" y="2425170"/>
                <a:ext cx="1054420" cy="12059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CD76AB5-AF84-4C33-BC28-EE60927E2C03}"/>
                </a:ext>
              </a:extLst>
            </p:cNvPr>
            <p:cNvGrpSpPr/>
            <p:nvPr/>
          </p:nvGrpSpPr>
          <p:grpSpPr>
            <a:xfrm>
              <a:off x="6546053" y="1270192"/>
              <a:ext cx="1849178" cy="1916899"/>
              <a:chOff x="3670567" y="2378793"/>
              <a:chExt cx="1649729" cy="1649729"/>
            </a:xfrm>
          </p:grpSpPr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D59288E8-0B1F-457C-AD78-7A316A770DFD}"/>
                  </a:ext>
                </a:extLst>
              </p:cNvPr>
              <p:cNvSpPr/>
              <p:nvPr/>
            </p:nvSpPr>
            <p:spPr bwMode="auto">
              <a:xfrm>
                <a:off x="3670567" y="2378793"/>
                <a:ext cx="1649729" cy="1649729"/>
              </a:xfrm>
              <a:prstGeom prst="roundRect">
                <a:avLst/>
              </a:prstGeom>
              <a:solidFill>
                <a:srgbClr val="FFCC0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  <p:pic>
            <p:nvPicPr>
              <p:cNvPr id="1030" name="Picture 6">
                <a:extLst>
                  <a:ext uri="{FF2B5EF4-FFF2-40B4-BE49-F238E27FC236}">
                    <a16:creationId xmlns:a16="http://schemas.microsoft.com/office/drawing/2014/main" id="{6EDBF8EB-587B-4AA6-9BAE-12084705404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06053" y="2605916"/>
                <a:ext cx="1178755" cy="117662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564381F4-DBEC-4B15-91D7-37598D451777}"/>
                </a:ext>
              </a:extLst>
            </p:cNvPr>
            <p:cNvGrpSpPr/>
            <p:nvPr/>
          </p:nvGrpSpPr>
          <p:grpSpPr>
            <a:xfrm>
              <a:off x="8895020" y="1270191"/>
              <a:ext cx="1849178" cy="1916899"/>
              <a:chOff x="8895020" y="1270191"/>
              <a:chExt cx="1849178" cy="1916899"/>
            </a:xfrm>
          </p:grpSpPr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0515969F-96C9-4D62-8FC3-57504325E30D}"/>
                  </a:ext>
                </a:extLst>
              </p:cNvPr>
              <p:cNvSpPr/>
              <p:nvPr/>
            </p:nvSpPr>
            <p:spPr bwMode="auto">
              <a:xfrm>
                <a:off x="8895020" y="1270191"/>
                <a:ext cx="1849178" cy="1916899"/>
              </a:xfrm>
              <a:prstGeom prst="roundRect">
                <a:avLst/>
              </a:prstGeom>
              <a:solidFill>
                <a:srgbClr val="FFCC0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1BFC7854-A838-4D70-9795-9D45D93D113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12409" y="1490980"/>
                <a:ext cx="1452194" cy="14521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7703539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Shape, circle&#10;&#10;Description automatically generated">
            <a:extLst>
              <a:ext uri="{FF2B5EF4-FFF2-40B4-BE49-F238E27FC236}">
                <a16:creationId xmlns:a16="http://schemas.microsoft.com/office/drawing/2014/main" id="{30295B8D-7284-B239-A20F-B11ACD23D0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483027" y="2757044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5" name="Picture 34" descr="Shape, circle&#10;&#10;Description automatically generated">
            <a:extLst>
              <a:ext uri="{FF2B5EF4-FFF2-40B4-BE49-F238E27FC236}">
                <a16:creationId xmlns:a16="http://schemas.microsoft.com/office/drawing/2014/main" id="{CBFA5E05-33A5-5E20-4A7C-A1448130B99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6533694-F27B-5E4F-323F-F1F2B36A9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SWITCHING OFF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67640E6-B86C-3A69-8408-0B47BD11C26C}"/>
              </a:ext>
            </a:extLst>
          </p:cNvPr>
          <p:cNvSpPr/>
          <p:nvPr/>
        </p:nvSpPr>
        <p:spPr>
          <a:xfrm>
            <a:off x="778805" y="974585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Boring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6B0607F-DEA8-72A1-23C1-9D9C4854B609}"/>
              </a:ext>
            </a:extLst>
          </p:cNvPr>
          <p:cNvSpPr/>
          <p:nvPr/>
        </p:nvSpPr>
        <p:spPr>
          <a:xfrm>
            <a:off x="778805" y="2124117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Not interested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2AB1554-1F8D-37E1-F3DC-973C0D521A5F}"/>
              </a:ext>
            </a:extLst>
          </p:cNvPr>
          <p:cNvSpPr/>
          <p:nvPr/>
        </p:nvSpPr>
        <p:spPr>
          <a:xfrm>
            <a:off x="778805" y="5572713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Wrong messag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60E64F5-E87A-9F58-DB2F-7DC96A7B85DA}"/>
              </a:ext>
            </a:extLst>
          </p:cNvPr>
          <p:cNvSpPr/>
          <p:nvPr/>
        </p:nvSpPr>
        <p:spPr>
          <a:xfrm>
            <a:off x="778805" y="4423181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Not fluent speech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527DF4D-09F9-41CB-F3E9-013BF8DF87C4}"/>
              </a:ext>
            </a:extLst>
          </p:cNvPr>
          <p:cNvSpPr/>
          <p:nvPr/>
        </p:nvSpPr>
        <p:spPr>
          <a:xfrm>
            <a:off x="778805" y="3273649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Wrong communication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A784578-DF6E-D5BC-5288-5ED99D87F786}"/>
              </a:ext>
            </a:extLst>
          </p:cNvPr>
          <p:cNvSpPr/>
          <p:nvPr/>
        </p:nvSpPr>
        <p:spPr>
          <a:xfrm>
            <a:off x="6571300" y="4423181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Too long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F0FD8830-051D-BB77-575F-68A7DDCDD998}"/>
              </a:ext>
            </a:extLst>
          </p:cNvPr>
          <p:cNvSpPr/>
          <p:nvPr/>
        </p:nvSpPr>
        <p:spPr>
          <a:xfrm>
            <a:off x="6571300" y="2145853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Too much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E423C77-F1E9-2D6E-D149-96DE9033FE9A}"/>
              </a:ext>
            </a:extLst>
          </p:cNvPr>
          <p:cNvSpPr/>
          <p:nvPr/>
        </p:nvSpPr>
        <p:spPr>
          <a:xfrm>
            <a:off x="6571300" y="3273649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Too fast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491ADB0B-0945-A194-0F52-ECDBCECCB1FB}"/>
              </a:ext>
            </a:extLst>
          </p:cNvPr>
          <p:cNvSpPr/>
          <p:nvPr/>
        </p:nvSpPr>
        <p:spPr>
          <a:xfrm>
            <a:off x="6571300" y="974585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“Don’t want</a:t>
            </a:r>
            <a:b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</a:b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to be here!”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703C556-F621-37D0-A5DC-F80CE93E405F}"/>
              </a:ext>
            </a:extLst>
          </p:cNvPr>
          <p:cNvSpPr/>
          <p:nvPr/>
        </p:nvSpPr>
        <p:spPr>
          <a:xfrm>
            <a:off x="6571300" y="5572713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Too difficult (or too easy)</a:t>
            </a:r>
          </a:p>
        </p:txBody>
      </p:sp>
    </p:spTree>
    <p:extLst>
      <p:ext uri="{BB962C8B-B14F-4D97-AF65-F5344CB8AC3E}">
        <p14:creationId xmlns:p14="http://schemas.microsoft.com/office/powerpoint/2010/main" val="111946124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Shape, circle&#10;&#10;Description automatically generated">
            <a:extLst>
              <a:ext uri="{FF2B5EF4-FFF2-40B4-BE49-F238E27FC236}">
                <a16:creationId xmlns:a16="http://schemas.microsoft.com/office/drawing/2014/main" id="{CE88EEE2-E1C8-70A3-E9B9-F792896122F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483027" y="2757044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5" name="Picture 34" descr="Shape, circle&#10;&#10;Description automatically generated">
            <a:extLst>
              <a:ext uri="{FF2B5EF4-FFF2-40B4-BE49-F238E27FC236}">
                <a16:creationId xmlns:a16="http://schemas.microsoft.com/office/drawing/2014/main" id="{A78184A1-0E1C-AB3C-31E8-6AC28512165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6533694-F27B-5E4F-323F-F1F2B36A9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SO THE PRESENTER MUST ...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67640E6-B86C-3A69-8408-0B47BD11C26C}"/>
              </a:ext>
            </a:extLst>
          </p:cNvPr>
          <p:cNvSpPr/>
          <p:nvPr/>
        </p:nvSpPr>
        <p:spPr>
          <a:xfrm>
            <a:off x="778805" y="974585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Boring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D1BC40C-FC86-5FFC-BAD5-78C43CA9EECF}"/>
              </a:ext>
            </a:extLst>
          </p:cNvPr>
          <p:cNvSpPr/>
          <p:nvPr/>
        </p:nvSpPr>
        <p:spPr>
          <a:xfrm>
            <a:off x="6571300" y="4423181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Too long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2824020-DD73-0E67-1738-B60279EC3E36}"/>
              </a:ext>
            </a:extLst>
          </p:cNvPr>
          <p:cNvSpPr/>
          <p:nvPr/>
        </p:nvSpPr>
        <p:spPr>
          <a:xfrm>
            <a:off x="6571300" y="2145853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Too much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E6F8F9A-152D-7025-91B1-764CE84401BE}"/>
              </a:ext>
            </a:extLst>
          </p:cNvPr>
          <p:cNvSpPr/>
          <p:nvPr/>
        </p:nvSpPr>
        <p:spPr>
          <a:xfrm>
            <a:off x="6571300" y="3273649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Too fas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6B0607F-DEA8-72A1-23C1-9D9C4854B609}"/>
              </a:ext>
            </a:extLst>
          </p:cNvPr>
          <p:cNvSpPr/>
          <p:nvPr/>
        </p:nvSpPr>
        <p:spPr>
          <a:xfrm>
            <a:off x="778805" y="2124117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Not interested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5A3990B-4025-8B5B-047B-71A3CE7D448F}"/>
              </a:ext>
            </a:extLst>
          </p:cNvPr>
          <p:cNvSpPr/>
          <p:nvPr/>
        </p:nvSpPr>
        <p:spPr>
          <a:xfrm>
            <a:off x="6571300" y="974585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“Don’t want</a:t>
            </a:r>
            <a:b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</a:b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to be here!”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2AB1554-1F8D-37E1-F3DC-973C0D521A5F}"/>
              </a:ext>
            </a:extLst>
          </p:cNvPr>
          <p:cNvSpPr/>
          <p:nvPr/>
        </p:nvSpPr>
        <p:spPr>
          <a:xfrm>
            <a:off x="778805" y="5572713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Wrong messag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5DDC72-A168-FFDD-698C-8F44D453D3A2}"/>
              </a:ext>
            </a:extLst>
          </p:cNvPr>
          <p:cNvSpPr/>
          <p:nvPr/>
        </p:nvSpPr>
        <p:spPr>
          <a:xfrm>
            <a:off x="6571300" y="5572713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Too difficult (or too easy)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60E64F5-E87A-9F58-DB2F-7DC96A7B85DA}"/>
              </a:ext>
            </a:extLst>
          </p:cNvPr>
          <p:cNvSpPr/>
          <p:nvPr/>
        </p:nvSpPr>
        <p:spPr>
          <a:xfrm>
            <a:off x="778805" y="4423181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rgbClr val="00AEEF"/>
                </a:solidFill>
                <a:latin typeface="Ink Free" panose="03080402000500000000" pitchFamily="66" charset="0"/>
              </a:rPr>
              <a:t>Not fluent speech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527DF4D-09F9-41CB-F3E9-013BF8DF87C4}"/>
              </a:ext>
            </a:extLst>
          </p:cNvPr>
          <p:cNvSpPr/>
          <p:nvPr/>
        </p:nvSpPr>
        <p:spPr>
          <a:xfrm>
            <a:off x="778805" y="3273649"/>
            <a:ext cx="2176192" cy="90056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400" b="1">
                <a:solidFill>
                  <a:srgbClr val="00AEEF"/>
                </a:solidFill>
                <a:latin typeface="Ink Free" panose="03080402000500000000" pitchFamily="66" charset="0"/>
              </a:rPr>
              <a:t>Wrong communication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D01CC9E-0DE5-65A3-3020-B89B2DF5D8EA}"/>
              </a:ext>
            </a:extLst>
          </p:cNvPr>
          <p:cNvSpPr/>
          <p:nvPr/>
        </p:nvSpPr>
        <p:spPr>
          <a:xfrm>
            <a:off x="2760005" y="874434"/>
            <a:ext cx="2961526" cy="900567"/>
          </a:xfrm>
          <a:prstGeom prst="roundRect">
            <a:avLst>
              <a:gd name="adj" fmla="val 4862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Ensure it is interesting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2FC89D7-E0F9-C963-0B43-AAA8DE8DA712}"/>
              </a:ext>
            </a:extLst>
          </p:cNvPr>
          <p:cNvSpPr/>
          <p:nvPr/>
        </p:nvSpPr>
        <p:spPr>
          <a:xfrm>
            <a:off x="8557741" y="835003"/>
            <a:ext cx="2858108" cy="900567"/>
          </a:xfrm>
          <a:prstGeom prst="roundRect">
            <a:avLst>
              <a:gd name="adj" fmla="val 4862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Interact when possible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159589D-DAD8-7D85-A782-08432DF8A139}"/>
              </a:ext>
            </a:extLst>
          </p:cNvPr>
          <p:cNvSpPr/>
          <p:nvPr/>
        </p:nvSpPr>
        <p:spPr>
          <a:xfrm>
            <a:off x="2760005" y="2023966"/>
            <a:ext cx="2961526" cy="900567"/>
          </a:xfrm>
          <a:prstGeom prst="roundRect">
            <a:avLst>
              <a:gd name="adj" fmla="val 4862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Engaging desig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1006E18-439A-6F86-92FE-67FB5C04960B}"/>
              </a:ext>
            </a:extLst>
          </p:cNvPr>
          <p:cNvSpPr/>
          <p:nvPr/>
        </p:nvSpPr>
        <p:spPr>
          <a:xfrm>
            <a:off x="8557741" y="1984535"/>
            <a:ext cx="2858108" cy="900567"/>
          </a:xfrm>
          <a:prstGeom prst="roundRect">
            <a:avLst>
              <a:gd name="adj" fmla="val 4862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Less = More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652295B-D6EE-6F73-6181-A7D38D294AAF}"/>
              </a:ext>
            </a:extLst>
          </p:cNvPr>
          <p:cNvSpPr/>
          <p:nvPr/>
        </p:nvSpPr>
        <p:spPr>
          <a:xfrm>
            <a:off x="2760005" y="3168306"/>
            <a:ext cx="2961526" cy="900567"/>
          </a:xfrm>
          <a:prstGeom prst="roundRect">
            <a:avLst>
              <a:gd name="adj" fmla="val 4862"/>
            </a:avLst>
          </a:prstGeom>
          <a:solidFill>
            <a:srgbClr val="FFC000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 b="1">
                <a:solidFill>
                  <a:schemeClr val="tx1"/>
                </a:solidFill>
                <a:latin typeface="Ink Free" panose="03080402000500000000" pitchFamily="66" charset="0"/>
              </a:rPr>
              <a:t>Mind your body language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0564D4CD-938C-365F-5918-2C5E797CB91B}"/>
              </a:ext>
            </a:extLst>
          </p:cNvPr>
          <p:cNvSpPr/>
          <p:nvPr/>
        </p:nvSpPr>
        <p:spPr>
          <a:xfrm>
            <a:off x="8557741" y="3128875"/>
            <a:ext cx="2858108" cy="900567"/>
          </a:xfrm>
          <a:prstGeom prst="roundRect">
            <a:avLst>
              <a:gd name="adj" fmla="val 4862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Slow down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952F56C-C96C-F5DF-66E8-EB53DE6A2E0F}"/>
              </a:ext>
            </a:extLst>
          </p:cNvPr>
          <p:cNvSpPr/>
          <p:nvPr/>
        </p:nvSpPr>
        <p:spPr>
          <a:xfrm>
            <a:off x="2760005" y="4317838"/>
            <a:ext cx="2961526" cy="900567"/>
          </a:xfrm>
          <a:prstGeom prst="roundRect">
            <a:avLst>
              <a:gd name="adj" fmla="val 4862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Practice, practice, Practice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1049822D-EDDA-0C4A-7397-620A9F1A1634}"/>
              </a:ext>
            </a:extLst>
          </p:cNvPr>
          <p:cNvSpPr/>
          <p:nvPr/>
        </p:nvSpPr>
        <p:spPr>
          <a:xfrm>
            <a:off x="8557741" y="4278407"/>
            <a:ext cx="2858108" cy="900567"/>
          </a:xfrm>
          <a:prstGeom prst="roundRect">
            <a:avLst>
              <a:gd name="adj" fmla="val 4862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KISS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544B9AD-C87C-9D30-9B0D-CEFEFA9F3CF0}"/>
              </a:ext>
            </a:extLst>
          </p:cNvPr>
          <p:cNvSpPr/>
          <p:nvPr/>
        </p:nvSpPr>
        <p:spPr>
          <a:xfrm>
            <a:off x="2811714" y="5467369"/>
            <a:ext cx="2961526" cy="900567"/>
          </a:xfrm>
          <a:prstGeom prst="roundRect">
            <a:avLst>
              <a:gd name="adj" fmla="val 4862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Know the audience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97D239E2-B9EE-9DD4-B68E-38A69B28040A}"/>
              </a:ext>
            </a:extLst>
          </p:cNvPr>
          <p:cNvSpPr/>
          <p:nvPr/>
        </p:nvSpPr>
        <p:spPr>
          <a:xfrm>
            <a:off x="8609450" y="5427938"/>
            <a:ext cx="2858108" cy="900567"/>
          </a:xfrm>
          <a:prstGeom prst="roundRect">
            <a:avLst>
              <a:gd name="adj" fmla="val 4862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2800">
                <a:solidFill>
                  <a:schemeClr val="tx1"/>
                </a:solidFill>
                <a:latin typeface="Ink Free" panose="03080402000500000000" pitchFamily="66" charset="0"/>
              </a:rPr>
              <a:t>Level with the audience</a:t>
            </a:r>
          </a:p>
        </p:txBody>
      </p:sp>
    </p:spTree>
    <p:extLst>
      <p:ext uri="{BB962C8B-B14F-4D97-AF65-F5344CB8AC3E}">
        <p14:creationId xmlns:p14="http://schemas.microsoft.com/office/powerpoint/2010/main" val="13900888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E9B50FE9-2F30-5CFB-3BBC-119C119D6B53}"/>
              </a:ext>
            </a:extLst>
          </p:cNvPr>
          <p:cNvSpPr/>
          <p:nvPr/>
        </p:nvSpPr>
        <p:spPr>
          <a:xfrm>
            <a:off x="3279579" y="1459953"/>
            <a:ext cx="3109832" cy="4793495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>
                <a:solidFill>
                  <a:srgbClr val="C00000"/>
                </a:solidFill>
                <a:latin typeface="Ink Free" panose="03080402000500000000" pitchFamily="66" charset="0"/>
              </a:rPr>
              <a:t>93%</a:t>
            </a:r>
          </a:p>
          <a:p>
            <a:pPr>
              <a:spcAft>
                <a:spcPts val="600"/>
              </a:spcAft>
            </a:pPr>
            <a:r>
              <a:rPr lang="en-US" sz="2000" b="1">
                <a:solidFill>
                  <a:srgbClr val="C00000"/>
                </a:solidFill>
                <a:latin typeface="Ink Free" panose="03080402000500000000" pitchFamily="66" charset="0"/>
              </a:rPr>
              <a:t>Non-verbal: music</a:t>
            </a:r>
            <a:br>
              <a:rPr lang="en-US" sz="2000" b="1">
                <a:solidFill>
                  <a:srgbClr val="C00000"/>
                </a:solidFill>
                <a:latin typeface="Ink Free" panose="03080402000500000000" pitchFamily="66" charset="0"/>
              </a:rPr>
            </a:br>
            <a:r>
              <a:rPr lang="en-US" sz="2000" b="1">
                <a:solidFill>
                  <a:srgbClr val="C00000"/>
                </a:solidFill>
                <a:latin typeface="Ink Free" panose="03080402000500000000" pitchFamily="66" charset="0"/>
              </a:rPr>
              <a:t>and dance</a:t>
            </a:r>
            <a:endParaRPr lang="en-US" b="1">
              <a:solidFill>
                <a:srgbClr val="C00000"/>
              </a:solidFill>
              <a:latin typeface="Ink Free" panose="03080402000500000000" pitchFamily="66" charset="0"/>
            </a:endParaRPr>
          </a:p>
        </p:txBody>
      </p:sp>
      <p:pic>
        <p:nvPicPr>
          <p:cNvPr id="40" name="Picture 39" descr="Shape, circle&#10;&#10;Description automatically generated">
            <a:extLst>
              <a:ext uri="{FF2B5EF4-FFF2-40B4-BE49-F238E27FC236}">
                <a16:creationId xmlns:a16="http://schemas.microsoft.com/office/drawing/2014/main" id="{9C53335A-8F82-C436-38DF-7C920CD1A52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24604F-0584-E5D9-82DB-75072003E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HOW WE COMMUNICATE</a:t>
            </a:r>
          </a:p>
        </p:txBody>
      </p:sp>
      <p:sp>
        <p:nvSpPr>
          <p:cNvPr id="8" name="Rounded Rectangle 15">
            <a:extLst>
              <a:ext uri="{FF2B5EF4-FFF2-40B4-BE49-F238E27FC236}">
                <a16:creationId xmlns:a16="http://schemas.microsoft.com/office/drawing/2014/main" id="{6F7B86D7-7A37-0500-2DEF-E5265DCAF161}"/>
              </a:ext>
            </a:extLst>
          </p:cNvPr>
          <p:cNvSpPr/>
          <p:nvPr/>
        </p:nvSpPr>
        <p:spPr>
          <a:xfrm>
            <a:off x="8710952" y="1162051"/>
            <a:ext cx="2733151" cy="1292742"/>
          </a:xfrm>
          <a:prstGeom prst="roundRect">
            <a:avLst>
              <a:gd name="adj" fmla="val 8762"/>
            </a:avLst>
          </a:prstGeom>
          <a:solidFill>
            <a:schemeClr val="bg1"/>
          </a:solidFill>
          <a:ln>
            <a:solidFill>
              <a:srgbClr val="FFC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72000" tIns="36000" rIns="72000" bIns="36000" rtlCol="0" anchor="t">
            <a:spAutoFit/>
          </a:bodyPr>
          <a:lstStyle/>
          <a:p>
            <a:r>
              <a:rPr lang="en-US" sz="1600">
                <a:solidFill>
                  <a:schemeClr val="tx1"/>
                </a:solidFill>
              </a:rPr>
              <a:t>Verbal (words)</a:t>
            </a:r>
          </a:p>
        </p:txBody>
      </p:sp>
      <p:sp>
        <p:nvSpPr>
          <p:cNvPr id="9" name="Rounded Rectangle 16">
            <a:extLst>
              <a:ext uri="{FF2B5EF4-FFF2-40B4-BE49-F238E27FC236}">
                <a16:creationId xmlns:a16="http://schemas.microsoft.com/office/drawing/2014/main" id="{B24013EA-E37D-EE31-472B-1AD0232201EB}"/>
              </a:ext>
            </a:extLst>
          </p:cNvPr>
          <p:cNvSpPr/>
          <p:nvPr/>
        </p:nvSpPr>
        <p:spPr>
          <a:xfrm>
            <a:off x="8698555" y="2907910"/>
            <a:ext cx="2733151" cy="1292742"/>
          </a:xfrm>
          <a:prstGeom prst="roundRect">
            <a:avLst>
              <a:gd name="adj" fmla="val 6390"/>
            </a:avLst>
          </a:prstGeom>
          <a:solidFill>
            <a:schemeClr val="bg1"/>
          </a:solidFill>
          <a:ln>
            <a:solidFill>
              <a:srgbClr val="FFC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72000" tIns="36000" rIns="72000" bIns="36000" rtlCol="0" anchor="t">
            <a:spAutoFit/>
          </a:bodyPr>
          <a:lstStyle/>
          <a:p>
            <a:r>
              <a:rPr lang="en-US" sz="1600">
                <a:solidFill>
                  <a:schemeClr val="tx1"/>
                </a:solidFill>
              </a:rPr>
              <a:t>Vocal (tone)</a:t>
            </a:r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DC372CDC-B089-E6FD-0A7A-CA61E047D286}"/>
              </a:ext>
            </a:extLst>
          </p:cNvPr>
          <p:cNvSpPr/>
          <p:nvPr/>
        </p:nvSpPr>
        <p:spPr>
          <a:xfrm>
            <a:off x="8698555" y="4701884"/>
            <a:ext cx="2733151" cy="1292742"/>
          </a:xfrm>
          <a:prstGeom prst="roundRect">
            <a:avLst>
              <a:gd name="adj" fmla="val 8762"/>
            </a:avLst>
          </a:prstGeom>
          <a:solidFill>
            <a:schemeClr val="bg1"/>
          </a:solidFill>
          <a:ln>
            <a:solidFill>
              <a:srgbClr val="FFC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72000" tIns="36000" rIns="72000" bIns="36000" rtlCol="0" anchor="t">
            <a:spAutoFit/>
          </a:bodyPr>
          <a:lstStyle/>
          <a:p>
            <a:r>
              <a:rPr lang="en-US" sz="1600">
                <a:solidFill>
                  <a:schemeClr val="tx1"/>
                </a:solidFill>
              </a:rPr>
              <a:t>Body language</a:t>
            </a:r>
          </a:p>
        </p:txBody>
      </p:sp>
      <p:sp>
        <p:nvSpPr>
          <p:cNvPr id="12" name="Rounded Rectangle 21">
            <a:extLst>
              <a:ext uri="{FF2B5EF4-FFF2-40B4-BE49-F238E27FC236}">
                <a16:creationId xmlns:a16="http://schemas.microsoft.com/office/drawing/2014/main" id="{3A921152-C0DE-554B-A6E9-4DCA03BE5614}"/>
              </a:ext>
            </a:extLst>
          </p:cNvPr>
          <p:cNvSpPr/>
          <p:nvPr/>
        </p:nvSpPr>
        <p:spPr>
          <a:xfrm>
            <a:off x="8708713" y="1190626"/>
            <a:ext cx="2733151" cy="501909"/>
          </a:xfrm>
          <a:prstGeom prst="roundRect">
            <a:avLst>
              <a:gd name="adj" fmla="val 42193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72000" tIns="36000" rIns="72000" bIns="36000" rtlCol="0" anchor="t">
            <a:spAutoFit/>
          </a:bodyPr>
          <a:lstStyle/>
          <a:p>
            <a:r>
              <a:rPr lang="en-US" sz="2000" b="1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Verbal (words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E1FF18-B1E5-7C99-B5D7-CBECB874B565}"/>
              </a:ext>
            </a:extLst>
          </p:cNvPr>
          <p:cNvSpPr txBox="1"/>
          <p:nvPr/>
        </p:nvSpPr>
        <p:spPr>
          <a:xfrm>
            <a:off x="9436840" y="1357712"/>
            <a:ext cx="1138813" cy="117522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n-US" sz="4800" b="1">
                <a:latin typeface="Ink Free" panose="03080402000500000000" pitchFamily="66" charset="0"/>
              </a:rPr>
              <a:t>7%</a:t>
            </a:r>
          </a:p>
        </p:txBody>
      </p:sp>
      <p:sp>
        <p:nvSpPr>
          <p:cNvPr id="15" name="Rounded Rectangle 22">
            <a:extLst>
              <a:ext uri="{FF2B5EF4-FFF2-40B4-BE49-F238E27FC236}">
                <a16:creationId xmlns:a16="http://schemas.microsoft.com/office/drawing/2014/main" id="{2B79366F-A954-A2B7-D094-D2D42B20DB5B}"/>
              </a:ext>
            </a:extLst>
          </p:cNvPr>
          <p:cNvSpPr/>
          <p:nvPr/>
        </p:nvSpPr>
        <p:spPr>
          <a:xfrm>
            <a:off x="8696316" y="2936484"/>
            <a:ext cx="2733151" cy="487191"/>
          </a:xfrm>
          <a:prstGeom prst="roundRect">
            <a:avLst>
              <a:gd name="adj" fmla="val 3801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72000" tIns="36000" rIns="72000" bIns="36000" rtlCol="0" anchor="t">
            <a:spAutoFit/>
          </a:bodyPr>
          <a:lstStyle/>
          <a:p>
            <a:r>
              <a:rPr lang="en-US" sz="2000" b="1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Vocal / tone (music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0CCA95-C166-3EEF-5855-C5E016B6BF30}"/>
              </a:ext>
            </a:extLst>
          </p:cNvPr>
          <p:cNvSpPr txBox="1"/>
          <p:nvPr/>
        </p:nvSpPr>
        <p:spPr>
          <a:xfrm>
            <a:off x="9417564" y="3155262"/>
            <a:ext cx="1138813" cy="117522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n-US" sz="4800" b="1">
                <a:latin typeface="Ink Free" panose="03080402000500000000" pitchFamily="66" charset="0"/>
              </a:rPr>
              <a:t>38%</a:t>
            </a:r>
          </a:p>
        </p:txBody>
      </p:sp>
      <p:sp>
        <p:nvSpPr>
          <p:cNvPr id="18" name="Rounded Rectangle 23">
            <a:extLst>
              <a:ext uri="{FF2B5EF4-FFF2-40B4-BE49-F238E27FC236}">
                <a16:creationId xmlns:a16="http://schemas.microsoft.com/office/drawing/2014/main" id="{24F9CAAD-7724-63CB-7E9B-016A270B88A2}"/>
              </a:ext>
            </a:extLst>
          </p:cNvPr>
          <p:cNvSpPr/>
          <p:nvPr/>
        </p:nvSpPr>
        <p:spPr>
          <a:xfrm>
            <a:off x="8696316" y="4730459"/>
            <a:ext cx="2733151" cy="476152"/>
          </a:xfrm>
          <a:prstGeom prst="roundRect">
            <a:avLst>
              <a:gd name="adj" fmla="val 3503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72000" tIns="36000" rIns="72000" bIns="36000" rtlCol="0" anchor="t">
            <a:spAutoFit/>
          </a:bodyPr>
          <a:lstStyle/>
          <a:p>
            <a:r>
              <a:rPr lang="en-US" sz="2000" b="1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Body language (dance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CD468E2-931F-D34E-A1B7-E2C646CB80A4}"/>
              </a:ext>
            </a:extLst>
          </p:cNvPr>
          <p:cNvSpPr txBox="1"/>
          <p:nvPr/>
        </p:nvSpPr>
        <p:spPr>
          <a:xfrm>
            <a:off x="9436840" y="4941535"/>
            <a:ext cx="1138813" cy="117521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n-US" sz="4800" b="1">
                <a:latin typeface="Ink Free" panose="03080402000500000000" pitchFamily="66" charset="0"/>
              </a:rPr>
              <a:t>55%</a:t>
            </a:r>
          </a:p>
        </p:txBody>
      </p:sp>
      <p:pic>
        <p:nvPicPr>
          <p:cNvPr id="21" name="Picture 2" descr="C:\Users\hageliss\AppData\Local\Temp\1\SNAGHTMLd26bcc.PNG">
            <a:extLst>
              <a:ext uri="{FF2B5EF4-FFF2-40B4-BE49-F238E27FC236}">
                <a16:creationId xmlns:a16="http://schemas.microsoft.com/office/drawing/2014/main" id="{47890AF8-139E-1020-AEC1-5D682F2BDB8E}"/>
              </a:ext>
            </a:extLst>
          </p:cNvPr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89577" y="3064173"/>
            <a:ext cx="911050" cy="940176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C:\Users\hageliss\AppData\Local\Temp\1\SNAGHTMLd3f28b.PNG">
            <a:extLst>
              <a:ext uri="{FF2B5EF4-FFF2-40B4-BE49-F238E27FC236}">
                <a16:creationId xmlns:a16="http://schemas.microsoft.com/office/drawing/2014/main" id="{2603C873-DABF-4776-5E9F-2664168406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99163" y="1305882"/>
            <a:ext cx="920740" cy="940176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 descr="C:\Users\hageliss\AppData\Local\Temp\1\SNAGHTMLd5f996.PNG">
            <a:extLst>
              <a:ext uri="{FF2B5EF4-FFF2-40B4-BE49-F238E27FC236}">
                <a16:creationId xmlns:a16="http://schemas.microsoft.com/office/drawing/2014/main" id="{CFB94054-7458-CCA2-4606-E362DC3106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190" y="4865955"/>
            <a:ext cx="890714" cy="940176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479B843-298D-A74B-2670-F90270C9BC9B}"/>
              </a:ext>
            </a:extLst>
          </p:cNvPr>
          <p:cNvCxnSpPr/>
          <p:nvPr/>
        </p:nvCxnSpPr>
        <p:spPr>
          <a:xfrm>
            <a:off x="1144630" y="1162051"/>
            <a:ext cx="24079" cy="5118326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ABFA548-1F32-426F-8DB8-6941EFD7157B}"/>
              </a:ext>
            </a:extLst>
          </p:cNvPr>
          <p:cNvCxnSpPr/>
          <p:nvPr/>
        </p:nvCxnSpPr>
        <p:spPr>
          <a:xfrm flipH="1" flipV="1">
            <a:off x="1156714" y="6268225"/>
            <a:ext cx="5550383" cy="12152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D13F0A7-9CA4-672C-F433-E278A3484918}"/>
              </a:ext>
            </a:extLst>
          </p:cNvPr>
          <p:cNvSpPr txBox="1"/>
          <p:nvPr/>
        </p:nvSpPr>
        <p:spPr>
          <a:xfrm>
            <a:off x="276180" y="1264183"/>
            <a:ext cx="766391" cy="14582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ct val="110000"/>
              </a:lnSpc>
              <a:spcAft>
                <a:spcPts val="2100"/>
              </a:spcAft>
            </a:pPr>
            <a:r>
              <a:rPr lang="en-US" sz="1400" b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100%</a:t>
            </a:r>
          </a:p>
          <a:p>
            <a:pPr algn="r">
              <a:lnSpc>
                <a:spcPct val="110000"/>
              </a:lnSpc>
              <a:spcAft>
                <a:spcPts val="2100"/>
              </a:spcAft>
            </a:pPr>
            <a:r>
              <a:rPr lang="en-US" sz="1400" b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90%</a:t>
            </a:r>
          </a:p>
          <a:p>
            <a:pPr algn="r">
              <a:lnSpc>
                <a:spcPct val="110000"/>
              </a:lnSpc>
              <a:spcAft>
                <a:spcPts val="2100"/>
              </a:spcAft>
            </a:pPr>
            <a:r>
              <a:rPr lang="en-US" sz="1400" b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80 %</a:t>
            </a:r>
          </a:p>
          <a:p>
            <a:pPr algn="r">
              <a:lnSpc>
                <a:spcPct val="110000"/>
              </a:lnSpc>
              <a:spcAft>
                <a:spcPts val="2100"/>
              </a:spcAft>
            </a:pPr>
            <a:r>
              <a:rPr lang="en-US" sz="1400" b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70%</a:t>
            </a:r>
          </a:p>
          <a:p>
            <a:pPr algn="r">
              <a:lnSpc>
                <a:spcPct val="110000"/>
              </a:lnSpc>
              <a:spcAft>
                <a:spcPts val="2100"/>
              </a:spcAft>
            </a:pPr>
            <a:r>
              <a:rPr lang="en-US" sz="1400" b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60 %</a:t>
            </a:r>
          </a:p>
          <a:p>
            <a:pPr algn="r">
              <a:lnSpc>
                <a:spcPct val="110000"/>
              </a:lnSpc>
              <a:spcAft>
                <a:spcPts val="2100"/>
              </a:spcAft>
            </a:pPr>
            <a:r>
              <a:rPr lang="en-US" sz="1400" b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50 %</a:t>
            </a:r>
          </a:p>
          <a:p>
            <a:pPr algn="r">
              <a:lnSpc>
                <a:spcPct val="110000"/>
              </a:lnSpc>
              <a:spcAft>
                <a:spcPts val="2100"/>
              </a:spcAft>
            </a:pPr>
            <a:r>
              <a:rPr lang="en-US" sz="1400" b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40 %</a:t>
            </a:r>
          </a:p>
          <a:p>
            <a:pPr algn="r">
              <a:lnSpc>
                <a:spcPct val="110000"/>
              </a:lnSpc>
              <a:spcAft>
                <a:spcPts val="2100"/>
              </a:spcAft>
            </a:pPr>
            <a:r>
              <a:rPr lang="en-US" sz="1400" b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30 %</a:t>
            </a:r>
          </a:p>
          <a:p>
            <a:pPr algn="r">
              <a:lnSpc>
                <a:spcPct val="110000"/>
              </a:lnSpc>
              <a:spcAft>
                <a:spcPts val="2100"/>
              </a:spcAft>
            </a:pPr>
            <a:r>
              <a:rPr lang="en-US" sz="1400" b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20 %</a:t>
            </a:r>
          </a:p>
          <a:p>
            <a:pPr algn="r">
              <a:lnSpc>
                <a:spcPct val="110000"/>
              </a:lnSpc>
              <a:spcAft>
                <a:spcPts val="2100"/>
              </a:spcAft>
            </a:pPr>
            <a:r>
              <a:rPr lang="en-US" sz="1400" b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10 %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786D31-61EE-AC83-2327-35CFC01ABD1F}"/>
              </a:ext>
            </a:extLst>
          </p:cNvPr>
          <p:cNvGrpSpPr/>
          <p:nvPr/>
        </p:nvGrpSpPr>
        <p:grpSpPr>
          <a:xfrm>
            <a:off x="3487545" y="3585678"/>
            <a:ext cx="926966" cy="2667769"/>
            <a:chOff x="2077155" y="2748423"/>
            <a:chExt cx="586675" cy="1672824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41A45424-9CDC-A949-871A-C49752CBBEAF}"/>
                </a:ext>
              </a:extLst>
            </p:cNvPr>
            <p:cNvSpPr/>
            <p:nvPr/>
          </p:nvSpPr>
          <p:spPr>
            <a:xfrm>
              <a:off x="2081501" y="3329940"/>
              <a:ext cx="582329" cy="1091307"/>
            </a:xfrm>
            <a:prstGeom prst="roundRect">
              <a:avLst>
                <a:gd name="adj" fmla="val 7350"/>
              </a:avLst>
            </a:prstGeom>
            <a:solidFill>
              <a:srgbClr val="FFF0B2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36000" rIns="72000" bIns="36000" rtlCol="0" anchor="t">
              <a:spAutoFit/>
            </a:bodyPr>
            <a:lstStyle/>
            <a:p>
              <a:pPr algn="l"/>
              <a:endParaRPr lang="en-US" sz="1200" err="1">
                <a:solidFill>
                  <a:schemeClr val="tx1"/>
                </a:solidFill>
              </a:endParaRPr>
            </a:p>
          </p:txBody>
        </p:sp>
        <p:pic>
          <p:nvPicPr>
            <p:cNvPr id="26" name="Picture 2" descr="C:\Users\hageliss\AppData\Local\Temp\1\SNAGHTMLd26bcc.PNG">
              <a:extLst>
                <a:ext uri="{FF2B5EF4-FFF2-40B4-BE49-F238E27FC236}">
                  <a16:creationId xmlns:a16="http://schemas.microsoft.com/office/drawing/2014/main" id="{6EC8BA04-8C0E-10F7-33B1-7F5FF21D0656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 cstate="email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7155" y="2748423"/>
              <a:ext cx="586675" cy="526913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1E0EED0-8939-7D64-D05F-8CE55C47371B}"/>
              </a:ext>
            </a:extLst>
          </p:cNvPr>
          <p:cNvGrpSpPr/>
          <p:nvPr/>
        </p:nvGrpSpPr>
        <p:grpSpPr>
          <a:xfrm>
            <a:off x="1735341" y="4947557"/>
            <a:ext cx="941310" cy="1305891"/>
            <a:chOff x="907231" y="3608361"/>
            <a:chExt cx="595752" cy="818859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0972F7A-DD7E-E382-1DC7-F26E15E7CBB5}"/>
                </a:ext>
              </a:extLst>
            </p:cNvPr>
            <p:cNvSpPr/>
            <p:nvPr/>
          </p:nvSpPr>
          <p:spPr>
            <a:xfrm>
              <a:off x="920650" y="4244340"/>
              <a:ext cx="582333" cy="182880"/>
            </a:xfrm>
            <a:prstGeom prst="roundRect">
              <a:avLst/>
            </a:prstGeom>
            <a:solidFill>
              <a:srgbClr val="FFF0B2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>
              <a:spAutoFit/>
            </a:bodyPr>
            <a:lstStyle/>
            <a:p>
              <a:pPr algn="l"/>
              <a:endParaRPr lang="en-US" sz="1200" err="1">
                <a:solidFill>
                  <a:schemeClr val="tx1"/>
                </a:solidFill>
              </a:endParaRPr>
            </a:p>
          </p:txBody>
        </p:sp>
        <p:pic>
          <p:nvPicPr>
            <p:cNvPr id="29" name="Picture 4" descr="C:\Users\hageliss\AppData\Local\Temp\1\SNAGHTMLd3f28b.PNG">
              <a:extLst>
                <a:ext uri="{FF2B5EF4-FFF2-40B4-BE49-F238E27FC236}">
                  <a16:creationId xmlns:a16="http://schemas.microsoft.com/office/drawing/2014/main" id="{9401CFCE-E210-CC0D-6585-E0FE1C25A0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31" y="3608361"/>
              <a:ext cx="592915" cy="586675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3B916E8-4937-4349-AA89-6E390B050138}"/>
              </a:ext>
            </a:extLst>
          </p:cNvPr>
          <p:cNvGrpSpPr/>
          <p:nvPr/>
        </p:nvGrpSpPr>
        <p:grpSpPr>
          <a:xfrm>
            <a:off x="5279021" y="2631903"/>
            <a:ext cx="922137" cy="3621544"/>
            <a:chOff x="3210972" y="2149753"/>
            <a:chExt cx="583617" cy="2270888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53C02E9E-1AC0-752E-35F1-53C2BA2A514B}"/>
                </a:ext>
              </a:extLst>
            </p:cNvPr>
            <p:cNvSpPr/>
            <p:nvPr/>
          </p:nvSpPr>
          <p:spPr>
            <a:xfrm>
              <a:off x="3210972" y="2780573"/>
              <a:ext cx="583277" cy="1640068"/>
            </a:xfrm>
            <a:prstGeom prst="roundRect">
              <a:avLst>
                <a:gd name="adj" fmla="val 8506"/>
              </a:avLst>
            </a:prstGeom>
            <a:solidFill>
              <a:srgbClr val="FFF0B2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36000" rIns="72000" bIns="36000" rtlCol="0" anchor="t">
              <a:spAutoFit/>
            </a:bodyPr>
            <a:lstStyle/>
            <a:p>
              <a:pPr algn="l"/>
              <a:endParaRPr lang="en-US" sz="1200" err="1">
                <a:solidFill>
                  <a:schemeClr val="tx1"/>
                </a:solidFill>
              </a:endParaRPr>
            </a:p>
          </p:txBody>
        </p:sp>
        <p:pic>
          <p:nvPicPr>
            <p:cNvPr id="32" name="Picture 6" descr="C:\Users\hageliss\AppData\Local\Temp\1\SNAGHTMLd5f996.PNG">
              <a:extLst>
                <a:ext uri="{FF2B5EF4-FFF2-40B4-BE49-F238E27FC236}">
                  <a16:creationId xmlns:a16="http://schemas.microsoft.com/office/drawing/2014/main" id="{72F5D36F-8FCF-8889-CA6B-593D81753D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email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1009" y="2149753"/>
              <a:ext cx="573580" cy="586676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2C9B95E1-8539-C731-172D-40B6D88CEB31}"/>
              </a:ext>
            </a:extLst>
          </p:cNvPr>
          <p:cNvSpPr txBox="1"/>
          <p:nvPr/>
        </p:nvSpPr>
        <p:spPr>
          <a:xfrm>
            <a:off x="9417563" y="3159153"/>
            <a:ext cx="1138813" cy="117522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n-US" sz="4800" b="1">
                <a:solidFill>
                  <a:srgbClr val="C00000"/>
                </a:solidFill>
                <a:latin typeface="Ink Free" panose="03080402000500000000" pitchFamily="66" charset="0"/>
              </a:rPr>
              <a:t>38%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81F77AE-9F52-C6A7-C596-8C3D6F22C751}"/>
              </a:ext>
            </a:extLst>
          </p:cNvPr>
          <p:cNvSpPr txBox="1"/>
          <p:nvPr/>
        </p:nvSpPr>
        <p:spPr>
          <a:xfrm>
            <a:off x="9436840" y="4937175"/>
            <a:ext cx="1138813" cy="117521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n-US" sz="4800" b="1">
                <a:solidFill>
                  <a:srgbClr val="C00000"/>
                </a:solidFill>
                <a:latin typeface="Ink Free" panose="03080402000500000000" pitchFamily="66" charset="0"/>
              </a:rPr>
              <a:t>55%</a:t>
            </a:r>
          </a:p>
        </p:txBody>
      </p:sp>
    </p:spTree>
    <p:extLst>
      <p:ext uri="{BB962C8B-B14F-4D97-AF65-F5344CB8AC3E}">
        <p14:creationId xmlns:p14="http://schemas.microsoft.com/office/powerpoint/2010/main" val="17631992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13" grpId="0"/>
      <p:bldP spid="16" grpId="0"/>
      <p:bldP spid="19" grpId="0"/>
      <p:bldP spid="41" grpId="0"/>
      <p:bldP spid="42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FA9F76-FFBA-57E9-1BEF-73B28A067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7450" y="5361832"/>
            <a:ext cx="4965699" cy="1038968"/>
          </a:xfrm>
        </p:spPr>
        <p:txBody>
          <a:bodyPr/>
          <a:lstStyle/>
          <a:p>
            <a:r>
              <a:rPr lang="nl-NL"/>
              <a:t>BODY LANGUAGE</a:t>
            </a:r>
          </a:p>
        </p:txBody>
      </p:sp>
    </p:spTree>
    <p:extLst>
      <p:ext uri="{BB962C8B-B14F-4D97-AF65-F5344CB8AC3E}">
        <p14:creationId xmlns:p14="http://schemas.microsoft.com/office/powerpoint/2010/main" val="17268383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23E7EE7-34C0-EFBC-269C-130843D16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CTIVITY - BODYLANGU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5F104A-3A42-737F-ED7C-B012D115CB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/>
              <a:t>Two group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439CC-3446-29B3-C74F-CEE5AAAD8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9600" y="5238900"/>
            <a:ext cx="7740650" cy="525458"/>
          </a:xfrm>
        </p:spPr>
        <p:txBody>
          <a:bodyPr/>
          <a:lstStyle/>
          <a:p>
            <a:r>
              <a:rPr lang="nl-NL" sz="1800"/>
              <a:t>10 minutes to discuss and make notes</a:t>
            </a:r>
          </a:p>
          <a:p>
            <a:r>
              <a:rPr lang="nl-NL" sz="1800"/>
              <a:t>3 minutes FOR each group to present: </a:t>
            </a:r>
            <a:r>
              <a:rPr lang="nl-NL" sz="1800" b="1">
                <a:solidFill>
                  <a:srgbClr val="00AEEF"/>
                </a:solidFill>
              </a:rPr>
              <a:t>ONLY USING BODY LANGUAGE!!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C01923-E4A3-1856-A857-44FF353968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nl-NL"/>
              <a:t>Define </a:t>
            </a:r>
            <a:r>
              <a:rPr lang="nl-NL" b="1">
                <a:solidFill>
                  <a:srgbClr val="00AEEF"/>
                </a:solidFill>
              </a:rPr>
              <a:t>do’s and don’ts </a:t>
            </a:r>
            <a:r>
              <a:rPr lang="nl-NL"/>
              <a:t>for:</a:t>
            </a:r>
          </a:p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 b="1">
                <a:solidFill>
                  <a:srgbClr val="00AEEF"/>
                </a:solidFill>
              </a:rPr>
              <a:t>Group 1</a:t>
            </a:r>
            <a:r>
              <a:rPr lang="nl-NL"/>
              <a:t>: Movement and face (eyes / mouth)</a:t>
            </a:r>
          </a:p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 b="1">
                <a:solidFill>
                  <a:srgbClr val="00AEEF"/>
                </a:solidFill>
              </a:rPr>
              <a:t>Group 2</a:t>
            </a:r>
            <a:r>
              <a:rPr lang="nl-NL"/>
              <a:t>: Posture, hands and arms</a:t>
            </a:r>
          </a:p>
        </p:txBody>
      </p:sp>
    </p:spTree>
    <p:extLst>
      <p:ext uri="{BB962C8B-B14F-4D97-AF65-F5344CB8AC3E}">
        <p14:creationId xmlns:p14="http://schemas.microsoft.com/office/powerpoint/2010/main" val="179629014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7245BFE-F459-28E6-469E-AF2BAA43A0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6123"/>
            <a:ext cx="12192000" cy="6884123"/>
          </a:xfrm>
          <a:prstGeom prst="rect">
            <a:avLst/>
          </a:prstGeom>
        </p:spPr>
      </p:pic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7820AC2B-8975-9D99-C660-CED9851EB31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483027" y="2757044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 descr="Shape, circle&#10;&#10;Description automatically generated">
            <a:extLst>
              <a:ext uri="{FF2B5EF4-FFF2-40B4-BE49-F238E27FC236}">
                <a16:creationId xmlns:a16="http://schemas.microsoft.com/office/drawing/2014/main" id="{0E676CB5-E05F-7055-2D7D-2B12207E61F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24604F-0584-E5D9-82DB-75072003E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POSTUR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CEBDCBB-D242-0765-DF53-32DDEF7E7F88}"/>
              </a:ext>
            </a:extLst>
          </p:cNvPr>
          <p:cNvSpPr/>
          <p:nvPr/>
        </p:nvSpPr>
        <p:spPr>
          <a:xfrm>
            <a:off x="856268" y="2539196"/>
            <a:ext cx="5109104" cy="3812111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Stand in front of projector / screen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Balance from one leg to the other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Stand too close to people</a:t>
            </a:r>
          </a:p>
        </p:txBody>
      </p:sp>
      <p:pic>
        <p:nvPicPr>
          <p:cNvPr id="15" name="Picture 4" descr="C:\Users\hageliss\AppData\Local\Temp\1\SNAGHTML1c8af12.PNG">
            <a:extLst>
              <a:ext uri="{FF2B5EF4-FFF2-40B4-BE49-F238E27FC236}">
                <a16:creationId xmlns:a16="http://schemas.microsoft.com/office/drawing/2014/main" id="{8833BFF9-0AB9-4675-8F50-319762C5E9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667" y="2120272"/>
            <a:ext cx="1089140" cy="1128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4DF18AB-0696-4683-922E-CFE8FDD3BE39}"/>
              </a:ext>
            </a:extLst>
          </p:cNvPr>
          <p:cNvSpPr/>
          <p:nvPr/>
        </p:nvSpPr>
        <p:spPr>
          <a:xfrm>
            <a:off x="6327132" y="2539196"/>
            <a:ext cx="5109104" cy="3812111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Stand up-right (relaxed)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Respect personal space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Face your audience</a:t>
            </a:r>
          </a:p>
        </p:txBody>
      </p:sp>
      <p:pic>
        <p:nvPicPr>
          <p:cNvPr id="14" name="Picture 2" descr="C:\Users\hageliss\AppData\Local\Temp\1\SNAGHTML1c873ed.PNG">
            <a:extLst>
              <a:ext uri="{FF2B5EF4-FFF2-40B4-BE49-F238E27FC236}">
                <a16:creationId xmlns:a16="http://schemas.microsoft.com/office/drawing/2014/main" id="{F251A4CF-ED46-ECDC-C420-7AEB622902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18175" y="2142307"/>
            <a:ext cx="1106158" cy="114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65113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401F501-E34F-A125-19DC-A370E828238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6123"/>
            <a:ext cx="12192000" cy="6884123"/>
          </a:xfrm>
          <a:prstGeom prst="rect">
            <a:avLst/>
          </a:prstGeom>
        </p:spPr>
      </p:pic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AAA4E0F8-ED60-86F6-9AF0-F5886443CB4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483027" y="2757044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 descr="Shape, circle&#10;&#10;Description automatically generated">
            <a:extLst>
              <a:ext uri="{FF2B5EF4-FFF2-40B4-BE49-F238E27FC236}">
                <a16:creationId xmlns:a16="http://schemas.microsoft.com/office/drawing/2014/main" id="{3EBCBBC6-2DC4-A1E3-4007-C074698B5A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AB7C47C-8329-1EC2-C0F5-BB052F6EB9E1}"/>
              </a:ext>
            </a:extLst>
          </p:cNvPr>
          <p:cNvSpPr/>
          <p:nvPr/>
        </p:nvSpPr>
        <p:spPr>
          <a:xfrm>
            <a:off x="856268" y="2539196"/>
            <a:ext cx="5109104" cy="3812111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Scratch, pull pants, tap fingers, play with pen, rub/touch your face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Point fingers</a:t>
            </a:r>
          </a:p>
        </p:txBody>
      </p:sp>
      <p:pic>
        <p:nvPicPr>
          <p:cNvPr id="8" name="Picture 4" descr="C:\Users\hageliss\AppData\Local\Temp\1\SNAGHTML1c8af12.PNG">
            <a:extLst>
              <a:ext uri="{FF2B5EF4-FFF2-40B4-BE49-F238E27FC236}">
                <a16:creationId xmlns:a16="http://schemas.microsoft.com/office/drawing/2014/main" id="{FE52476D-4EDB-9F15-5FC9-C99C7591FC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667" y="2120272"/>
            <a:ext cx="1089140" cy="1128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6FC91A6-3065-0FE9-9E80-DD6312EE65DE}"/>
              </a:ext>
            </a:extLst>
          </p:cNvPr>
          <p:cNvSpPr/>
          <p:nvPr/>
        </p:nvSpPr>
        <p:spPr>
          <a:xfrm>
            <a:off x="6327132" y="2539196"/>
            <a:ext cx="5109104" cy="3812111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Motion to correlate to your words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Open hand gestures</a:t>
            </a:r>
          </a:p>
        </p:txBody>
      </p:sp>
      <p:pic>
        <p:nvPicPr>
          <p:cNvPr id="10" name="Picture 2" descr="C:\Users\hageliss\AppData\Local\Temp\1\SNAGHTML1c873ed.PNG">
            <a:extLst>
              <a:ext uri="{FF2B5EF4-FFF2-40B4-BE49-F238E27FC236}">
                <a16:creationId xmlns:a16="http://schemas.microsoft.com/office/drawing/2014/main" id="{5377F8CD-8019-5C10-29EB-FF54F85B8A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18175" y="2142307"/>
            <a:ext cx="1106158" cy="114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24604F-0584-E5D9-82DB-75072003E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HANDS AND ARMS</a:t>
            </a:r>
          </a:p>
        </p:txBody>
      </p:sp>
    </p:spTree>
    <p:extLst>
      <p:ext uri="{BB962C8B-B14F-4D97-AF65-F5344CB8AC3E}">
        <p14:creationId xmlns:p14="http://schemas.microsoft.com/office/powerpoint/2010/main" val="222226667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1722109-3EE3-BCE4-7550-BAECE8CA2C6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6123"/>
            <a:ext cx="12192000" cy="6884123"/>
          </a:xfrm>
          <a:prstGeom prst="rect">
            <a:avLst/>
          </a:prstGeom>
        </p:spPr>
      </p:pic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A34BB0B3-2D77-5135-6230-0C9EB39800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483027" y="2757044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4A0C4CE2-B868-68B3-9C92-7249400623A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3CCF9B2-32F7-5448-0665-DDA28023E717}"/>
              </a:ext>
            </a:extLst>
          </p:cNvPr>
          <p:cNvSpPr/>
          <p:nvPr/>
        </p:nvSpPr>
        <p:spPr>
          <a:xfrm>
            <a:off x="856268" y="2539196"/>
            <a:ext cx="5109104" cy="3812111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Walk up and down nervously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Move back and forward on camera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Be ‘all over the place’</a:t>
            </a:r>
          </a:p>
        </p:txBody>
      </p:sp>
      <p:pic>
        <p:nvPicPr>
          <p:cNvPr id="6" name="Picture 4" descr="C:\Users\hageliss\AppData\Local\Temp\1\SNAGHTML1c8af12.PNG">
            <a:extLst>
              <a:ext uri="{FF2B5EF4-FFF2-40B4-BE49-F238E27FC236}">
                <a16:creationId xmlns:a16="http://schemas.microsoft.com/office/drawing/2014/main" id="{BB57AA7E-19B6-A5C1-1837-CFAC7F2EF5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667" y="2120272"/>
            <a:ext cx="1089140" cy="1128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7A9F867-E47F-F3CC-369C-E571A2370F53}"/>
              </a:ext>
            </a:extLst>
          </p:cNvPr>
          <p:cNvSpPr/>
          <p:nvPr/>
        </p:nvSpPr>
        <p:spPr>
          <a:xfrm>
            <a:off x="6327132" y="2539196"/>
            <a:ext cx="5109104" cy="3812111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Move with a purpose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Calm and smooth movement only</a:t>
            </a:r>
          </a:p>
        </p:txBody>
      </p:sp>
      <p:pic>
        <p:nvPicPr>
          <p:cNvPr id="8" name="Picture 2" descr="C:\Users\hageliss\AppData\Local\Temp\1\SNAGHTML1c873ed.PNG">
            <a:extLst>
              <a:ext uri="{FF2B5EF4-FFF2-40B4-BE49-F238E27FC236}">
                <a16:creationId xmlns:a16="http://schemas.microsoft.com/office/drawing/2014/main" id="{E8462753-447F-65BA-12AC-2F87971B84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18175" y="2142307"/>
            <a:ext cx="1106158" cy="114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24604F-0584-E5D9-82DB-75072003E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MOVEMENT</a:t>
            </a:r>
          </a:p>
        </p:txBody>
      </p:sp>
    </p:spTree>
    <p:extLst>
      <p:ext uri="{BB962C8B-B14F-4D97-AF65-F5344CB8AC3E}">
        <p14:creationId xmlns:p14="http://schemas.microsoft.com/office/powerpoint/2010/main" val="112152280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EE9A03-9653-23EE-D6C1-D65F9738EE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6123"/>
            <a:ext cx="12192000" cy="6884123"/>
          </a:xfrm>
          <a:prstGeom prst="rect">
            <a:avLst/>
          </a:prstGeom>
        </p:spPr>
      </p:pic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EAFBED3B-660F-C35C-4730-0811699043F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483027" y="2757044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6B846EE6-A70E-AC84-315D-253930571F4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DD763B2-A3A0-E84C-8639-6CFA118EC073}"/>
              </a:ext>
            </a:extLst>
          </p:cNvPr>
          <p:cNvSpPr/>
          <p:nvPr/>
        </p:nvSpPr>
        <p:spPr>
          <a:xfrm>
            <a:off x="856268" y="2539196"/>
            <a:ext cx="5109104" cy="3812111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Chew, drink or eat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Look at the ceiling or the floor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Roll your eyes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Watch at the clock (or cell phone)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Stare at one person or one place only</a:t>
            </a:r>
          </a:p>
        </p:txBody>
      </p:sp>
      <p:pic>
        <p:nvPicPr>
          <p:cNvPr id="6" name="Picture 4" descr="C:\Users\hageliss\AppData\Local\Temp\1\SNAGHTML1c8af12.PNG">
            <a:extLst>
              <a:ext uri="{FF2B5EF4-FFF2-40B4-BE49-F238E27FC236}">
                <a16:creationId xmlns:a16="http://schemas.microsoft.com/office/drawing/2014/main" id="{6E9553B5-DCAC-F2EC-1B34-E3ADB31009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667" y="2120272"/>
            <a:ext cx="1089140" cy="1128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807C684-3A3C-E15F-D3B9-F295FDF3F7DA}"/>
              </a:ext>
            </a:extLst>
          </p:cNvPr>
          <p:cNvSpPr/>
          <p:nvPr/>
        </p:nvSpPr>
        <p:spPr>
          <a:xfrm>
            <a:off x="6327132" y="2539196"/>
            <a:ext cx="5109104" cy="3812111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Drink, when needed, during a natural break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Keep in contact with the entire audience</a:t>
            </a:r>
          </a:p>
          <a:p>
            <a:pPr marL="457200" indent="-457200"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en-US" sz="2400">
                <a:solidFill>
                  <a:schemeClr val="tx1"/>
                </a:solidFill>
                <a:latin typeface="Ink Free" panose="03080402000500000000" pitchFamily="66" charset="0"/>
              </a:rPr>
              <a:t>Use your eyes to invite the audience and show enthusiasm</a:t>
            </a:r>
          </a:p>
        </p:txBody>
      </p:sp>
      <p:pic>
        <p:nvPicPr>
          <p:cNvPr id="8" name="Picture 2" descr="C:\Users\hageliss\AppData\Local\Temp\1\SNAGHTML1c873ed.PNG">
            <a:extLst>
              <a:ext uri="{FF2B5EF4-FFF2-40B4-BE49-F238E27FC236}">
                <a16:creationId xmlns:a16="http://schemas.microsoft.com/office/drawing/2014/main" id="{3DCEB6EC-119F-19BA-34B9-92C6887EB8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18175" y="2142307"/>
            <a:ext cx="1106158" cy="114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24604F-0584-E5D9-82DB-75072003E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FACE (EYES / MOUTH)</a:t>
            </a:r>
          </a:p>
        </p:txBody>
      </p:sp>
    </p:spTree>
    <p:extLst>
      <p:ext uri="{BB962C8B-B14F-4D97-AF65-F5344CB8AC3E}">
        <p14:creationId xmlns:p14="http://schemas.microsoft.com/office/powerpoint/2010/main" val="302458873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opening a curtain&#10;&#10;Description automatically generated with medium confidence">
            <a:extLst>
              <a:ext uri="{FF2B5EF4-FFF2-40B4-BE49-F238E27FC236}">
                <a16:creationId xmlns:a16="http://schemas.microsoft.com/office/drawing/2014/main" id="{2C74D9AE-A86E-EA1A-EB5B-B38E28EF3AD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5" b="7733"/>
          <a:stretch/>
        </p:blipFill>
        <p:spPr>
          <a:xfrm>
            <a:off x="0" y="-16686"/>
            <a:ext cx="12192000" cy="6876838"/>
          </a:xfrm>
          <a:prstGeom prst="rect">
            <a:avLst/>
          </a:prstGeom>
        </p:spPr>
      </p:pic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23997201-C2BB-EEDF-9CFC-46B2AEE76A8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-10575"/>
          <a:stretch/>
        </p:blipFill>
        <p:spPr>
          <a:xfrm rot="16200000">
            <a:off x="-291740" y="2565759"/>
            <a:ext cx="4583981" cy="40005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 descr="Shape, circle&#10;&#10;Description automatically generated">
            <a:extLst>
              <a:ext uri="{FF2B5EF4-FFF2-40B4-BE49-F238E27FC236}">
                <a16:creationId xmlns:a16="http://schemas.microsoft.com/office/drawing/2014/main" id="{0386B313-7B6D-1D19-AD13-6D88CEC2F26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alphaModFix amt="50000"/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" b="-10575"/>
          <a:stretch/>
        </p:blipFill>
        <p:spPr>
          <a:xfrm rot="5400000">
            <a:off x="7899759" y="268724"/>
            <a:ext cx="4583981" cy="40005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B55963-2ED2-C1E7-9ABD-D06F094C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/>
              <a:t>DEALING WITH ANXIETY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048999F-F3AD-2C6B-8A81-AF3CDF7C8D41}"/>
              </a:ext>
            </a:extLst>
          </p:cNvPr>
          <p:cNvSpPr/>
          <p:nvPr/>
        </p:nvSpPr>
        <p:spPr>
          <a:xfrm>
            <a:off x="1932378" y="1919619"/>
            <a:ext cx="7862275" cy="4615543"/>
          </a:xfrm>
          <a:prstGeom prst="roundRect">
            <a:avLst>
              <a:gd name="adj" fmla="val 4862"/>
            </a:avLst>
          </a:prstGeom>
          <a:noFill/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spcAft>
                <a:spcPts val="600"/>
              </a:spcAft>
              <a:buClr>
                <a:schemeClr val="tx1"/>
              </a:buClr>
              <a:buFont typeface="Ink Free" panose="03080402000500000000" pitchFamily="66" charset="0"/>
              <a:buChar char="•"/>
            </a:pPr>
            <a:endParaRPr lang="en-US" sz="2400" b="1">
              <a:solidFill>
                <a:schemeClr val="tx1"/>
              </a:solidFill>
              <a:latin typeface="Ink Free" panose="03080402000500000000" pitchFamily="66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4A8724D-4AA8-B704-85DC-517E27613831}"/>
              </a:ext>
            </a:extLst>
          </p:cNvPr>
          <p:cNvSpPr/>
          <p:nvPr/>
        </p:nvSpPr>
        <p:spPr>
          <a:xfrm>
            <a:off x="340132" y="837950"/>
            <a:ext cx="3398490" cy="1426313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US" sz="2400" b="1">
                <a:solidFill>
                  <a:schemeClr val="tx1"/>
                </a:solidFill>
                <a:latin typeface="Ink Free" panose="03080402000500000000" pitchFamily="66" charset="0"/>
              </a:rPr>
              <a:t>Know your topic and practice (practice makes perfect)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74FC46A-3DF8-C146-0803-295AAF2D5257}"/>
              </a:ext>
            </a:extLst>
          </p:cNvPr>
          <p:cNvSpPr/>
          <p:nvPr/>
        </p:nvSpPr>
        <p:spPr>
          <a:xfrm>
            <a:off x="340132" y="2801077"/>
            <a:ext cx="3398490" cy="1426313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US" sz="2400" b="1">
                <a:solidFill>
                  <a:schemeClr val="tx1"/>
                </a:solidFill>
                <a:latin typeface="Ink Free" panose="03080402000500000000" pitchFamily="66" charset="0"/>
              </a:rPr>
              <a:t>Stress is normal and can even be helpful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D94800F-A47B-4687-8D07-EBD90E5A6273}"/>
              </a:ext>
            </a:extLst>
          </p:cNvPr>
          <p:cNvSpPr/>
          <p:nvPr/>
        </p:nvSpPr>
        <p:spPr>
          <a:xfrm>
            <a:off x="329188" y="4830614"/>
            <a:ext cx="3398490" cy="1426313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US" sz="2400" b="1">
                <a:solidFill>
                  <a:schemeClr val="tx1"/>
                </a:solidFill>
                <a:latin typeface="Ink Free" panose="03080402000500000000" pitchFamily="66" charset="0"/>
              </a:rPr>
              <a:t>Control your breathing, control your voic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6C04B3B-7BC1-1E81-912B-8DF2BBE69EEA}"/>
              </a:ext>
            </a:extLst>
          </p:cNvPr>
          <p:cNvSpPr/>
          <p:nvPr/>
        </p:nvSpPr>
        <p:spPr>
          <a:xfrm>
            <a:off x="8560377" y="840431"/>
            <a:ext cx="3398490" cy="1426313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US" sz="2400" b="1">
                <a:solidFill>
                  <a:schemeClr val="tx1"/>
                </a:solidFill>
                <a:latin typeface="Ink Free" panose="03080402000500000000" pitchFamily="66" charset="0"/>
              </a:rPr>
              <a:t>Take your tim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666D952-41BF-A8C0-F595-49F95AA0898D}"/>
              </a:ext>
            </a:extLst>
          </p:cNvPr>
          <p:cNvSpPr/>
          <p:nvPr/>
        </p:nvSpPr>
        <p:spPr>
          <a:xfrm>
            <a:off x="8560377" y="4830613"/>
            <a:ext cx="3398490" cy="1426313"/>
          </a:xfrm>
          <a:prstGeom prst="roundRect">
            <a:avLst>
              <a:gd name="adj" fmla="val 4862"/>
            </a:avLst>
          </a:prstGeom>
          <a:solidFill>
            <a:srgbClr val="FFFFFF">
              <a:alpha val="72157"/>
            </a:srgb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US" sz="2400" b="1">
                <a:solidFill>
                  <a:schemeClr val="tx1"/>
                </a:solidFill>
                <a:latin typeface="Ink Free" panose="03080402000500000000" pitchFamily="66" charset="0"/>
              </a:rPr>
              <a:t>Envision the first few minutes of your presentation</a:t>
            </a:r>
          </a:p>
        </p:txBody>
      </p:sp>
    </p:spTree>
    <p:extLst>
      <p:ext uri="{BB962C8B-B14F-4D97-AF65-F5344CB8AC3E}">
        <p14:creationId xmlns:p14="http://schemas.microsoft.com/office/powerpoint/2010/main" val="781442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6FC936-E942-4163-A5C5-DC4A16AC4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474064-2DB4-41EA-94B5-D2B62486B2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endParaRPr lang="nl-NL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FEC531B-0E03-E6C0-ADF7-2D821CAE0A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C92F33C-68EC-372D-9F14-EB078E89744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68A0B5-E529-69BC-6FDA-288E3F7093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F89EA13-C2EA-EE08-CA7B-720C2BA1A7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</p:spTree>
    <p:extLst>
      <p:ext uri="{BB962C8B-B14F-4D97-AF65-F5344CB8AC3E}">
        <p14:creationId xmlns:p14="http://schemas.microsoft.com/office/powerpoint/2010/main" val="265236372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493588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85928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31B81E9-663E-E7AB-30DC-D225D3DA8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1</a:t>
            </a:r>
          </a:p>
        </p:txBody>
      </p:sp>
      <p:sp>
        <p:nvSpPr>
          <p:cNvPr id="5" name="Timer bar">
            <a:extLst>
              <a:ext uri="{FF2B5EF4-FFF2-40B4-BE49-F238E27FC236}">
                <a16:creationId xmlns:a16="http://schemas.microsoft.com/office/drawing/2014/main" id="{BC009954-D14D-D7C2-F030-D73DF4D84107}"/>
              </a:ext>
            </a:extLst>
          </p:cNvPr>
          <p:cNvSpPr/>
          <p:nvPr/>
        </p:nvSpPr>
        <p:spPr bwMode="auto">
          <a:xfrm rot="5400000">
            <a:off x="3015746" y="3654403"/>
            <a:ext cx="3710516" cy="1678119"/>
          </a:xfrm>
          <a:prstGeom prst="rect">
            <a:avLst/>
          </a:prstGeom>
          <a:pattFill prst="ltHorz">
            <a:fgClr>
              <a:srgbClr val="C00000"/>
            </a:fgClr>
            <a:bgClr>
              <a:schemeClr val="bg1"/>
            </a:bgClr>
          </a:patt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402AF28-03DC-298D-969E-8D4E7822135F}"/>
              </a:ext>
            </a:extLst>
          </p:cNvPr>
          <p:cNvGrpSpPr/>
          <p:nvPr/>
        </p:nvGrpSpPr>
        <p:grpSpPr>
          <a:xfrm>
            <a:off x="5283281" y="1946127"/>
            <a:ext cx="4630852" cy="4446139"/>
            <a:chOff x="443626" y="-1728722"/>
            <a:chExt cx="4630852" cy="4446139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16EA64CA-5114-3E94-5E03-BCC8C295C077}"/>
                </a:ext>
              </a:extLst>
            </p:cNvPr>
            <p:cNvSpPr/>
            <p:nvPr/>
          </p:nvSpPr>
          <p:spPr>
            <a:xfrm>
              <a:off x="443626" y="-1046022"/>
              <a:ext cx="4015003" cy="3763439"/>
            </a:xfrm>
            <a:prstGeom prst="roundRect">
              <a:avLst>
                <a:gd name="adj" fmla="val 10343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  <p:pic>
          <p:nvPicPr>
            <p:cNvPr id="8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94BBA0CB-84B6-5DE6-CDC8-D2C1121F17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5281" y="-1728722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0205CAD-90E8-480C-A020-ACF5D75A9832}"/>
              </a:ext>
            </a:extLst>
          </p:cNvPr>
          <p:cNvSpPr/>
          <p:nvPr/>
        </p:nvSpPr>
        <p:spPr>
          <a:xfrm>
            <a:off x="495803" y="2600081"/>
            <a:ext cx="4015002" cy="3772964"/>
          </a:xfrm>
          <a:prstGeom prst="roundRect">
            <a:avLst>
              <a:gd name="adj" fmla="val 893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0" name="object 18">
            <a:extLst>
              <a:ext uri="{FF2B5EF4-FFF2-40B4-BE49-F238E27FC236}">
                <a16:creationId xmlns:a16="http://schemas.microsoft.com/office/drawing/2014/main" id="{6063235E-F6ED-A4AE-7E4A-DBE89CFC62C7}"/>
              </a:ext>
            </a:extLst>
          </p:cNvPr>
          <p:cNvSpPr txBox="1"/>
          <p:nvPr/>
        </p:nvSpPr>
        <p:spPr>
          <a:xfrm>
            <a:off x="880787" y="1232610"/>
            <a:ext cx="7522541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When presenting, why is it important to know your audience?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7C961A-E2BD-43D7-E847-EBCB9ED0FD7F}"/>
              </a:ext>
            </a:extLst>
          </p:cNvPr>
          <p:cNvSpPr/>
          <p:nvPr/>
        </p:nvSpPr>
        <p:spPr>
          <a:xfrm>
            <a:off x="546100" y="3192234"/>
            <a:ext cx="3823305" cy="267765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 algn="ctr">
              <a:spcAft>
                <a:spcPts val="600"/>
              </a:spcAft>
            </a:pPr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If you know the audience, you can have good fun with them and maybe there are some friends of yours in the audienc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5F54406-0B44-311E-D72D-0189D9472A9F}"/>
              </a:ext>
            </a:extLst>
          </p:cNvPr>
          <p:cNvSpPr/>
          <p:nvPr/>
        </p:nvSpPr>
        <p:spPr>
          <a:xfrm>
            <a:off x="5283281" y="2638204"/>
            <a:ext cx="4015002" cy="3772964"/>
          </a:xfrm>
          <a:prstGeom prst="roundRect">
            <a:avLst>
              <a:gd name="adj" fmla="val 9940"/>
            </a:avLst>
          </a:prstGeom>
          <a:solidFill>
            <a:srgbClr val="D2EE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1FAF3C-0604-EAA1-2C17-9A9D9C820405}"/>
              </a:ext>
            </a:extLst>
          </p:cNvPr>
          <p:cNvSpPr/>
          <p:nvPr/>
        </p:nvSpPr>
        <p:spPr>
          <a:xfrm>
            <a:off x="5422900" y="3407679"/>
            <a:ext cx="3823305" cy="224676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 algn="ctr">
              <a:spcAft>
                <a:spcPts val="600"/>
              </a:spcAft>
            </a:pPr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Knowing the audience enables you to tailor your presentation towards their level and information needs</a:t>
            </a:r>
          </a:p>
        </p:txBody>
      </p:sp>
    </p:spTree>
    <p:extLst>
      <p:ext uri="{BB962C8B-B14F-4D97-AF65-F5344CB8AC3E}">
        <p14:creationId xmlns:p14="http://schemas.microsoft.com/office/powerpoint/2010/main" val="469044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10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14D61999-1DB5-A647-4AA7-5895CA50C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2</a:t>
            </a:r>
          </a:p>
        </p:txBody>
      </p:sp>
      <p:sp>
        <p:nvSpPr>
          <p:cNvPr id="4" name="Timer bar">
            <a:extLst>
              <a:ext uri="{FF2B5EF4-FFF2-40B4-BE49-F238E27FC236}">
                <a16:creationId xmlns:a16="http://schemas.microsoft.com/office/drawing/2014/main" id="{E85E0410-DF0A-00DF-5B28-EBFF7165556B}"/>
              </a:ext>
            </a:extLst>
          </p:cNvPr>
          <p:cNvSpPr/>
          <p:nvPr/>
        </p:nvSpPr>
        <p:spPr bwMode="auto">
          <a:xfrm rot="5400000">
            <a:off x="3015746" y="3654403"/>
            <a:ext cx="3710516" cy="1678119"/>
          </a:xfrm>
          <a:prstGeom prst="rect">
            <a:avLst/>
          </a:prstGeom>
          <a:pattFill prst="ltHorz">
            <a:fgClr>
              <a:srgbClr val="C00000"/>
            </a:fgClr>
            <a:bgClr>
              <a:schemeClr val="bg1"/>
            </a:bgClr>
          </a:patt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3957F75-DC53-DE00-867F-00FCBE9365A8}"/>
              </a:ext>
            </a:extLst>
          </p:cNvPr>
          <p:cNvGrpSpPr/>
          <p:nvPr/>
        </p:nvGrpSpPr>
        <p:grpSpPr>
          <a:xfrm>
            <a:off x="505730" y="1910732"/>
            <a:ext cx="4630852" cy="4446139"/>
            <a:chOff x="443626" y="-1728722"/>
            <a:chExt cx="4630852" cy="4446139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D5919C14-D032-D434-C6BB-344BFCFD4393}"/>
                </a:ext>
              </a:extLst>
            </p:cNvPr>
            <p:cNvSpPr/>
            <p:nvPr/>
          </p:nvSpPr>
          <p:spPr>
            <a:xfrm>
              <a:off x="443626" y="-1046022"/>
              <a:ext cx="4015003" cy="3763439"/>
            </a:xfrm>
            <a:prstGeom prst="roundRect">
              <a:avLst>
                <a:gd name="adj" fmla="val 10343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  <p:pic>
          <p:nvPicPr>
            <p:cNvPr id="7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8AA79DD3-A765-1A97-A5E9-FADBF204B2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5281" y="-1728722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ADB3874-A03C-0A55-AA6E-56CB500DC071}"/>
              </a:ext>
            </a:extLst>
          </p:cNvPr>
          <p:cNvSpPr/>
          <p:nvPr/>
        </p:nvSpPr>
        <p:spPr>
          <a:xfrm>
            <a:off x="495803" y="2600081"/>
            <a:ext cx="4015002" cy="3772964"/>
          </a:xfrm>
          <a:prstGeom prst="roundRect">
            <a:avLst>
              <a:gd name="adj" fmla="val 893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9" name="object 18">
            <a:extLst>
              <a:ext uri="{FF2B5EF4-FFF2-40B4-BE49-F238E27FC236}">
                <a16:creationId xmlns:a16="http://schemas.microsoft.com/office/drawing/2014/main" id="{56877F66-9FD1-F38E-7DAC-38CC4C96A5CC}"/>
              </a:ext>
            </a:extLst>
          </p:cNvPr>
          <p:cNvSpPr txBox="1"/>
          <p:nvPr/>
        </p:nvSpPr>
        <p:spPr>
          <a:xfrm>
            <a:off x="880787" y="1232610"/>
            <a:ext cx="7522541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Why would you want to visualize the first minutes of your presentation before you start?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A4D109-A277-9410-E34E-D3E3F3008E11}"/>
              </a:ext>
            </a:extLst>
          </p:cNvPr>
          <p:cNvSpPr/>
          <p:nvPr/>
        </p:nvSpPr>
        <p:spPr>
          <a:xfrm>
            <a:off x="546100" y="3407677"/>
            <a:ext cx="3823305" cy="224676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 algn="ctr">
              <a:spcAft>
                <a:spcPts val="600"/>
              </a:spcAft>
            </a:pPr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It helps to envision how the presentation would run and with that it helps to relax prior to presenting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358189B-2A45-E3C1-08F3-F1EF76D8CEA5}"/>
              </a:ext>
            </a:extLst>
          </p:cNvPr>
          <p:cNvSpPr/>
          <p:nvPr/>
        </p:nvSpPr>
        <p:spPr>
          <a:xfrm>
            <a:off x="5283281" y="2638204"/>
            <a:ext cx="4015002" cy="3772964"/>
          </a:xfrm>
          <a:prstGeom prst="roundRect">
            <a:avLst>
              <a:gd name="adj" fmla="val 9940"/>
            </a:avLst>
          </a:prstGeom>
          <a:solidFill>
            <a:srgbClr val="D2EE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685E55-471F-AC2A-B896-8362F49525B5}"/>
              </a:ext>
            </a:extLst>
          </p:cNvPr>
          <p:cNvSpPr/>
          <p:nvPr/>
        </p:nvSpPr>
        <p:spPr>
          <a:xfrm>
            <a:off x="5422900" y="3407679"/>
            <a:ext cx="3823305" cy="224676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 algn="ctr">
              <a:spcAft>
                <a:spcPts val="600"/>
              </a:spcAft>
            </a:pPr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It is always great to dream of a successful presentation and it keeps the harsh reality at a distance</a:t>
            </a:r>
          </a:p>
        </p:txBody>
      </p:sp>
    </p:spTree>
    <p:extLst>
      <p:ext uri="{BB962C8B-B14F-4D97-AF65-F5344CB8AC3E}">
        <p14:creationId xmlns:p14="http://schemas.microsoft.com/office/powerpoint/2010/main" val="1876015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1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14D61999-1DB5-A647-4AA7-5895CA50C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3</a:t>
            </a:r>
          </a:p>
        </p:txBody>
      </p:sp>
      <p:sp>
        <p:nvSpPr>
          <p:cNvPr id="4" name="Timer bar">
            <a:extLst>
              <a:ext uri="{FF2B5EF4-FFF2-40B4-BE49-F238E27FC236}">
                <a16:creationId xmlns:a16="http://schemas.microsoft.com/office/drawing/2014/main" id="{E85E0410-DF0A-00DF-5B28-EBFF7165556B}"/>
              </a:ext>
            </a:extLst>
          </p:cNvPr>
          <p:cNvSpPr/>
          <p:nvPr/>
        </p:nvSpPr>
        <p:spPr bwMode="auto">
          <a:xfrm rot="5400000">
            <a:off x="3015746" y="3654403"/>
            <a:ext cx="3710516" cy="1678119"/>
          </a:xfrm>
          <a:prstGeom prst="rect">
            <a:avLst/>
          </a:prstGeom>
          <a:pattFill prst="ltHorz">
            <a:fgClr>
              <a:srgbClr val="C00000"/>
            </a:fgClr>
            <a:bgClr>
              <a:schemeClr val="bg1"/>
            </a:bgClr>
          </a:patt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3957F75-DC53-DE00-867F-00FCBE9365A8}"/>
              </a:ext>
            </a:extLst>
          </p:cNvPr>
          <p:cNvGrpSpPr/>
          <p:nvPr/>
        </p:nvGrpSpPr>
        <p:grpSpPr>
          <a:xfrm>
            <a:off x="495979" y="1919441"/>
            <a:ext cx="4630852" cy="4446139"/>
            <a:chOff x="443626" y="-1728722"/>
            <a:chExt cx="4630852" cy="4446139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D5919C14-D032-D434-C6BB-344BFCFD4393}"/>
                </a:ext>
              </a:extLst>
            </p:cNvPr>
            <p:cNvSpPr/>
            <p:nvPr/>
          </p:nvSpPr>
          <p:spPr>
            <a:xfrm>
              <a:off x="443626" y="-1046022"/>
              <a:ext cx="4015003" cy="3763439"/>
            </a:xfrm>
            <a:prstGeom prst="roundRect">
              <a:avLst>
                <a:gd name="adj" fmla="val 10343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  <p:pic>
          <p:nvPicPr>
            <p:cNvPr id="7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8AA79DD3-A765-1A97-A5E9-FADBF204B2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5281" y="-1728722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ADB3874-A03C-0A55-AA6E-56CB500DC071}"/>
              </a:ext>
            </a:extLst>
          </p:cNvPr>
          <p:cNvSpPr/>
          <p:nvPr/>
        </p:nvSpPr>
        <p:spPr>
          <a:xfrm>
            <a:off x="495803" y="2600081"/>
            <a:ext cx="4015002" cy="3772964"/>
          </a:xfrm>
          <a:prstGeom prst="roundRect">
            <a:avLst>
              <a:gd name="adj" fmla="val 893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9" name="object 18">
            <a:extLst>
              <a:ext uri="{FF2B5EF4-FFF2-40B4-BE49-F238E27FC236}">
                <a16:creationId xmlns:a16="http://schemas.microsoft.com/office/drawing/2014/main" id="{56877F66-9FD1-F38E-7DAC-38CC4C96A5CC}"/>
              </a:ext>
            </a:extLst>
          </p:cNvPr>
          <p:cNvSpPr txBox="1"/>
          <p:nvPr/>
        </p:nvSpPr>
        <p:spPr>
          <a:xfrm>
            <a:off x="880787" y="1232610"/>
            <a:ext cx="7522541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For which percentage accounts non-verbal communication?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A4D109-A277-9410-E34E-D3E3F3008E11}"/>
              </a:ext>
            </a:extLst>
          </p:cNvPr>
          <p:cNvSpPr/>
          <p:nvPr/>
        </p:nvSpPr>
        <p:spPr>
          <a:xfrm>
            <a:off x="546100" y="3869344"/>
            <a:ext cx="3823305" cy="132343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 algn="ctr">
              <a:spcAft>
                <a:spcPts val="600"/>
              </a:spcAft>
            </a:pPr>
            <a:r>
              <a:rPr lang="en-US" sz="80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93%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358189B-2A45-E3C1-08F3-F1EF76D8CEA5}"/>
              </a:ext>
            </a:extLst>
          </p:cNvPr>
          <p:cNvSpPr/>
          <p:nvPr/>
        </p:nvSpPr>
        <p:spPr>
          <a:xfrm>
            <a:off x="5283281" y="2638204"/>
            <a:ext cx="4015002" cy="3772964"/>
          </a:xfrm>
          <a:prstGeom prst="roundRect">
            <a:avLst>
              <a:gd name="adj" fmla="val 9940"/>
            </a:avLst>
          </a:prstGeom>
          <a:solidFill>
            <a:srgbClr val="D2EE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685E55-471F-AC2A-B896-8362F49525B5}"/>
              </a:ext>
            </a:extLst>
          </p:cNvPr>
          <p:cNvSpPr/>
          <p:nvPr/>
        </p:nvSpPr>
        <p:spPr>
          <a:xfrm>
            <a:off x="5422900" y="3869346"/>
            <a:ext cx="3823305" cy="132343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 algn="ctr">
              <a:spcAft>
                <a:spcPts val="600"/>
              </a:spcAft>
            </a:pPr>
            <a:r>
              <a:rPr lang="en-US" sz="80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55%</a:t>
            </a:r>
          </a:p>
        </p:txBody>
      </p:sp>
    </p:spTree>
    <p:extLst>
      <p:ext uri="{BB962C8B-B14F-4D97-AF65-F5344CB8AC3E}">
        <p14:creationId xmlns:p14="http://schemas.microsoft.com/office/powerpoint/2010/main" val="582056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1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14D61999-1DB5-A647-4AA7-5895CA50C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4</a:t>
            </a:r>
          </a:p>
        </p:txBody>
      </p:sp>
      <p:sp>
        <p:nvSpPr>
          <p:cNvPr id="4" name="Timer bar">
            <a:extLst>
              <a:ext uri="{FF2B5EF4-FFF2-40B4-BE49-F238E27FC236}">
                <a16:creationId xmlns:a16="http://schemas.microsoft.com/office/drawing/2014/main" id="{E85E0410-DF0A-00DF-5B28-EBFF7165556B}"/>
              </a:ext>
            </a:extLst>
          </p:cNvPr>
          <p:cNvSpPr/>
          <p:nvPr/>
        </p:nvSpPr>
        <p:spPr bwMode="auto">
          <a:xfrm rot="5400000">
            <a:off x="3015746" y="3654403"/>
            <a:ext cx="3710516" cy="1678119"/>
          </a:xfrm>
          <a:prstGeom prst="rect">
            <a:avLst/>
          </a:prstGeom>
          <a:pattFill prst="ltHorz">
            <a:fgClr>
              <a:srgbClr val="C00000"/>
            </a:fgClr>
            <a:bgClr>
              <a:schemeClr val="bg1"/>
            </a:bgClr>
          </a:patt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3957F75-DC53-DE00-867F-00FCBE9365A8}"/>
              </a:ext>
            </a:extLst>
          </p:cNvPr>
          <p:cNvGrpSpPr/>
          <p:nvPr/>
        </p:nvGrpSpPr>
        <p:grpSpPr>
          <a:xfrm>
            <a:off x="5283281" y="1946127"/>
            <a:ext cx="4630852" cy="4446139"/>
            <a:chOff x="443626" y="-1728722"/>
            <a:chExt cx="4630852" cy="4446139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D5919C14-D032-D434-C6BB-344BFCFD4393}"/>
                </a:ext>
              </a:extLst>
            </p:cNvPr>
            <p:cNvSpPr/>
            <p:nvPr/>
          </p:nvSpPr>
          <p:spPr>
            <a:xfrm>
              <a:off x="443626" y="-1046022"/>
              <a:ext cx="4015003" cy="3763439"/>
            </a:xfrm>
            <a:prstGeom prst="roundRect">
              <a:avLst>
                <a:gd name="adj" fmla="val 10343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  <p:pic>
          <p:nvPicPr>
            <p:cNvPr id="7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8AA79DD3-A765-1A97-A5E9-FADBF204B2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5281" y="-1728722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ADB3874-A03C-0A55-AA6E-56CB500DC071}"/>
              </a:ext>
            </a:extLst>
          </p:cNvPr>
          <p:cNvSpPr/>
          <p:nvPr/>
        </p:nvSpPr>
        <p:spPr>
          <a:xfrm>
            <a:off x="495803" y="2600081"/>
            <a:ext cx="4015002" cy="3772964"/>
          </a:xfrm>
          <a:prstGeom prst="roundRect">
            <a:avLst>
              <a:gd name="adj" fmla="val 893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9" name="object 18">
            <a:extLst>
              <a:ext uri="{FF2B5EF4-FFF2-40B4-BE49-F238E27FC236}">
                <a16:creationId xmlns:a16="http://schemas.microsoft.com/office/drawing/2014/main" id="{56877F66-9FD1-F38E-7DAC-38CC4C96A5CC}"/>
              </a:ext>
            </a:extLst>
          </p:cNvPr>
          <p:cNvSpPr txBox="1"/>
          <p:nvPr/>
        </p:nvSpPr>
        <p:spPr>
          <a:xfrm>
            <a:off x="880787" y="1232610"/>
            <a:ext cx="7522541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Why is it important not to fingerpoint but to use open hand gestures instead?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A4D109-A277-9410-E34E-D3E3F3008E11}"/>
              </a:ext>
            </a:extLst>
          </p:cNvPr>
          <p:cNvSpPr/>
          <p:nvPr/>
        </p:nvSpPr>
        <p:spPr>
          <a:xfrm>
            <a:off x="546100" y="3407677"/>
            <a:ext cx="3823305" cy="224676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 algn="ctr">
              <a:spcAft>
                <a:spcPts val="600"/>
              </a:spcAft>
            </a:pPr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Finger-pointing shows that the presenter is nervous and with that the audience stops listening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358189B-2A45-E3C1-08F3-F1EF76D8CEA5}"/>
              </a:ext>
            </a:extLst>
          </p:cNvPr>
          <p:cNvSpPr/>
          <p:nvPr/>
        </p:nvSpPr>
        <p:spPr>
          <a:xfrm>
            <a:off x="5283281" y="2638204"/>
            <a:ext cx="4015002" cy="3772964"/>
          </a:xfrm>
          <a:prstGeom prst="roundRect">
            <a:avLst>
              <a:gd name="adj" fmla="val 9940"/>
            </a:avLst>
          </a:prstGeom>
          <a:solidFill>
            <a:srgbClr val="D2EE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685E55-471F-AC2A-B896-8362F49525B5}"/>
              </a:ext>
            </a:extLst>
          </p:cNvPr>
          <p:cNvSpPr/>
          <p:nvPr/>
        </p:nvSpPr>
        <p:spPr>
          <a:xfrm>
            <a:off x="5422900" y="3407679"/>
            <a:ext cx="3823305" cy="224676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 algn="ctr">
              <a:spcAft>
                <a:spcPts val="600"/>
              </a:spcAft>
            </a:pPr>
            <a:r>
              <a:rPr lang="en-US" sz="28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Finger-pointing is, in most cultures, considered rude and it does not engage the audience</a:t>
            </a:r>
          </a:p>
        </p:txBody>
      </p:sp>
    </p:spTree>
    <p:extLst>
      <p:ext uri="{BB962C8B-B14F-4D97-AF65-F5344CB8AC3E}">
        <p14:creationId xmlns:p14="http://schemas.microsoft.com/office/powerpoint/2010/main" val="3394775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1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C1262F-7F22-4AD0-B62F-98EE33FA1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6125" y="1376057"/>
            <a:ext cx="4724400" cy="1386193"/>
          </a:xfrm>
        </p:spPr>
        <p:txBody>
          <a:bodyPr/>
          <a:lstStyle/>
          <a:p>
            <a:r>
              <a:rPr lang="nl-NL"/>
              <a:t>DELIVER YOUR PRESENTATION</a:t>
            </a:r>
            <a:br>
              <a:rPr lang="nl-NL"/>
            </a:br>
            <a:r>
              <a:rPr lang="nl-NL">
                <a:solidFill>
                  <a:srgbClr val="00AEEF"/>
                </a:solidFill>
              </a:rPr>
              <a:t>SUMMARY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9C57415-0FAB-6FBC-0897-B104F661CB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8430" y="3931444"/>
            <a:ext cx="1597210" cy="1080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hlinkClick r:id="rId3"/>
            <a:extLst>
              <a:ext uri="{FF2B5EF4-FFF2-40B4-BE49-F238E27FC236}">
                <a16:creationId xmlns:a16="http://schemas.microsoft.com/office/drawing/2014/main" id="{F80BE920-CA8E-2FED-4CEB-2F0772007AED}"/>
              </a:ext>
            </a:extLst>
          </p:cNvPr>
          <p:cNvSpPr txBox="1"/>
          <p:nvPr/>
        </p:nvSpPr>
        <p:spPr>
          <a:xfrm rot="232296">
            <a:off x="9199721" y="4082445"/>
            <a:ext cx="15972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600" b="1">
                <a:latin typeface="Ink Free" panose="03080402000500000000" pitchFamily="66" charset="0"/>
              </a:rPr>
              <a:t>CLICK HERE TO START FILM</a:t>
            </a:r>
          </a:p>
        </p:txBody>
      </p:sp>
    </p:spTree>
    <p:extLst>
      <p:ext uri="{BB962C8B-B14F-4D97-AF65-F5344CB8AC3E}">
        <p14:creationId xmlns:p14="http://schemas.microsoft.com/office/powerpoint/2010/main" val="424625437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3627CEC-EB08-0178-90BB-5F4C1A2A72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COMFORT BREAK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69208A1-27B7-E047-DC7C-E6FD3FC80E78}"/>
              </a:ext>
            </a:extLst>
          </p:cNvPr>
          <p:cNvSpPr/>
          <p:nvPr/>
        </p:nvSpPr>
        <p:spPr>
          <a:xfrm>
            <a:off x="6096000" y="1655884"/>
            <a:ext cx="4648103" cy="2705389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8686DF0-AF92-8FD1-8461-54182E29CD22}"/>
              </a:ext>
            </a:extLst>
          </p:cNvPr>
          <p:cNvSpPr txBox="1">
            <a:spLocks/>
          </p:cNvSpPr>
          <p:nvPr/>
        </p:nvSpPr>
        <p:spPr>
          <a:xfrm>
            <a:off x="6214713" y="1911817"/>
            <a:ext cx="4529390" cy="21935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3600">
                <a:latin typeface="Ink Free" panose="03080402000500000000" pitchFamily="66" charset="0"/>
              </a:rPr>
              <a:t>Let’s take a short  break for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15 minutes </a:t>
            </a:r>
            <a:r>
              <a:rPr lang="nl-NL" sz="3600">
                <a:latin typeface="Ink Free" panose="03080402000500000000" pitchFamily="66" charset="0"/>
              </a:rPr>
              <a:t>and then we will resume</a:t>
            </a:r>
          </a:p>
        </p:txBody>
      </p:sp>
    </p:spTree>
    <p:extLst>
      <p:ext uri="{BB962C8B-B14F-4D97-AF65-F5344CB8AC3E}">
        <p14:creationId xmlns:p14="http://schemas.microsoft.com/office/powerpoint/2010/main" val="246796929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E513A6E-086B-047A-4755-790A2A278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FROM THEORY TO PRACTICE</a:t>
            </a:r>
          </a:p>
        </p:txBody>
      </p:sp>
    </p:spTree>
    <p:extLst>
      <p:ext uri="{BB962C8B-B14F-4D97-AF65-F5344CB8AC3E}">
        <p14:creationId xmlns:p14="http://schemas.microsoft.com/office/powerpoint/2010/main" val="256277627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F5B7247-1D98-9118-F333-3222C593C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YOUR PRESENTATIONS</a:t>
            </a:r>
          </a:p>
        </p:txBody>
      </p:sp>
    </p:spTree>
    <p:extLst>
      <p:ext uri="{BB962C8B-B14F-4D97-AF65-F5344CB8AC3E}">
        <p14:creationId xmlns:p14="http://schemas.microsoft.com/office/powerpoint/2010/main" val="1415545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A498622-B694-1932-CE76-670BBA54C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7450" y="5361832"/>
            <a:ext cx="4965699" cy="1340809"/>
          </a:xfrm>
        </p:spPr>
        <p:txBody>
          <a:bodyPr/>
          <a:lstStyle/>
          <a:p>
            <a:r>
              <a:rPr lang="nl-NL"/>
              <a:t>INTRODUCING YOURSELVES</a:t>
            </a:r>
            <a:br>
              <a:rPr lang="nl-NL"/>
            </a:br>
            <a:r>
              <a:rPr lang="nl-NL">
                <a:solidFill>
                  <a:srgbClr val="00AEEF"/>
                </a:solidFill>
              </a:rPr>
              <a:t>PRESENT YOURSELVES</a:t>
            </a:r>
          </a:p>
        </p:txBody>
      </p:sp>
    </p:spTree>
    <p:extLst>
      <p:ext uri="{BB962C8B-B14F-4D97-AF65-F5344CB8AC3E}">
        <p14:creationId xmlns:p14="http://schemas.microsoft.com/office/powerpoint/2010/main" val="256162277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9677169-0030-ABF8-8094-7BF9AD426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CTIVITY – YOUR PRESENTA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277ECE-E06D-7E00-7AC8-47504A1031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/>
              <a:t>Individual activi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BE7450-C56E-D4CD-7E12-8182243FC0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sz="2000"/>
              <a:t>Preparation: 30 minutes</a:t>
            </a:r>
            <a:br>
              <a:rPr lang="nl-NL" sz="2000"/>
            </a:br>
            <a:r>
              <a:rPr lang="nl-NL" sz="2000"/>
              <a:t>Presentation delivery: 5 minutes per pers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06B3BAF-C348-1CFB-2914-D41AFBC2EB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79600" y="2873830"/>
            <a:ext cx="7334511" cy="1793964"/>
          </a:xfrm>
        </p:spPr>
        <p:txBody>
          <a:bodyPr/>
          <a:lstStyle/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 sz="2000"/>
              <a:t>Choose your topic</a:t>
            </a:r>
          </a:p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 sz="2000"/>
              <a:t>Prepare a 5-minute presentation applying what you learned</a:t>
            </a:r>
          </a:p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 sz="2000"/>
              <a:t>Deliver your presentation</a:t>
            </a:r>
          </a:p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 sz="2000"/>
              <a:t>Round of feedback</a:t>
            </a:r>
          </a:p>
        </p:txBody>
      </p:sp>
    </p:spTree>
    <p:extLst>
      <p:ext uri="{BB962C8B-B14F-4D97-AF65-F5344CB8AC3E}">
        <p14:creationId xmlns:p14="http://schemas.microsoft.com/office/powerpoint/2010/main" val="117504816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612764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EC2B079-AF08-4CCE-8B62-C3C73831C5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WRAP UP</a:t>
            </a:r>
          </a:p>
        </p:txBody>
      </p:sp>
    </p:spTree>
    <p:extLst>
      <p:ext uri="{BB962C8B-B14F-4D97-AF65-F5344CB8AC3E}">
        <p14:creationId xmlns:p14="http://schemas.microsoft.com/office/powerpoint/2010/main" val="398932089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505191-D401-4B1F-A0FD-9DA8DF3EA3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Ink Free" panose="03080402000500000000" pitchFamily="66" charset="0"/>
              <a:buChar char="•"/>
            </a:pPr>
            <a:r>
              <a:rPr lang="nl-NL"/>
              <a:t>List the key principles for designing and delivering an effective presentation</a:t>
            </a:r>
            <a:endParaRPr lang="nl-NL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6CC01A-D8F6-4AE1-A79C-B9423066DA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457200" indent="-457200">
              <a:buFont typeface="Ink Free" panose="03080402000500000000" pitchFamily="66" charset="0"/>
              <a:buChar char="•"/>
            </a:pPr>
            <a:r>
              <a:rPr lang="nl-NL" sz="2400"/>
              <a:t>Expl</a:t>
            </a:r>
            <a:r>
              <a:rPr lang="nl-NL"/>
              <a:t>ain how to collect and structure relevant information for designing a presentation</a:t>
            </a:r>
            <a:endParaRPr lang="nl-NL" sz="24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0A048D-D80F-4F76-9FB5-FE1C09E5CE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457200" indent="-457200">
              <a:buFont typeface="Ink Free" panose="03080402000500000000" pitchFamily="66" charset="0"/>
              <a:buChar char="•"/>
            </a:pPr>
            <a:r>
              <a:rPr lang="nl-NL"/>
              <a:t>Explain how to use body language effectively when presenting</a:t>
            </a:r>
            <a:endParaRPr lang="nl-NL" sz="24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58F3D82-D7F8-A038-82E6-D355B6757A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/>
              <a:t>Design and deliver a 5-minute presentation on a topic of your choice</a:t>
            </a:r>
            <a:endParaRPr lang="nl-NL" sz="2400"/>
          </a:p>
        </p:txBody>
      </p:sp>
      <p:pic>
        <p:nvPicPr>
          <p:cNvPr id="10" name="Picture Placeholder 9" descr="A microphone on a podium&#10;&#10;Description automatically generated with low confidence">
            <a:extLst>
              <a:ext uri="{FF2B5EF4-FFF2-40B4-BE49-F238E27FC236}">
                <a16:creationId xmlns:a16="http://schemas.microsoft.com/office/drawing/2014/main" id="{9B31DD68-FCF9-A806-DB9B-52C06347129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89" r="13395" b="9661"/>
          <a:stretch/>
        </p:blipFill>
        <p:spPr>
          <a:xfrm>
            <a:off x="8654777" y="-346796"/>
            <a:ext cx="3892823" cy="3892823"/>
          </a:xfrm>
        </p:spPr>
      </p:pic>
    </p:spTree>
    <p:extLst>
      <p:ext uri="{BB962C8B-B14F-4D97-AF65-F5344CB8AC3E}">
        <p14:creationId xmlns:p14="http://schemas.microsoft.com/office/powerpoint/2010/main" val="154274847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B9CFA-4F6D-1D27-FB28-A8C35572A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7450" y="5361832"/>
            <a:ext cx="4965699" cy="1026268"/>
          </a:xfrm>
          <a:prstGeom prst="rect">
            <a:avLst/>
          </a:prstGeom>
        </p:spPr>
        <p:txBody>
          <a:bodyPr/>
          <a:lstStyle/>
          <a:p>
            <a:r>
              <a:rPr lang="nl-NL"/>
              <a:t>CREATE AN ARTWORK</a:t>
            </a:r>
            <a:br>
              <a:rPr lang="nl-NL"/>
            </a:br>
            <a:r>
              <a:rPr lang="nl-NL">
                <a:solidFill>
                  <a:srgbClr val="00AEEF"/>
                </a:solidFill>
              </a:rPr>
              <a:t>YOUR KEY TAKEAWAYS</a:t>
            </a:r>
          </a:p>
        </p:txBody>
      </p:sp>
      <p:pic>
        <p:nvPicPr>
          <p:cNvPr id="7" name="Picture Placeholder 6" descr="A cup full of colored pencils and brushes&#10;&#10;Description automatically generated with low confidence">
            <a:extLst>
              <a:ext uri="{FF2B5EF4-FFF2-40B4-BE49-F238E27FC236}">
                <a16:creationId xmlns:a16="http://schemas.microsoft.com/office/drawing/2014/main" id="{BB805F75-DFDF-B6D4-CE99-8641650D41B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16" t="5105" r="21471" b="13289"/>
          <a:stretch/>
        </p:blipFill>
        <p:spPr>
          <a:xfrm>
            <a:off x="-674706" y="2323047"/>
            <a:ext cx="4854932" cy="4854932"/>
          </a:xfrm>
        </p:spPr>
      </p:pic>
    </p:spTree>
    <p:extLst>
      <p:ext uri="{BB962C8B-B14F-4D97-AF65-F5344CB8AC3E}">
        <p14:creationId xmlns:p14="http://schemas.microsoft.com/office/powerpoint/2010/main" val="400440491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B9CFA-4F6D-1D27-FB28-A8C35572A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YOUR KEY TAKEAWAY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B382C7-32A6-A20E-E91C-BAA6DED7D2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/>
              <a:t>Individua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D2786AF-8EAB-E546-21BB-CFB962B797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9600" y="5054600"/>
            <a:ext cx="7334511" cy="850900"/>
          </a:xfrm>
        </p:spPr>
        <p:txBody>
          <a:bodyPr/>
          <a:lstStyle/>
          <a:p>
            <a:r>
              <a:rPr lang="nl-NL"/>
              <a:t>5 minutes to draw</a:t>
            </a:r>
          </a:p>
          <a:p>
            <a:r>
              <a:rPr lang="nl-NL"/>
              <a:t>1 minute presentation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744C21A-3A88-1FB9-ABC2-19A4EFC7F3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nl-NL" sz="2000"/>
              <a:t>Think about what you learned today and create a drawing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nl-NL" sz="2000"/>
              <a:t>Your key takeaways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nl-NL" sz="2000"/>
              <a:t>Your current confidence level: how do you feel?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nl-NL" sz="2000"/>
              <a:t>If confidence level changed: what caused that change?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Ink Free" panose="03080402000500000000" pitchFamily="66" charset="0"/>
              <a:buChar char="•"/>
            </a:pPr>
            <a:r>
              <a:rPr lang="nl-NL" sz="2000"/>
              <a:t>Then present your drawing and explain to the group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9154291-58F2-8FDB-3381-7F236D435AD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5" name="Picture Placeholder 6" descr="A cup full of colored pencils and brushes&#10;&#10;Description automatically generated with low confidence">
            <a:extLst>
              <a:ext uri="{FF2B5EF4-FFF2-40B4-BE49-F238E27FC236}">
                <a16:creationId xmlns:a16="http://schemas.microsoft.com/office/drawing/2014/main" id="{DF273F2B-B10D-704A-66AF-0D3FC10121E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16" t="5105" r="21471" b="13289"/>
          <a:stretch/>
        </p:blipFill>
        <p:spPr>
          <a:xfrm>
            <a:off x="8643436" y="-367665"/>
            <a:ext cx="3965125" cy="3965125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9972395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2897892-55D6-47B6-9D24-864AC7DDD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SOMETHING SWEET ... SOMETHING SOUR ..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3ACBB43-3630-6A2A-9951-8AEA7AD31586}"/>
              </a:ext>
            </a:extLst>
          </p:cNvPr>
          <p:cNvGrpSpPr/>
          <p:nvPr/>
        </p:nvGrpSpPr>
        <p:grpSpPr>
          <a:xfrm>
            <a:off x="3304080" y="3286326"/>
            <a:ext cx="3921138" cy="3326965"/>
            <a:chOff x="3118405" y="2830270"/>
            <a:chExt cx="3695700" cy="3170482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" name="Partial Circle 1">
              <a:extLst>
                <a:ext uri="{FF2B5EF4-FFF2-40B4-BE49-F238E27FC236}">
                  <a16:creationId xmlns:a16="http://schemas.microsoft.com/office/drawing/2014/main" id="{B5675F3F-2E78-86F6-00ED-3FA4D461924C}"/>
                </a:ext>
              </a:extLst>
            </p:cNvPr>
            <p:cNvSpPr/>
            <p:nvPr/>
          </p:nvSpPr>
          <p:spPr>
            <a:xfrm>
              <a:off x="3187627" y="3802613"/>
              <a:ext cx="1562146" cy="1472942"/>
            </a:xfrm>
            <a:prstGeom prst="pie">
              <a:avLst>
                <a:gd name="adj1" fmla="val 0"/>
                <a:gd name="adj2" fmla="val 10816688"/>
              </a:avLst>
            </a:prstGeom>
            <a:solidFill>
              <a:srgbClr val="FFFD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pic>
          <p:nvPicPr>
            <p:cNvPr id="7172" name="Picture 4">
              <a:extLst>
                <a:ext uri="{FF2B5EF4-FFF2-40B4-BE49-F238E27FC236}">
                  <a16:creationId xmlns:a16="http://schemas.microsoft.com/office/drawing/2014/main" id="{98012CC5-A96C-20FA-CEE1-ED4D7FB4D5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8405" y="2830270"/>
              <a:ext cx="3695700" cy="3170482"/>
            </a:xfrm>
            <a:prstGeom prst="rect">
              <a:avLst/>
            </a:prstGeom>
            <a:noFill/>
            <a:effectLst>
              <a:softEdge rad="3175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B2FDC61-E74A-D07C-DCEA-C088C220AE5D}"/>
              </a:ext>
            </a:extLst>
          </p:cNvPr>
          <p:cNvGrpSpPr/>
          <p:nvPr/>
        </p:nvGrpSpPr>
        <p:grpSpPr>
          <a:xfrm>
            <a:off x="7628737" y="1552648"/>
            <a:ext cx="4784725" cy="3877554"/>
            <a:chOff x="7620028" y="1613608"/>
            <a:chExt cx="4784725" cy="3877554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7309055-C4F5-D3A1-099F-63419D8D4530}"/>
                </a:ext>
              </a:extLst>
            </p:cNvPr>
            <p:cNvSpPr/>
            <p:nvPr/>
          </p:nvSpPr>
          <p:spPr>
            <a:xfrm rot="2409534">
              <a:off x="7927251" y="2629080"/>
              <a:ext cx="914400" cy="9666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pic>
          <p:nvPicPr>
            <p:cNvPr id="7176" name="Picture 8">
              <a:extLst>
                <a:ext uri="{FF2B5EF4-FFF2-40B4-BE49-F238E27FC236}">
                  <a16:creationId xmlns:a16="http://schemas.microsoft.com/office/drawing/2014/main" id="{9EF01950-6C2F-DA57-2F60-BFF610617E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28" y="1613608"/>
              <a:ext cx="4784725" cy="38775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928B62C-2EAE-462E-BD7B-B60E65108561}"/>
              </a:ext>
            </a:extLst>
          </p:cNvPr>
          <p:cNvSpPr/>
          <p:nvPr/>
        </p:nvSpPr>
        <p:spPr>
          <a:xfrm>
            <a:off x="5842000" y="3680253"/>
            <a:ext cx="6010366" cy="2481962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8443DC25-4CC4-48DC-9CBE-01CD0D2A046D}"/>
              </a:ext>
            </a:extLst>
          </p:cNvPr>
          <p:cNvSpPr txBox="1">
            <a:spLocks/>
          </p:cNvSpPr>
          <p:nvPr/>
        </p:nvSpPr>
        <p:spPr>
          <a:xfrm>
            <a:off x="5994400" y="3847436"/>
            <a:ext cx="5770880" cy="21730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3200">
                <a:latin typeface="Ink Free" panose="03080402000500000000" pitchFamily="66" charset="0"/>
              </a:rPr>
              <a:t>Imagine that now you have to replicate this workshop for your friends.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3200">
                <a:latin typeface="Ink Free" panose="03080402000500000000" pitchFamily="66" charset="0"/>
              </a:rPr>
              <a:t>What would you </a:t>
            </a:r>
            <a:r>
              <a:rPr lang="en-US" sz="3200" b="1">
                <a:solidFill>
                  <a:srgbClr val="00AEEF"/>
                </a:solidFill>
                <a:latin typeface="Ink Free" panose="03080402000500000000" pitchFamily="66" charset="0"/>
              </a:rPr>
              <a:t>change</a:t>
            </a:r>
            <a:r>
              <a:rPr lang="en-US" sz="3200">
                <a:latin typeface="Ink Free" panose="03080402000500000000" pitchFamily="66" charset="0"/>
              </a:rPr>
              <a:t> / </a:t>
            </a:r>
            <a:r>
              <a:rPr lang="en-US" sz="3200" b="1">
                <a:solidFill>
                  <a:srgbClr val="00AEEF"/>
                </a:solidFill>
                <a:latin typeface="Ink Free" panose="03080402000500000000" pitchFamily="66" charset="0"/>
              </a:rPr>
              <a:t>keep</a:t>
            </a:r>
            <a:r>
              <a:rPr lang="en-US" sz="3200">
                <a:latin typeface="Ink Free" panose="03080402000500000000" pitchFamily="66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31706326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33300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2BB1CD-5763-CB3A-A3AA-5884F2479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INTRODUCING YOURSELV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D61DA8-D22A-A517-B456-9DB282AFC1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/>
              <a:t>Individual activit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249717-98C3-4DD4-5437-EB3796F261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/>
              <a:t>2 minutes for reflection and note taking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/>
              <a:t>1 minute to present yourself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E6C37-BA55-7E8B-DF64-68D13CE3FB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79600" y="2857500"/>
            <a:ext cx="7334511" cy="1838325"/>
          </a:xfrm>
        </p:spPr>
        <p:txBody>
          <a:bodyPr/>
          <a:lstStyle/>
          <a:p>
            <a:pPr marL="342900" indent="-342900">
              <a:spcBef>
                <a:spcPts val="0"/>
              </a:spcBef>
              <a:buFont typeface="Ink Free" panose="03080402000500000000" pitchFamily="66" charset="0"/>
              <a:buChar char="•"/>
            </a:pPr>
            <a:r>
              <a:rPr lang="en-US" sz="2000" dirty="0"/>
              <a:t>Your name</a:t>
            </a:r>
          </a:p>
          <a:p>
            <a:pPr marL="342900" indent="-342900">
              <a:spcBef>
                <a:spcPts val="0"/>
              </a:spcBef>
              <a:buFont typeface="Ink Free" panose="03080402000500000000" pitchFamily="66" charset="0"/>
              <a:buChar char="•"/>
            </a:pPr>
            <a:r>
              <a:rPr lang="en-US" sz="2000" dirty="0"/>
              <a:t>Why are you here? What would you like to learn today?</a:t>
            </a:r>
          </a:p>
          <a:p>
            <a:pPr marL="342900" indent="-342900">
              <a:spcBef>
                <a:spcPts val="0"/>
              </a:spcBef>
              <a:buFont typeface="Ink Free" panose="03080402000500000000" pitchFamily="66" charset="0"/>
              <a:buChar char="•"/>
            </a:pPr>
            <a:r>
              <a:rPr lang="en-US" sz="2000" dirty="0"/>
              <a:t>Something about yourself</a:t>
            </a:r>
          </a:p>
          <a:p>
            <a:pPr marL="342900" indent="-342900">
              <a:spcBef>
                <a:spcPts val="0"/>
              </a:spcBef>
              <a:buFont typeface="Ink Free" panose="03080402000500000000" pitchFamily="66" charset="0"/>
              <a:buChar char="•"/>
            </a:pPr>
            <a:r>
              <a:rPr lang="en-US" sz="2000" dirty="0"/>
              <a:t>How confident would you rate yourself in terms of public speaking and what defines that rating?</a:t>
            </a:r>
          </a:p>
        </p:txBody>
      </p:sp>
    </p:spTree>
    <p:extLst>
      <p:ext uri="{BB962C8B-B14F-4D97-AF65-F5344CB8AC3E}">
        <p14:creationId xmlns:p14="http://schemas.microsoft.com/office/powerpoint/2010/main" val="7742947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DFE4F-E76B-0E22-4DE3-F4DC4CB90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 QUICK QUESTION ...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A6ED71D-17CE-7739-F30D-C52FA0CB08D6}"/>
              </a:ext>
            </a:extLst>
          </p:cNvPr>
          <p:cNvSpPr/>
          <p:nvPr/>
        </p:nvSpPr>
        <p:spPr>
          <a:xfrm>
            <a:off x="5982790" y="2654295"/>
            <a:ext cx="5634444" cy="2788562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1657D975-0B75-A93A-8F76-D41AD3FF7434}"/>
              </a:ext>
            </a:extLst>
          </p:cNvPr>
          <p:cNvSpPr txBox="1">
            <a:spLocks/>
          </p:cNvSpPr>
          <p:nvPr/>
        </p:nvSpPr>
        <p:spPr>
          <a:xfrm>
            <a:off x="6096000" y="2891085"/>
            <a:ext cx="5324144" cy="12716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3600">
                <a:latin typeface="Ink Free" panose="03080402000500000000" pitchFamily="66" charset="0"/>
              </a:rPr>
              <a:t>Have you ever presented in front of an audience?</a:t>
            </a:r>
          </a:p>
          <a:p>
            <a:pPr marL="0" indent="0">
              <a:buNone/>
            </a:pPr>
            <a:r>
              <a:rPr lang="nl-NL" sz="3600">
                <a:latin typeface="Ink Free" panose="03080402000500000000" pitchFamily="66" charset="0"/>
              </a:rPr>
              <a:t>If yes,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how did it feel</a:t>
            </a:r>
            <a:r>
              <a:rPr lang="nl-NL" sz="3600">
                <a:latin typeface="Ink Free" panose="03080402000500000000" pitchFamily="66" charset="0"/>
              </a:rPr>
              <a:t>?</a:t>
            </a:r>
          </a:p>
          <a:p>
            <a:pPr marL="0" indent="0">
              <a:buNone/>
            </a:pPr>
            <a:r>
              <a:rPr lang="nl-NL" sz="3600">
                <a:latin typeface="Ink Free" panose="03080402000500000000" pitchFamily="66" charset="0"/>
              </a:rPr>
              <a:t>How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do you think it went</a:t>
            </a:r>
            <a:r>
              <a:rPr lang="nl-NL" sz="3600">
                <a:latin typeface="Ink Free" panose="03080402000500000000" pitchFamily="66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2230106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DFE4F-E76B-0E22-4DE3-F4DC4CB90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NOTHER QUICK QUESTION ...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A6ED71D-17CE-7739-F30D-C52FA0CB08D6}"/>
              </a:ext>
            </a:extLst>
          </p:cNvPr>
          <p:cNvSpPr/>
          <p:nvPr/>
        </p:nvSpPr>
        <p:spPr>
          <a:xfrm>
            <a:off x="6200504" y="895162"/>
            <a:ext cx="4746170" cy="3067237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1657D975-0B75-A93A-8F76-D41AD3FF7434}"/>
              </a:ext>
            </a:extLst>
          </p:cNvPr>
          <p:cNvSpPr txBox="1">
            <a:spLocks/>
          </p:cNvSpPr>
          <p:nvPr/>
        </p:nvSpPr>
        <p:spPr>
          <a:xfrm>
            <a:off x="6313714" y="1131953"/>
            <a:ext cx="4484789" cy="12716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3600">
                <a:latin typeface="Ink Free" panose="03080402000500000000" pitchFamily="66" charset="0"/>
              </a:rPr>
              <a:t>Have you ever seen someone presenting?</a:t>
            </a:r>
          </a:p>
          <a:p>
            <a:pPr marL="0" indent="0">
              <a:buNone/>
            </a:pPr>
            <a:r>
              <a:rPr lang="nl-NL" sz="3600">
                <a:latin typeface="Ink Free" panose="03080402000500000000" pitchFamily="66" charset="0"/>
              </a:rPr>
              <a:t>If yes, what made it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so good</a:t>
            </a:r>
            <a:r>
              <a:rPr lang="nl-NL" sz="3600">
                <a:latin typeface="Ink Free" panose="03080402000500000000" pitchFamily="66" charset="0"/>
              </a:rPr>
              <a:t> ... or maybe ...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not so good</a:t>
            </a:r>
            <a:r>
              <a:rPr lang="nl-NL" sz="3600">
                <a:latin typeface="Ink Free" panose="03080402000500000000" pitchFamily="66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604794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KHYq9+dRFGrN2gLaVt11EFAAAAAAADAAAAAwADAAAAAQADAAAAAAD///////8DAAEA////////BAAAAAMAEAALlLmXjVYGpUC3ZhiVTeglvg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NKHYq9+dRFGrN2gLaVt11EDRGF0YQAbAAAABExpbmtlZFNoYXBlRGF0YQAFAAAAAAACTmFtZQAZAAAATGlua2VkU2hhcGVzRGF0YVByb3BlcnR5ABBWZXJzaW9uAAAAAAAJTGFzdFdyaXRlADBPZNOIAQAAAAEA/////8YAxgAAAAVfaWQAEAAAAASUuZeNVgalQLdmGJVN6CW+A0RhdGEAUwAAAAhQcmVzZW50YXRpb25TY2FubmVkRm9yTGlua2VkU2hhcGVzAAECTnVtYmVyRm9ybWF0U2VwYXJhdG9yTW9kZQAKAAAAQXV0b21hdGljAAACTmFtZQAkAAAATGlua2VkU2hhcGVQcmVzZW50YXRpb25TZXR0aW5nc0RhdGEAEFZlcnNpb24AAAAAAAlMYXN0V3JpdGUAtE9k04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227705466841032"/>
  <p:tag name="EMPOWERCHARTSPROPERTIES_B_LENGTH" val="24576"/>
</p:tagLst>
</file>

<file path=ppt/theme/theme1.xml><?xml version="1.0" encoding="utf-8"?>
<a:theme xmlns:a="http://schemas.openxmlformats.org/drawingml/2006/main" name="SPLASH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INTERACTION 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FILM PAG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ACTIVITY 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RECAP QUIZ 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THANK YOU 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NTRODUCTION 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RANSITION 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ONTENT PAGES NO IMAG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ONTENT PAGES IMAGE RIGH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CONTENT PAGES IMAGE TOP 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CONTENT PAGES IMAGE TOP 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CONTENT PAGES IMAGE BOTTOM 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CONTENT PAGES IMAGE BOTTOM 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5842810-97e5-4717-a452-62dd49d9c5d3" xsi:nil="true"/>
    <lcf76f155ced4ddcb4097134ff3c332f xmlns="29437e33-b608-46fc-8724-28b79a987159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F186DEBA6DB34A9F2D8BB285EF1F17" ma:contentTypeVersion="18" ma:contentTypeDescription="Create a new document." ma:contentTypeScope="" ma:versionID="a191eb36648810286f8e58e00378605f">
  <xsd:schema xmlns:xsd="http://www.w3.org/2001/XMLSchema" xmlns:xs="http://www.w3.org/2001/XMLSchema" xmlns:p="http://schemas.microsoft.com/office/2006/metadata/properties" xmlns:ns2="29437e33-b608-46fc-8724-28b79a987159" xmlns:ns3="45842810-97e5-4717-a452-62dd49d9c5d3" targetNamespace="http://schemas.microsoft.com/office/2006/metadata/properties" ma:root="true" ma:fieldsID="f4106d97b97d9ae02a38cf8326d160db" ns2:_="" ns3:_="">
    <xsd:import namespace="29437e33-b608-46fc-8724-28b79a987159"/>
    <xsd:import namespace="45842810-97e5-4717-a452-62dd49d9c5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437e33-b608-46fc-8724-28b79a98715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b9e2a73-f419-4c44-99f5-cd310bbfdd7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842810-97e5-4717-a452-62dd49d9c5d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8598fc78-0e75-408d-a388-f3a47a043782}" ma:internalName="TaxCatchAll" ma:showField="CatchAllData" ma:web="45842810-97e5-4717-a452-62dd49d9c5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D5E054D-3EEF-4C34-828F-642C40BB0236}">
  <ds:schemaRefs>
    <ds:schemaRef ds:uri="http://purl.org/dc/elements/1.1/"/>
    <ds:schemaRef ds:uri="http://schemas.microsoft.com/office/2006/documentManagement/types"/>
    <ds:schemaRef ds:uri="16d19505-5873-4cf7-b98f-ab573d793237"/>
    <ds:schemaRef ds:uri="http://purl.org/dc/dcmitype/"/>
    <ds:schemaRef ds:uri="http://www.w3.org/XML/1998/namespace"/>
    <ds:schemaRef ds:uri="7ff01d4a-d9bd-4f1d-8d9e-0fa88185bc99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45842810-97e5-4717-a452-62dd49d9c5d3"/>
    <ds:schemaRef ds:uri="29437e33-b608-46fc-8724-28b79a987159"/>
  </ds:schemaRefs>
</ds:datastoreItem>
</file>

<file path=customXml/itemProps2.xml><?xml version="1.0" encoding="utf-8"?>
<ds:datastoreItem xmlns:ds="http://schemas.openxmlformats.org/officeDocument/2006/customXml" ds:itemID="{B2956FD1-BE71-4EC4-BDFB-0F8CBBAF1D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6CF7821-2CC8-4BFC-A1EB-F6A4D7BA1477}"/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1956</Words>
  <Application>Microsoft Office PowerPoint</Application>
  <PresentationFormat>Widescreen</PresentationFormat>
  <Paragraphs>379</Paragraphs>
  <Slides>67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4</vt:i4>
      </vt:variant>
      <vt:variant>
        <vt:lpstr>Slide Titles</vt:lpstr>
      </vt:variant>
      <vt:variant>
        <vt:i4>67</vt:i4>
      </vt:variant>
    </vt:vector>
  </HeadingPairs>
  <TitlesOfParts>
    <vt:vector size="81" baseType="lpstr">
      <vt:lpstr>SPLASHPAGES</vt:lpstr>
      <vt:lpstr>INTRODUCTION PAGES</vt:lpstr>
      <vt:lpstr>TRANSITION PAGES</vt:lpstr>
      <vt:lpstr>CONTENT PAGES NO IMAGE</vt:lpstr>
      <vt:lpstr>CONTENT PAGES IMAGE RIGHT</vt:lpstr>
      <vt:lpstr>CONTENT PAGES IMAGE TOP 1</vt:lpstr>
      <vt:lpstr>CONTENT PAGES IMAGE TOP 2</vt:lpstr>
      <vt:lpstr>CONTENT PAGES IMAGE BOTTOM 1</vt:lpstr>
      <vt:lpstr>CONTENT PAGES IMAGE BOTTOM 2</vt:lpstr>
      <vt:lpstr>INTERACTION PAGES</vt:lpstr>
      <vt:lpstr>FILM PAGE</vt:lpstr>
      <vt:lpstr>ACTIVITY PAGES</vt:lpstr>
      <vt:lpstr>RECAP QUIZ PAGES</vt:lpstr>
      <vt:lpstr>THANK YOU PAGES</vt:lpstr>
      <vt:lpstr> PRESENTATION SKILLS</vt:lpstr>
      <vt:lpstr>PowerPoint Presentation</vt:lpstr>
      <vt:lpstr>PowerPoint Presentation</vt:lpstr>
      <vt:lpstr>GROUNDRULES</vt:lpstr>
      <vt:lpstr>PowerPoint Presentation</vt:lpstr>
      <vt:lpstr>INTRODUCING YOURSELVES PRESENT YOURSELVES</vt:lpstr>
      <vt:lpstr>INTRODUCING YOURSELVES</vt:lpstr>
      <vt:lpstr>A QUICK QUESTION ...</vt:lpstr>
      <vt:lpstr>ANOTHER QUICK QUESTION ...</vt:lpstr>
      <vt:lpstr>FOR A SUCCESSFUL PRESENTATION ...</vt:lpstr>
      <vt:lpstr>USING PRESENTATION SKILLS</vt:lpstr>
      <vt:lpstr>THE IMPORTANCE OF PRESENTATION SKILLS</vt:lpstr>
      <vt:lpstr>DESIGNING YOUR PRESENTATION</vt:lpstr>
      <vt:lpstr>KEY PRINCIPLES OF GOOD PRESENTATIONS</vt:lpstr>
      <vt:lpstr>ATTENTION: WINOUT</vt:lpstr>
      <vt:lpstr>A GOOD STRUCTURE ... SIMPLE AS ABC</vt:lpstr>
      <vt:lpstr>RAISING INTEREST</vt:lpstr>
      <vt:lpstr>BODY: HOW TO GET THERE</vt:lpstr>
      <vt:lpstr>CONCLUSION: SOS</vt:lpstr>
      <vt:lpstr>A QUICK QUESTION ...</vt:lpstr>
      <vt:lpstr>BRAINSTORM: A CAPITAL CITY</vt:lpstr>
      <vt:lpstr>MINDMAP YOUR BRAINSTORM</vt:lpstr>
      <vt:lpstr>YOUR STORY</vt:lpstr>
      <vt:lpstr>ACTIVITY – YOUR STORY</vt:lpstr>
      <vt:lpstr>PREPARING FOR A PRESENTATION</vt:lpstr>
      <vt:lpstr>A QUICK QUESTION ...</vt:lpstr>
      <vt:lpstr>PREPARING FOR PRESENTATION DESIGN</vt:lpstr>
      <vt:lpstr>PowerPoint Presentation</vt:lpstr>
      <vt:lpstr>PowerPoint Presentation</vt:lpstr>
      <vt:lpstr>QUESTION 1</vt:lpstr>
      <vt:lpstr>QUESTION 2</vt:lpstr>
      <vt:lpstr>QUESTION 3</vt:lpstr>
      <vt:lpstr>QUESTION 4</vt:lpstr>
      <vt:lpstr>COMFORT BREAK</vt:lpstr>
      <vt:lpstr>DELIVERING YOUR PRESENTATION</vt:lpstr>
      <vt:lpstr>PREPARING FOR A PRESENTATION</vt:lpstr>
      <vt:lpstr>A QUICK QUESTION ...</vt:lpstr>
      <vt:lpstr>PREPARING FOR PRESENTATION DELIVERY</vt:lpstr>
      <vt:lpstr>ANOTHER QUICK QUESTION ...</vt:lpstr>
      <vt:lpstr>SWITCHING OFF</vt:lpstr>
      <vt:lpstr>SO THE PRESENTER MUST ...</vt:lpstr>
      <vt:lpstr>HOW WE COMMUNICATE</vt:lpstr>
      <vt:lpstr>BODY LANGUAGE</vt:lpstr>
      <vt:lpstr>ACTIVITY - BODYLANGUAGE</vt:lpstr>
      <vt:lpstr>POSTURE</vt:lpstr>
      <vt:lpstr>HANDS AND ARMS</vt:lpstr>
      <vt:lpstr>MOVEMENT</vt:lpstr>
      <vt:lpstr>FACE (EYES / MOUTH)</vt:lpstr>
      <vt:lpstr>DEALING WITH ANXIETY</vt:lpstr>
      <vt:lpstr>PowerPoint Presentation</vt:lpstr>
      <vt:lpstr>PowerPoint Presentation</vt:lpstr>
      <vt:lpstr>QUESTION 1</vt:lpstr>
      <vt:lpstr>QUESTION 2</vt:lpstr>
      <vt:lpstr>QUESTION 3</vt:lpstr>
      <vt:lpstr>QUESTION 4</vt:lpstr>
      <vt:lpstr>DELIVER YOUR PRESENTATION SUMMARY</vt:lpstr>
      <vt:lpstr>COMFORT BREAK</vt:lpstr>
      <vt:lpstr>FROM THEORY TO PRACTICE</vt:lpstr>
      <vt:lpstr>YOUR PRESENTATIONS</vt:lpstr>
      <vt:lpstr>ACTIVITY – YOUR PRESENTATIONS</vt:lpstr>
      <vt:lpstr>PowerPoint Presentation</vt:lpstr>
      <vt:lpstr>WRAP UP</vt:lpstr>
      <vt:lpstr>PowerPoint Presentation</vt:lpstr>
      <vt:lpstr>CREATE AN ARTWORK YOUR KEY TAKEAWAYS</vt:lpstr>
      <vt:lpstr>YOUR KEY TAKEAWAYS</vt:lpstr>
      <vt:lpstr>SOMETHING SWEET ... SOMETHING SOUR ...</vt:lpstr>
      <vt:lpstr>PowerPoint Presentation</vt:lpstr>
    </vt:vector>
  </TitlesOfParts>
  <Company>DH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s Gelissen (DHL SSC Maastricht)</dc:creator>
  <cp:lastModifiedBy>Hans Gelissen (DHL SSC Maastricht)</cp:lastModifiedBy>
  <cp:revision>2</cp:revision>
  <dcterms:created xsi:type="dcterms:W3CDTF">2022-01-06T11:01:34Z</dcterms:created>
  <dcterms:modified xsi:type="dcterms:W3CDTF">2023-08-30T11:5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F186DEBA6DB34A9F2D8BB285EF1F17</vt:lpwstr>
  </property>
  <property fmtid="{D5CDD505-2E9C-101B-9397-08002B2CF9AE}" pid="3" name="MSIP_Label_736915f3-2f02-4945-8997-f2963298db46_Enabled">
    <vt:lpwstr>true</vt:lpwstr>
  </property>
  <property fmtid="{D5CDD505-2E9C-101B-9397-08002B2CF9AE}" pid="4" name="MSIP_Label_736915f3-2f02-4945-8997-f2963298db46_SetDate">
    <vt:lpwstr>2023-03-01T08:37:06Z</vt:lpwstr>
  </property>
  <property fmtid="{D5CDD505-2E9C-101B-9397-08002B2CF9AE}" pid="5" name="MSIP_Label_736915f3-2f02-4945-8997-f2963298db46_Method">
    <vt:lpwstr>Standard</vt:lpwstr>
  </property>
  <property fmtid="{D5CDD505-2E9C-101B-9397-08002B2CF9AE}" pid="6" name="MSIP_Label_736915f3-2f02-4945-8997-f2963298db46_Name">
    <vt:lpwstr>Internal</vt:lpwstr>
  </property>
  <property fmtid="{D5CDD505-2E9C-101B-9397-08002B2CF9AE}" pid="7" name="MSIP_Label_736915f3-2f02-4945-8997-f2963298db46_SiteId">
    <vt:lpwstr>cd99fef8-1cd3-4a2a-9bdf-15531181d65e</vt:lpwstr>
  </property>
  <property fmtid="{D5CDD505-2E9C-101B-9397-08002B2CF9AE}" pid="8" name="MSIP_Label_736915f3-2f02-4945-8997-f2963298db46_ActionId">
    <vt:lpwstr>095f8399-b45e-4896-911e-46cb41b7092b</vt:lpwstr>
  </property>
  <property fmtid="{D5CDD505-2E9C-101B-9397-08002B2CF9AE}" pid="9" name="MSIP_Label_736915f3-2f02-4945-8997-f2963298db46_ContentBits">
    <vt:lpwstr>1</vt:lpwstr>
  </property>
  <property fmtid="{D5CDD505-2E9C-101B-9397-08002B2CF9AE}" pid="10" name="MediaServiceImageTags">
    <vt:lpwstr/>
  </property>
</Properties>
</file>